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heme/themeOverride3.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4.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heme/themeOverride5.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heme/themeOverride6.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01" r:id="rId5"/>
    <p:sldMasterId id="2147483805" r:id="rId6"/>
  </p:sldMasterIdLst>
  <p:notesMasterIdLst>
    <p:notesMasterId r:id="rId29"/>
  </p:notesMasterIdLst>
  <p:sldIdLst>
    <p:sldId id="262" r:id="rId7"/>
    <p:sldId id="11810" r:id="rId8"/>
    <p:sldId id="2147483431" r:id="rId9"/>
    <p:sldId id="351" r:id="rId10"/>
    <p:sldId id="301" r:id="rId11"/>
    <p:sldId id="2147483436" r:id="rId12"/>
    <p:sldId id="107014" r:id="rId13"/>
    <p:sldId id="107026" r:id="rId14"/>
    <p:sldId id="107028" r:id="rId15"/>
    <p:sldId id="107015" r:id="rId16"/>
    <p:sldId id="107016" r:id="rId17"/>
    <p:sldId id="107017" r:id="rId18"/>
    <p:sldId id="2147483433" r:id="rId19"/>
    <p:sldId id="107019" r:id="rId20"/>
    <p:sldId id="2147483432" r:id="rId21"/>
    <p:sldId id="107020" r:id="rId22"/>
    <p:sldId id="107029" r:id="rId23"/>
    <p:sldId id="2147483434" r:id="rId24"/>
    <p:sldId id="107025" r:id="rId25"/>
    <p:sldId id="2147483435" r:id="rId26"/>
    <p:sldId id="347" r:id="rId27"/>
    <p:sldId id="107022"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 inndeling" id="{AF3A21D6-BD5E-40A8-AE79-1C706CE7E3B6}">
          <p14:sldIdLst>
            <p14:sldId id="262"/>
            <p14:sldId id="11810"/>
            <p14:sldId id="2147483431"/>
            <p14:sldId id="351"/>
            <p14:sldId id="301"/>
            <p14:sldId id="2147483436"/>
          </p14:sldIdLst>
        </p14:section>
        <p14:section name="Eksempler Bygg" id="{2EDB811A-7FB7-4DB9-A385-D2B138FFBC7D}">
          <p14:sldIdLst>
            <p14:sldId id="107014"/>
            <p14:sldId id="107026"/>
            <p14:sldId id="107028"/>
            <p14:sldId id="107015"/>
            <p14:sldId id="107016"/>
            <p14:sldId id="107017"/>
            <p14:sldId id="2147483433"/>
          </p14:sldIdLst>
        </p14:section>
        <p14:section name="Eksempler Anlegg" id="{B426DE5F-C79E-44F4-9AAE-FA22495EA711}">
          <p14:sldIdLst>
            <p14:sldId id="107019"/>
            <p14:sldId id="2147483432"/>
            <p14:sldId id="107020"/>
            <p14:sldId id="107029"/>
            <p14:sldId id="2147483434"/>
            <p14:sldId id="107025"/>
            <p14:sldId id="2147483435"/>
            <p14:sldId id="347"/>
            <p14:sldId id="107022"/>
          </p14:sldIdLst>
        </p14:section>
      </p14:sectionLst>
    </p:ext>
    <p:ext uri="{EFAFB233-063F-42B5-8137-9DF3F51BA10A}">
      <p15:sldGuideLst xmlns:p15="http://schemas.microsoft.com/office/powerpoint/2012/main">
        <p15:guide id="2" pos="3840">
          <p15:clr>
            <a:srgbClr val="A4A3A4"/>
          </p15:clr>
        </p15:guide>
        <p15:guide id="3"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E95F617-544E-F264-2ED0-A14461564AB2}" name="Christopher Griffiths" initials="CG" userId="Christopher Griffiths" providerId="None"/>
  <p188:author id="{A19F3DB2-9E20-4348-A4F5-89556AB64D1D}" name="Griffiths, Christopher Philip" initials="CG" userId="S::christopher.griffiths@skanska.no::bc7606ee-3bfa-478f-8fb1-5eaf56546c9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rtin Beecroft" initials="MB" lastIdx="4" clrIdx="0">
    <p:extLst>
      <p:ext uri="{19B8F6BF-5375-455C-9EA6-DF929625EA0E}">
        <p15:presenceInfo xmlns:p15="http://schemas.microsoft.com/office/powerpoint/2012/main" userId="S::martin@bkgr.se::ba706552-e779-4d24-9165-02bcd101441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7F7"/>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3B4B98B0-60AC-42C2-AFA5-B58CD77FA1E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7" autoAdjust="0"/>
    <p:restoredTop sz="57675" autoAdjust="0"/>
  </p:normalViewPr>
  <p:slideViewPr>
    <p:cSldViewPr snapToGrid="0">
      <p:cViewPr varScale="1">
        <p:scale>
          <a:sx n="55" d="100"/>
          <a:sy n="55" d="100"/>
        </p:scale>
        <p:origin x="1742" y="38"/>
      </p:cViewPr>
      <p:guideLst>
        <p:guide pos="3840"/>
        <p:guide orient="horz" pos="2160"/>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commentAuthors" Target="commentAuthors.xml"/><Relationship Id="rId35" Type="http://schemas.microsoft.com/office/2018/10/relationships/authors" Target="authors.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embeddings/oleObject2.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dLbls>
          <c:dLblPos val="bestFit"/>
          <c:showLegendKey val="0"/>
          <c:showVal val="0"/>
          <c:showCatName val="0"/>
          <c:showSerName val="0"/>
          <c:showPercent val="0"/>
          <c:showBubbleSize val="0"/>
          <c:showLeaderLines val="0"/>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b-NO"/>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Shape Sans" panose="00000500000000000000" pitchFamily="50" charset="0"/>
                <a:ea typeface="+mn-ea"/>
                <a:cs typeface="+mn-cs"/>
              </a:defRPr>
            </a:pPr>
            <a:r>
              <a:rPr lang="en-US" b="0">
                <a:latin typeface="Shape Sans" panose="00000500000000000000" pitchFamily="50" charset="0"/>
              </a:rPr>
              <a:t>Klimafotavtrykk  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Shape Sans" panose="00000500000000000000" pitchFamily="50" charset="0"/>
              <a:ea typeface="+mn-ea"/>
              <a:cs typeface="+mn-cs"/>
            </a:defRPr>
          </a:pPr>
          <a:endParaRPr lang="nb-NO"/>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4F9-4862-8E6B-B5C3508ED2D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4F9-4862-8E6B-B5C3508ED2D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4F9-4862-8E6B-B5C3508ED2D4}"/>
              </c:ext>
            </c:extLst>
          </c:dPt>
          <c:dLbls>
            <c:dLbl>
              <c:idx val="0"/>
              <c:layout>
                <c:manualLayout>
                  <c:x val="7.3206474190726156E-3"/>
                  <c:y val="2.0359798775153107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E4F9-4862-8E6B-B5C3508ED2D4}"/>
                </c:ext>
              </c:extLst>
            </c:dLbl>
            <c:dLbl>
              <c:idx val="1"/>
              <c:layout>
                <c:manualLayout>
                  <c:x val="-9.4656605424322977E-3"/>
                  <c:y val="-3.6913094196558763E-3"/>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E4F9-4862-8E6B-B5C3508ED2D4}"/>
                </c:ext>
              </c:extLst>
            </c:dLbl>
            <c:dLbl>
              <c:idx val="2"/>
              <c:layout>
                <c:manualLayout>
                  <c:x val="-3.3321522309711284E-2"/>
                  <c:y val="-3.4499125109361331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E4F9-4862-8E6B-B5C3508ED2D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Grafer scope1, 2 og 3, kvartalsvis - 2021-2024.xlsx]Blad1'!$O$5:$Q$5</c:f>
              <c:strCache>
                <c:ptCount val="3"/>
                <c:pt idx="0">
                  <c:v>Scope 1</c:v>
                </c:pt>
                <c:pt idx="1">
                  <c:v>Scope 2</c:v>
                </c:pt>
                <c:pt idx="2">
                  <c:v>Scope 3</c:v>
                </c:pt>
              </c:strCache>
            </c:strRef>
          </c:cat>
          <c:val>
            <c:numRef>
              <c:f>'[Grafer scope1, 2 og 3, kvartalsvis - 2021-2024.xlsx]Blad1'!$O$6:$Q$6</c:f>
              <c:numCache>
                <c:formatCode>General</c:formatCode>
                <c:ptCount val="3"/>
                <c:pt idx="0">
                  <c:v>54723</c:v>
                </c:pt>
                <c:pt idx="1">
                  <c:v>1324</c:v>
                </c:pt>
                <c:pt idx="2">
                  <c:v>173342</c:v>
                </c:pt>
              </c:numCache>
            </c:numRef>
          </c:val>
          <c:extLst>
            <c:ext xmlns:c16="http://schemas.microsoft.com/office/drawing/2014/chart" uri="{C3380CC4-5D6E-409C-BE32-E72D297353CC}">
              <c16:uniqueId val="{00000006-E4F9-4862-8E6B-B5C3508ED2D4}"/>
            </c:ext>
          </c:extLst>
        </c:ser>
        <c:dLbls>
          <c:dLblPos val="ctr"/>
          <c:showLegendKey val="0"/>
          <c:showVal val="0"/>
          <c:showCatName val="0"/>
          <c:showSerName val="0"/>
          <c:showPercent val="1"/>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b-NO"/>
    </a:p>
  </c:txPr>
  <c:externalData r:id="rId4">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F4DD9B-5673-8E45-B84C-719C1DAD04B6}" type="datetimeFigureOut">
              <a:rPr lang="en-GB" smtClean="0"/>
              <a:t>07/11/2025</a:t>
            </a:fld>
            <a:endParaRPr lang="en-GB"/>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BE0236-4FFA-374A-8090-2822EB2D3FED}" type="slidenum">
              <a:rPr lang="en-GB" smtClean="0"/>
              <a:t>‹#›</a:t>
            </a:fld>
            <a:endParaRPr lang="en-GB"/>
          </a:p>
        </p:txBody>
      </p:sp>
    </p:spTree>
    <p:extLst>
      <p:ext uri="{BB962C8B-B14F-4D97-AF65-F5344CB8AC3E}">
        <p14:creationId xmlns:p14="http://schemas.microsoft.com/office/powerpoint/2010/main" val="34229797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sz="1800" dirty="0">
              <a:latin typeface="Shape Sans"/>
              <a:cs typeface="Times New Roman" panose="02020603050405020304" pitchFamily="18" charset="0"/>
            </a:endParaRPr>
          </a:p>
        </p:txBody>
      </p:sp>
      <p:sp>
        <p:nvSpPr>
          <p:cNvPr id="4" name="Plassholder for lysbildenummer 3"/>
          <p:cNvSpPr>
            <a:spLocks noGrp="1"/>
          </p:cNvSpPr>
          <p:nvPr>
            <p:ph type="sldNum" sz="quarter" idx="5"/>
          </p:nvPr>
        </p:nvSpPr>
        <p:spPr/>
        <p:txBody>
          <a:bodyPr/>
          <a:lstStyle/>
          <a:p>
            <a:fld id="{F9BE0236-4FFA-374A-8090-2822EB2D3FED}" type="slidenum">
              <a:rPr lang="en-GB" smtClean="0"/>
              <a:t>2</a:t>
            </a:fld>
            <a:endParaRPr lang="en-GB"/>
          </a:p>
        </p:txBody>
      </p:sp>
    </p:spTree>
    <p:extLst>
      <p:ext uri="{BB962C8B-B14F-4D97-AF65-F5344CB8AC3E}">
        <p14:creationId xmlns:p14="http://schemas.microsoft.com/office/powerpoint/2010/main" val="1035497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Kommentar Andreas: Det ble brukt </a:t>
            </a:r>
            <a:r>
              <a:rPr lang="nb-NO" dirty="0" err="1"/>
              <a:t>lavkarbon</a:t>
            </a:r>
            <a:r>
              <a:rPr lang="nb-NO" dirty="0"/>
              <a:t> </a:t>
            </a:r>
            <a:r>
              <a:rPr lang="nb-NO" dirty="0" err="1"/>
              <a:t>cement</a:t>
            </a:r>
            <a:r>
              <a:rPr lang="nb-NO" dirty="0"/>
              <a:t> i en lettbetong med tilslag av </a:t>
            </a:r>
            <a:r>
              <a:rPr lang="nb-NO" dirty="0" err="1"/>
              <a:t>Leca</a:t>
            </a:r>
            <a:r>
              <a:rPr lang="nb-NO" dirty="0"/>
              <a:t>.</a:t>
            </a:r>
          </a:p>
        </p:txBody>
      </p:sp>
      <p:sp>
        <p:nvSpPr>
          <p:cNvPr id="4" name="Plassholder for lysbildenummer 3"/>
          <p:cNvSpPr>
            <a:spLocks noGrp="1"/>
          </p:cNvSpPr>
          <p:nvPr>
            <p:ph type="sldNum" sz="quarter" idx="5"/>
          </p:nvPr>
        </p:nvSpPr>
        <p:spPr/>
        <p:txBody>
          <a:bodyPr/>
          <a:lstStyle/>
          <a:p>
            <a:fld id="{F9BE0236-4FFA-374A-8090-2822EB2D3FED}" type="slidenum">
              <a:rPr lang="en-GB" smtClean="0"/>
              <a:t>14</a:t>
            </a:fld>
            <a:endParaRPr lang="en-GB"/>
          </a:p>
        </p:txBody>
      </p:sp>
    </p:spTree>
    <p:extLst>
      <p:ext uri="{BB962C8B-B14F-4D97-AF65-F5344CB8AC3E}">
        <p14:creationId xmlns:p14="http://schemas.microsoft.com/office/powerpoint/2010/main" val="29933429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E5D314-C049-A47E-791A-6D239A2C43D8}"/>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51E00736-DD88-29AA-5869-4532910CD3E9}"/>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FFCA76D2-2457-AD77-1FBD-76EED5446FA2}"/>
              </a:ext>
            </a:extLst>
          </p:cNvPr>
          <p:cNvSpPr>
            <a:spLocks noGrp="1"/>
          </p:cNvSpPr>
          <p:nvPr>
            <p:ph type="body" idx="1"/>
          </p:nvPr>
        </p:nvSpPr>
        <p:spPr/>
        <p:txBody>
          <a:bodyPr/>
          <a:lstStyle/>
          <a:p>
            <a:endParaRPr lang="nb-NO" dirty="0">
              <a:ea typeface="Calibri"/>
              <a:cs typeface="Calibri"/>
            </a:endParaRPr>
          </a:p>
        </p:txBody>
      </p:sp>
      <p:sp>
        <p:nvSpPr>
          <p:cNvPr id="4" name="Plassholder for lysbildenummer 3">
            <a:extLst>
              <a:ext uri="{FF2B5EF4-FFF2-40B4-BE49-F238E27FC236}">
                <a16:creationId xmlns:a16="http://schemas.microsoft.com/office/drawing/2014/main" id="{D8A716F8-E7A5-CF1F-139E-45A545F27322}"/>
              </a:ext>
            </a:extLst>
          </p:cNvPr>
          <p:cNvSpPr>
            <a:spLocks noGrp="1"/>
          </p:cNvSpPr>
          <p:nvPr>
            <p:ph type="sldNum" sz="quarter" idx="5"/>
          </p:nvPr>
        </p:nvSpPr>
        <p:spPr/>
        <p:txBody>
          <a:bodyPr/>
          <a:lstStyle/>
          <a:p>
            <a:fld id="{F9BE0236-4FFA-374A-8090-2822EB2D3FED}" type="slidenum">
              <a:rPr lang="en-GB" smtClean="0"/>
              <a:t>15</a:t>
            </a:fld>
            <a:endParaRPr lang="en-GB"/>
          </a:p>
        </p:txBody>
      </p:sp>
    </p:spTree>
    <p:extLst>
      <p:ext uri="{BB962C8B-B14F-4D97-AF65-F5344CB8AC3E}">
        <p14:creationId xmlns:p14="http://schemas.microsoft.com/office/powerpoint/2010/main" val="27713172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latin typeface="Shape Sans" panose="00000500000000000000" pitchFamily="50" charset="0"/>
              </a:rPr>
              <a:t>Ekstra forundersøkelser og god planlegging førte til en reduksjon i uttak av miljøskadelig Alunskifer med ca. 35 000 tonn</a:t>
            </a:r>
          </a:p>
          <a:p>
            <a:pPr marL="171450" indent="-171450">
              <a:buFont typeface="Arial" panose="020B0604020202020204" pitchFamily="34" charset="0"/>
              <a:buChar char="•"/>
            </a:pPr>
            <a:r>
              <a:rPr lang="nb-NO" dirty="0">
                <a:latin typeface="Shape Sans" panose="00000500000000000000" pitchFamily="50" charset="0"/>
              </a:rPr>
              <a:t>Sparte lokalvegnettet for ca. 3000 lastebillass</a:t>
            </a:r>
          </a:p>
          <a:p>
            <a:pPr marL="171450" indent="-171450">
              <a:buFont typeface="Arial" panose="020B0604020202020204" pitchFamily="34" charset="0"/>
              <a:buChar char="•"/>
            </a:pPr>
            <a:r>
              <a:rPr lang="nb-NO" dirty="0">
                <a:latin typeface="Shape Sans" panose="00000500000000000000" pitchFamily="50" charset="0"/>
              </a:rPr>
              <a:t>Samlet klimagassbesparelse på 675 tonn CO</a:t>
            </a:r>
            <a:r>
              <a:rPr lang="nb-NO" baseline="-25000" dirty="0">
                <a:latin typeface="Shape Sans" panose="00000500000000000000" pitchFamily="50" charset="0"/>
              </a:rPr>
              <a:t>2</a:t>
            </a:r>
            <a:r>
              <a:rPr lang="nb-NO" baseline="0" dirty="0">
                <a:latin typeface="Shape Sans" panose="00000500000000000000" pitchFamily="50" charset="0"/>
              </a:rPr>
              <a:t> knyttet til transport</a:t>
            </a:r>
            <a:endParaRPr lang="nb-NO" dirty="0">
              <a:latin typeface="Shape Sans" panose="00000500000000000000" pitchFamily="50" charset="0"/>
            </a:endParaRPr>
          </a:p>
          <a:p>
            <a:pPr marL="171450" indent="-171450">
              <a:buFont typeface="Arial" panose="020B0604020202020204" pitchFamily="34" charset="0"/>
              <a:buChar char="•"/>
            </a:pPr>
            <a:r>
              <a:rPr lang="nb-NO" dirty="0">
                <a:latin typeface="Shape Sans" panose="00000500000000000000" pitchFamily="50" charset="0"/>
              </a:rPr>
              <a:t>Overskuddsmasser benyttet til både ny-dyrking og oppgradering av dyrka mark rundt prosjektet</a:t>
            </a:r>
          </a:p>
          <a:p>
            <a:pPr marL="171450" indent="-171450">
              <a:buFont typeface="Arial" panose="020B0604020202020204" pitchFamily="34" charset="0"/>
              <a:buChar char="•"/>
            </a:pPr>
            <a:r>
              <a:rPr lang="nb-NO" dirty="0">
                <a:latin typeface="Shape Sans" panose="00000500000000000000" pitchFamily="50" charset="0"/>
              </a:rPr>
              <a:t>Overskuddsmasser også benyttet til ulike tiltak for lokalsamfunnet; terrengsykkelbane, skicross-løype og tursti langs den nye veien</a:t>
            </a:r>
          </a:p>
        </p:txBody>
      </p:sp>
      <p:sp>
        <p:nvSpPr>
          <p:cNvPr id="4" name="Plassholder for lysbildenummer 3"/>
          <p:cNvSpPr>
            <a:spLocks noGrp="1"/>
          </p:cNvSpPr>
          <p:nvPr>
            <p:ph type="sldNum" sz="quarter" idx="5"/>
          </p:nvPr>
        </p:nvSpPr>
        <p:spPr/>
        <p:txBody>
          <a:bodyPr/>
          <a:lstStyle/>
          <a:p>
            <a:fld id="{F9BE0236-4FFA-374A-8090-2822EB2D3FED}" type="slidenum">
              <a:rPr lang="en-GB" smtClean="0"/>
              <a:t>16</a:t>
            </a:fld>
            <a:endParaRPr lang="en-GB"/>
          </a:p>
        </p:txBody>
      </p:sp>
    </p:spTree>
    <p:extLst>
      <p:ext uri="{BB962C8B-B14F-4D97-AF65-F5344CB8AC3E}">
        <p14:creationId xmlns:p14="http://schemas.microsoft.com/office/powerpoint/2010/main" val="22420821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t>Greenhouse gas savings 62,000 </a:t>
            </a:r>
            <a:r>
              <a:rPr lang="en-US" sz="1200" i="1" dirty="0" err="1"/>
              <a:t>tonnes</a:t>
            </a:r>
            <a:r>
              <a:rPr lang="en-US" sz="1200" i="1" dirty="0"/>
              <a:t> of CO2-e</a:t>
            </a:r>
            <a:endParaRPr lang="nb-NO" sz="1200" i="1" dirty="0"/>
          </a:p>
          <a:p>
            <a:endParaRPr lang="nb-NO" dirty="0"/>
          </a:p>
          <a:p>
            <a:r>
              <a:rPr lang="nb-NO" dirty="0"/>
              <a:t>Kommentar fra Andreas: </a:t>
            </a:r>
            <a:r>
              <a:rPr lang="nb-NO" b="1" dirty="0">
                <a:solidFill>
                  <a:srgbClr val="FF0000"/>
                </a:solidFill>
              </a:rPr>
              <a:t>Vi reduserer faktisk naturinngrepene våre på </a:t>
            </a:r>
            <a:r>
              <a:rPr lang="nb-NO" b="1" dirty="0" err="1">
                <a:solidFill>
                  <a:srgbClr val="FF0000"/>
                </a:solidFill>
              </a:rPr>
              <a:t>OPS’en</a:t>
            </a:r>
            <a:r>
              <a:rPr lang="nb-NO" dirty="0"/>
              <a:t>. Foreslår at teksten gjøres om til: «På OPS Hålogalandsveien reduserer vi naturinngrepene våre»</a:t>
            </a:r>
          </a:p>
          <a:p>
            <a:r>
              <a:rPr lang="nb-NO" dirty="0"/>
              <a:t>(Prosjektet heter offisielt OPS Hålogalandsvegen, og ikke E10 som er navnet på veien når den er ferdig. Flisespikkeri….)</a:t>
            </a:r>
          </a:p>
        </p:txBody>
      </p:sp>
      <p:sp>
        <p:nvSpPr>
          <p:cNvPr id="4" name="Plassholder for lysbildenummer 3"/>
          <p:cNvSpPr>
            <a:spLocks noGrp="1"/>
          </p:cNvSpPr>
          <p:nvPr>
            <p:ph type="sldNum" sz="quarter" idx="5"/>
          </p:nvPr>
        </p:nvSpPr>
        <p:spPr/>
        <p:txBody>
          <a:bodyPr/>
          <a:lstStyle/>
          <a:p>
            <a:fld id="{F9BE0236-4FFA-374A-8090-2822EB2D3FED}" type="slidenum">
              <a:rPr lang="en-GB" smtClean="0"/>
              <a:t>17</a:t>
            </a:fld>
            <a:endParaRPr lang="en-GB"/>
          </a:p>
        </p:txBody>
      </p:sp>
    </p:spTree>
    <p:extLst>
      <p:ext uri="{BB962C8B-B14F-4D97-AF65-F5344CB8AC3E}">
        <p14:creationId xmlns:p14="http://schemas.microsoft.com/office/powerpoint/2010/main" val="25114064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E98BDB-87D5-1ACE-E52E-D45A755842F5}"/>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8E8F52C5-A06E-73D2-5EC0-D4AF6EE9DC13}"/>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880DED01-B3F4-D2BB-CC9A-45BAEC06406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t>Greenhouse gas savings 62,000 </a:t>
            </a:r>
            <a:r>
              <a:rPr lang="en-US" sz="1200" i="1" dirty="0" err="1"/>
              <a:t>tonnes</a:t>
            </a:r>
            <a:r>
              <a:rPr lang="en-US" sz="1200" i="1" dirty="0"/>
              <a:t> of CO2-e</a:t>
            </a:r>
            <a:endParaRPr lang="nb-NO" sz="1200" i="1" dirty="0"/>
          </a:p>
          <a:p>
            <a:endParaRPr lang="nb-NO" dirty="0"/>
          </a:p>
          <a:p>
            <a:r>
              <a:rPr lang="nb-NO" dirty="0"/>
              <a:t>Kommentar fra Andreas: </a:t>
            </a:r>
            <a:r>
              <a:rPr lang="nb-NO" b="1" dirty="0">
                <a:solidFill>
                  <a:srgbClr val="FF0000"/>
                </a:solidFill>
              </a:rPr>
              <a:t>Vi reduserer faktisk naturinngrepene våre på </a:t>
            </a:r>
            <a:r>
              <a:rPr lang="nb-NO" b="1" dirty="0" err="1">
                <a:solidFill>
                  <a:srgbClr val="FF0000"/>
                </a:solidFill>
              </a:rPr>
              <a:t>OPS’en</a:t>
            </a:r>
            <a:r>
              <a:rPr lang="nb-NO" dirty="0"/>
              <a:t>. Foreslår at teksten gjøres om til: «På OPS Hålogalandsveien reduserer vi naturinngrepene våre»</a:t>
            </a:r>
          </a:p>
          <a:p>
            <a:r>
              <a:rPr lang="nb-NO" dirty="0"/>
              <a:t>(Prosjektet heter offisielt OPS Hålogalandsvegen, og ikke E10 som er navnet på veien når den er ferdig. Flisespikkeri….)</a:t>
            </a:r>
          </a:p>
        </p:txBody>
      </p:sp>
      <p:sp>
        <p:nvSpPr>
          <p:cNvPr id="4" name="Plassholder for lysbildenummer 3">
            <a:extLst>
              <a:ext uri="{FF2B5EF4-FFF2-40B4-BE49-F238E27FC236}">
                <a16:creationId xmlns:a16="http://schemas.microsoft.com/office/drawing/2014/main" id="{4F208FE4-00A3-9D12-C185-4541C3BBECBD}"/>
              </a:ext>
            </a:extLst>
          </p:cNvPr>
          <p:cNvSpPr>
            <a:spLocks noGrp="1"/>
          </p:cNvSpPr>
          <p:nvPr>
            <p:ph type="sldNum" sz="quarter" idx="5"/>
          </p:nvPr>
        </p:nvSpPr>
        <p:spPr/>
        <p:txBody>
          <a:bodyPr/>
          <a:lstStyle/>
          <a:p>
            <a:fld id="{F9BE0236-4FFA-374A-8090-2822EB2D3FED}" type="slidenum">
              <a:rPr lang="en-GB" smtClean="0"/>
              <a:t>18</a:t>
            </a:fld>
            <a:endParaRPr lang="en-GB"/>
          </a:p>
        </p:txBody>
      </p:sp>
    </p:spTree>
    <p:extLst>
      <p:ext uri="{BB962C8B-B14F-4D97-AF65-F5344CB8AC3E}">
        <p14:creationId xmlns:p14="http://schemas.microsoft.com/office/powerpoint/2010/main" val="40940545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Litt kort om min egen karriere og vei til min rolle i Skanska i dag: Hovedfag i berggrunnsgeologi, Gruvegeolog, Doktorgradsstudier i oppløsning og utfelling i karbonatsystemer, reservoargeolog i </a:t>
            </a:r>
            <a:r>
              <a:rPr lang="nb-NO" dirty="0" err="1"/>
              <a:t>Midt-Østen</a:t>
            </a:r>
            <a:r>
              <a:rPr lang="nb-NO" dirty="0"/>
              <a:t>, Reservoargeolog på norsk sokkel, </a:t>
            </a:r>
            <a:r>
              <a:rPr lang="nb-NO" dirty="0" err="1"/>
              <a:t>Miljøgeolog</a:t>
            </a:r>
            <a:r>
              <a:rPr lang="nb-NO" dirty="0"/>
              <a:t>/Miljøteknologteknolog, Ytre Miljø rådgiver. Poenget her er: Det er gjennom et stort mangfold av kunnskap, personer og erfaringer vi gjør oss i stand til å se nye muligheter og løsninger. Vi ønsker at våre ansatte skal være hel seg og sin erfaring – og det skal dere også være!</a:t>
            </a:r>
          </a:p>
        </p:txBody>
      </p:sp>
      <p:sp>
        <p:nvSpPr>
          <p:cNvPr id="4" name="Slide Number Placeholder 3"/>
          <p:cNvSpPr>
            <a:spLocks noGrp="1"/>
          </p:cNvSpPr>
          <p:nvPr>
            <p:ph type="sldNum" sz="quarter" idx="5"/>
          </p:nvPr>
        </p:nvSpPr>
        <p:spPr/>
        <p:txBody>
          <a:bodyPr/>
          <a:lstStyle/>
          <a:p>
            <a:fld id="{F9BE0236-4FFA-374A-8090-2822EB2D3FED}" type="slidenum">
              <a:rPr lang="en-GB" smtClean="0"/>
              <a:t>19</a:t>
            </a:fld>
            <a:endParaRPr lang="en-GB"/>
          </a:p>
        </p:txBody>
      </p:sp>
    </p:spTree>
    <p:extLst>
      <p:ext uri="{BB962C8B-B14F-4D97-AF65-F5344CB8AC3E}">
        <p14:creationId xmlns:p14="http://schemas.microsoft.com/office/powerpoint/2010/main" val="6241319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1F314C-1216-AB93-2254-80BBCD7344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F94374-E4D0-8FD7-BBE5-450110817A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68BAB8-9BC2-F438-9244-1E2D327FFB51}"/>
              </a:ext>
            </a:extLst>
          </p:cNvPr>
          <p:cNvSpPr>
            <a:spLocks noGrp="1"/>
          </p:cNvSpPr>
          <p:nvPr>
            <p:ph type="body" idx="1"/>
          </p:nvPr>
        </p:nvSpPr>
        <p:spPr/>
        <p:txBody>
          <a:bodyPr/>
          <a:lstStyle/>
          <a:p>
            <a:endParaRPr lang="nb-NO" dirty="0"/>
          </a:p>
        </p:txBody>
      </p:sp>
      <p:sp>
        <p:nvSpPr>
          <p:cNvPr id="4" name="Slide Number Placeholder 3">
            <a:extLst>
              <a:ext uri="{FF2B5EF4-FFF2-40B4-BE49-F238E27FC236}">
                <a16:creationId xmlns:a16="http://schemas.microsoft.com/office/drawing/2014/main" id="{523CB331-0ED5-E497-6420-78B40A6EFBA4}"/>
              </a:ext>
            </a:extLst>
          </p:cNvPr>
          <p:cNvSpPr>
            <a:spLocks noGrp="1"/>
          </p:cNvSpPr>
          <p:nvPr>
            <p:ph type="sldNum" sz="quarter" idx="5"/>
          </p:nvPr>
        </p:nvSpPr>
        <p:spPr/>
        <p:txBody>
          <a:bodyPr/>
          <a:lstStyle/>
          <a:p>
            <a:fld id="{F9BE0236-4FFA-374A-8090-2822EB2D3FED}" type="slidenum">
              <a:rPr lang="en-GB" smtClean="0"/>
              <a:t>20</a:t>
            </a:fld>
            <a:endParaRPr lang="en-GB"/>
          </a:p>
        </p:txBody>
      </p:sp>
    </p:spTree>
    <p:extLst>
      <p:ext uri="{BB962C8B-B14F-4D97-AF65-F5344CB8AC3E}">
        <p14:creationId xmlns:p14="http://schemas.microsoft.com/office/powerpoint/2010/main" val="5173144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sz="1800" dirty="0">
              <a:effectLst/>
              <a:latin typeface="Arial" panose="020B0604020202020204" pitchFamily="34" charset="0"/>
              <a:ea typeface="Arial" panose="020B0604020202020204" pitchFamily="34" charset="0"/>
            </a:endParaRPr>
          </a:p>
          <a:p>
            <a:endParaRPr lang="en-US" sz="1800" dirty="0">
              <a:effectLst/>
              <a:latin typeface="Arial" panose="020B0604020202020204" pitchFamily="34" charset="0"/>
              <a:ea typeface="Arial" panose="020B0604020202020204" pitchFamily="34" charset="0"/>
              <a:cs typeface="Arial"/>
            </a:endParaRPr>
          </a:p>
          <a:p>
            <a:pPr algn="ctr"/>
            <a:endParaRPr lang="nb-NO" sz="1800" dirty="0">
              <a:effectLst/>
              <a:latin typeface="Arial" panose="020B0604020202020204" pitchFamily="34" charset="0"/>
              <a:ea typeface="Arial" panose="020B0604020202020204" pitchFamily="34" charset="0"/>
            </a:endParaRPr>
          </a:p>
          <a:p>
            <a:r>
              <a:rPr lang="en-US" sz="1800" dirty="0">
                <a:effectLst/>
                <a:latin typeface="Arial" panose="020B0604020202020204" pitchFamily="34" charset="0"/>
                <a:ea typeface="Arial" panose="020B0604020202020204" pitchFamily="34" charset="0"/>
              </a:rPr>
              <a:t> </a:t>
            </a:r>
            <a:endParaRPr lang="nb-NO" sz="1800" dirty="0">
              <a:effectLst/>
              <a:latin typeface="Arial" panose="020B0604020202020204" pitchFamily="34" charset="0"/>
              <a:ea typeface="Arial" panose="020B0604020202020204" pitchFamily="34" charset="0"/>
            </a:endParaRPr>
          </a:p>
          <a:p>
            <a:r>
              <a:rPr lang="en-US" sz="1800" dirty="0">
                <a:solidFill>
                  <a:srgbClr val="1F497D"/>
                </a:solidFill>
                <a:effectLst/>
                <a:latin typeface="Arial" panose="020B0604020202020204" pitchFamily="34" charset="0"/>
                <a:ea typeface="Arial" panose="020B0604020202020204" pitchFamily="34" charset="0"/>
              </a:rPr>
              <a:t> </a:t>
            </a:r>
            <a:endParaRPr lang="nb-NO" sz="1800" dirty="0">
              <a:effectLst/>
              <a:latin typeface="Arial" panose="020B0604020202020204" pitchFamily="34" charset="0"/>
              <a:ea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F9BE0236-4FFA-374A-8090-2822EB2D3FED}" type="slidenum">
              <a:rPr kumimoji="0" lang="en-US" sz="1400"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3</a:t>
            </a:fld>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26347182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0D822FDC-07FA-4A33-AF68-D7DE92875384}" type="slidenum">
              <a:t>4</a:t>
            </a:fld>
            <a:endParaRPr lang="en-US"/>
          </a:p>
        </p:txBody>
      </p:sp>
    </p:spTree>
    <p:extLst>
      <p:ext uri="{BB962C8B-B14F-4D97-AF65-F5344CB8AC3E}">
        <p14:creationId xmlns:p14="http://schemas.microsoft.com/office/powerpoint/2010/main" val="449408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i="1" dirty="0">
                <a:effectLst/>
                <a:latin typeface="Arial" panose="020B0604020202020204" pitchFamily="34" charset="0"/>
                <a:ea typeface="Arial" panose="020B0604020202020204" pitchFamily="34" charset="0"/>
                <a:cs typeface="Times New Roman" panose="02020603050405020304" pitchFamily="18" charset="0"/>
              </a:rPr>
              <a:t>Utslippene fra bygge- og anleggsvirksomheten nasjonalt tilsvarer rundt 4-5 prosent av klimagassutslippene fra transportsektoren i Norge. Satsing på utslippsfrie maskiner og transport er derfor et viktig klima- og miljøtiltak for bransjen vår.</a:t>
            </a:r>
            <a:endParaRPr lang="nb-NO" sz="1200" dirty="0">
              <a:effectLst/>
              <a:latin typeface="Arial" panose="020B0604020202020204" pitchFamily="34" charset="0"/>
              <a:ea typeface="Arial" panose="020B0604020202020204" pitchFamily="34" charset="0"/>
              <a:cs typeface="Times New Roman" panose="02020603050405020304" pitchFamily="18" charset="0"/>
            </a:endParaRPr>
          </a:p>
          <a:p>
            <a:r>
              <a:rPr lang="nb-NO" sz="1200" dirty="0">
                <a:effectLst/>
                <a:latin typeface="Arial" panose="020B0604020202020204" pitchFamily="34" charset="0"/>
                <a:ea typeface="Arial" panose="020B0604020202020204" pitchFamily="34" charset="0"/>
                <a:cs typeface="Times New Roman" panose="02020603050405020304" pitchFamily="18" charset="0"/>
              </a:rPr>
              <a:t> </a:t>
            </a:r>
          </a:p>
          <a:p>
            <a:r>
              <a:rPr lang="nb-NO" sz="1200" i="1" dirty="0">
                <a:effectLst/>
                <a:latin typeface="Arial" panose="020B0604020202020204" pitchFamily="34" charset="0"/>
                <a:ea typeface="Arial" panose="020B0604020202020204" pitchFamily="34" charset="0"/>
                <a:cs typeface="Times New Roman" panose="02020603050405020304" pitchFamily="18" charset="0"/>
              </a:rPr>
              <a:t>Elektrifisering av maskinparken, og optimalisering av transport og maskinbruk vil gi en reduksjon i både klimagassutslipp og kostnader.</a:t>
            </a:r>
            <a:endParaRPr lang="nb-NO" sz="1200" dirty="0">
              <a:effectLst/>
              <a:latin typeface="Arial" panose="020B0604020202020204" pitchFamily="34" charset="0"/>
              <a:ea typeface="Arial" panose="020B0604020202020204" pitchFamily="34" charset="0"/>
              <a:cs typeface="Times New Roman" panose="02020603050405020304" pitchFamily="18" charset="0"/>
            </a:endParaRPr>
          </a:p>
          <a:p>
            <a:r>
              <a:rPr lang="nb-NO" sz="1200" dirty="0">
                <a:effectLst/>
                <a:latin typeface="Arial" panose="020B0604020202020204" pitchFamily="34" charset="0"/>
                <a:ea typeface="Arial" panose="020B0604020202020204" pitchFamily="34" charset="0"/>
                <a:cs typeface="Times New Roman" panose="02020603050405020304" pitchFamily="18" charset="0"/>
              </a:rPr>
              <a:t> </a:t>
            </a:r>
          </a:p>
          <a:p>
            <a:r>
              <a:rPr lang="nb-NO" sz="1200" i="1" dirty="0">
                <a:effectLst/>
                <a:latin typeface="Arial" panose="020B0604020202020204" pitchFamily="34" charset="0"/>
                <a:ea typeface="Arial" panose="020B0604020202020204" pitchFamily="34" charset="0"/>
                <a:cs typeface="Times New Roman" panose="02020603050405020304" pitchFamily="18" charset="0"/>
              </a:rPr>
              <a:t>Skanska har gjennomført flere prosjekter med fossilfri byggeplass, både for offentlige og private byggherrer. Vi har pilotert og testet utslippsfrie maskiner, hvor vi blant annet gjennom forsknings- og utviklingsprosjektet Pilot-E, har bidratt til å utvikle en utslippsfri gravemaskin.</a:t>
            </a:r>
            <a:endParaRPr lang="nb-NO" sz="1200" dirty="0">
              <a:effectLst/>
              <a:latin typeface="Arial" panose="020B0604020202020204" pitchFamily="34" charset="0"/>
              <a:ea typeface="Arial" panose="020B0604020202020204" pitchFamily="34" charset="0"/>
              <a:cs typeface="Times New Roman" panose="02020603050405020304" pitchFamily="18" charset="0"/>
            </a:endParaRPr>
          </a:p>
          <a:p>
            <a:r>
              <a:rPr lang="nb-NO" sz="1200" dirty="0">
                <a:effectLst/>
                <a:latin typeface="Arial" panose="020B0604020202020204" pitchFamily="34" charset="0"/>
                <a:ea typeface="Arial" panose="020B0604020202020204" pitchFamily="34" charset="0"/>
                <a:cs typeface="Times New Roman" panose="02020603050405020304" pitchFamily="18" charset="0"/>
              </a:rPr>
              <a:t> </a:t>
            </a:r>
          </a:p>
          <a:p>
            <a:r>
              <a:rPr lang="nb-NO" sz="1200" i="1" dirty="0">
                <a:effectLst/>
                <a:latin typeface="Arial"/>
                <a:ea typeface="Arial" panose="020B0604020202020204" pitchFamily="34" charset="0"/>
                <a:cs typeface="Arial"/>
              </a:rPr>
              <a:t>I dag har vi en voksende utslippsfri maskinpark, ca. 10 % av </a:t>
            </a:r>
            <a:r>
              <a:rPr lang="nb-NO" sz="1200" i="1" dirty="0" err="1">
                <a:effectLst/>
                <a:latin typeface="Arial"/>
                <a:ea typeface="Arial" panose="020B0604020202020204" pitchFamily="34" charset="0"/>
                <a:cs typeface="Arial"/>
              </a:rPr>
              <a:t>selskapsbilene</a:t>
            </a:r>
            <a:r>
              <a:rPr lang="nb-NO" sz="1200" i="1" dirty="0">
                <a:effectLst/>
                <a:latin typeface="Arial"/>
                <a:ea typeface="Arial" panose="020B0604020202020204" pitchFamily="34" charset="0"/>
                <a:cs typeface="Arial"/>
              </a:rPr>
              <a:t>/små maskiner er utslippsfri og vi har noen titalls utslippsfrie anleggsmaskiner. I tillegg er ca. </a:t>
            </a:r>
            <a:r>
              <a:rPr lang="nb-NO" i="1" dirty="0">
                <a:latin typeface="Arial"/>
                <a:ea typeface="Arial" panose="020B0604020202020204" pitchFamily="34" charset="0"/>
                <a:cs typeface="Arial"/>
              </a:rPr>
              <a:t>5-10 </a:t>
            </a:r>
            <a:r>
              <a:rPr lang="nb-NO" sz="1200" i="1" dirty="0">
                <a:effectLst/>
                <a:latin typeface="Arial"/>
                <a:ea typeface="Arial" panose="020B0604020202020204" pitchFamily="34" charset="0"/>
                <a:cs typeface="Arial"/>
              </a:rPr>
              <a:t> % av drivstoffet vi benytter fossilfri. Det er utfordrende og det koster, men å være i front gjør oss konkurransedyktige. Disse tiltakene gir også utslag på våre klimatall. Signalene er krystallklare, fremtiden er utslippsfri.</a:t>
            </a:r>
            <a:endParaRPr lang="nb-NO" sz="1200" dirty="0">
              <a:effectLst/>
              <a:latin typeface="Arial"/>
              <a:ea typeface="Arial" panose="020B0604020202020204" pitchFamily="34" charset="0"/>
              <a:cs typeface="Arial"/>
            </a:endParaRPr>
          </a:p>
          <a:p>
            <a:endParaRPr lang="nb-NO" dirty="0"/>
          </a:p>
          <a:p>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t>Electric digger</a:t>
            </a:r>
            <a:endParaRPr lang="nb-NO" sz="1000" dirty="0"/>
          </a:p>
          <a:p>
            <a:endParaRPr lang="nb-NO" dirty="0"/>
          </a:p>
        </p:txBody>
      </p:sp>
      <p:sp>
        <p:nvSpPr>
          <p:cNvPr id="4" name="Plassholder for lysbildenummer 3"/>
          <p:cNvSpPr>
            <a:spLocks noGrp="1"/>
          </p:cNvSpPr>
          <p:nvPr>
            <p:ph type="sldNum" sz="quarter" idx="5"/>
          </p:nvPr>
        </p:nvSpPr>
        <p:spPr/>
        <p:txBody>
          <a:bodyPr/>
          <a:lstStyle/>
          <a:p>
            <a:fld id="{F9BE0236-4FFA-374A-8090-2822EB2D3FED}" type="slidenum">
              <a:rPr lang="en-GB" smtClean="0"/>
              <a:t>7</a:t>
            </a:fld>
            <a:endParaRPr lang="en-GB"/>
          </a:p>
        </p:txBody>
      </p:sp>
    </p:spTree>
    <p:extLst>
      <p:ext uri="{BB962C8B-B14F-4D97-AF65-F5344CB8AC3E}">
        <p14:creationId xmlns:p14="http://schemas.microsoft.com/office/powerpoint/2010/main" val="12964070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latin typeface="Shape Sans" panose="00000500000000000000" pitchFamily="50" charset="0"/>
              </a:rPr>
              <a:t>Ny helelektrisk produksjonslinjen for vann og frost er utviklet og prosjektert av Skanska</a:t>
            </a:r>
          </a:p>
          <a:p>
            <a:pPr marL="171450" indent="-171450">
              <a:buFont typeface="Arial" panose="020B0604020202020204" pitchFamily="34" charset="0"/>
              <a:buChar char="•"/>
            </a:pPr>
            <a:r>
              <a:rPr lang="nb-NO" dirty="0">
                <a:latin typeface="Shape Sans" panose="00000500000000000000" pitchFamily="50" charset="0"/>
              </a:rPr>
              <a:t>Elektrifisering av maskinparken skal bidra til å redusere CO</a:t>
            </a:r>
            <a:r>
              <a:rPr lang="nb-NO" baseline="-25000" dirty="0">
                <a:latin typeface="Shape Sans" panose="00000500000000000000" pitchFamily="50" charset="0"/>
              </a:rPr>
              <a:t>2</a:t>
            </a:r>
            <a:r>
              <a:rPr lang="nb-NO" dirty="0">
                <a:latin typeface="Shape Sans" panose="00000500000000000000" pitchFamily="50" charset="0"/>
              </a:rPr>
              <a:t> utslipp i tunnelprosjekter, samt forbedre arbeidsmiljø ved gjennomføring av etterarbeid</a:t>
            </a:r>
          </a:p>
          <a:p>
            <a:pPr marL="171450" indent="-171450">
              <a:buFont typeface="Arial" panose="020B0604020202020204" pitchFamily="34" charset="0"/>
              <a:buChar char="•"/>
            </a:pPr>
            <a:r>
              <a:rPr lang="nb-NO" sz="1200" spc="40" dirty="0">
                <a:solidFill>
                  <a:schemeClr val="tx2"/>
                </a:solidFill>
                <a:latin typeface="Shape Sans" panose="00000500000000000000" pitchFamily="50" charset="0"/>
              </a:rPr>
              <a:t>Redusere dieselforbruk med minst 70% i vår produksjon</a:t>
            </a:r>
          </a:p>
          <a:p>
            <a:pPr marL="171450" indent="-171450">
              <a:buFont typeface="Arial" panose="020B0604020202020204" pitchFamily="34" charset="0"/>
              <a:buChar char="•"/>
            </a:pPr>
            <a:r>
              <a:rPr lang="nb-NO" sz="1200" spc="40" dirty="0">
                <a:solidFill>
                  <a:schemeClr val="tx2"/>
                </a:solidFill>
                <a:latin typeface="Shape Sans" panose="00000500000000000000" pitchFamily="50" charset="0"/>
              </a:rPr>
              <a:t>Redusere CO</a:t>
            </a:r>
            <a:r>
              <a:rPr lang="nb-NO" sz="800" spc="40" dirty="0">
                <a:solidFill>
                  <a:schemeClr val="tx2"/>
                </a:solidFill>
                <a:latin typeface="Shape Sans" panose="00000500000000000000" pitchFamily="50" charset="0"/>
              </a:rPr>
              <a:t>2</a:t>
            </a:r>
            <a:r>
              <a:rPr lang="nb-NO" sz="1200" spc="40" dirty="0">
                <a:solidFill>
                  <a:schemeClr val="tx2"/>
                </a:solidFill>
                <a:latin typeface="Shape Sans" panose="00000500000000000000" pitchFamily="50" charset="0"/>
              </a:rPr>
              <a:t> utslipp knyttet til drift, operasjon og transport av maskiner i egen produksjon (tunnelinnredning) med minst 80% </a:t>
            </a:r>
          </a:p>
          <a:p>
            <a:pPr marL="171450" indent="-171450">
              <a:buFont typeface="Arial" panose="020B0604020202020204" pitchFamily="34" charset="0"/>
              <a:buChar char="•"/>
            </a:pPr>
            <a:r>
              <a:rPr lang="nb-NO" dirty="0">
                <a:latin typeface="Shape Sans" panose="00000500000000000000" pitchFamily="50" charset="0"/>
              </a:rPr>
              <a:t>Produksjonslinjen er planlagt brukt på E16 BS E18 VK E103 og OPS Hålogalandsvegen</a:t>
            </a:r>
            <a:endParaRPr lang="nb-NO" sz="1200" spc="40" dirty="0">
              <a:solidFill>
                <a:schemeClr val="tx2"/>
              </a:solidFill>
              <a:latin typeface="Shape Sans" panose="00000500000000000000" pitchFamily="50" charset="0"/>
            </a:endParaRPr>
          </a:p>
        </p:txBody>
      </p:sp>
      <p:sp>
        <p:nvSpPr>
          <p:cNvPr id="4" name="Plassholder for lysbildenummer 3"/>
          <p:cNvSpPr>
            <a:spLocks noGrp="1"/>
          </p:cNvSpPr>
          <p:nvPr>
            <p:ph type="sldNum" sz="quarter" idx="5"/>
          </p:nvPr>
        </p:nvSpPr>
        <p:spPr/>
        <p:txBody>
          <a:bodyPr/>
          <a:lstStyle/>
          <a:p>
            <a:fld id="{F9BE0236-4FFA-374A-8090-2822EB2D3FED}" type="slidenum">
              <a:rPr lang="en-GB" smtClean="0"/>
              <a:t>8</a:t>
            </a:fld>
            <a:endParaRPr lang="en-GB"/>
          </a:p>
        </p:txBody>
      </p:sp>
    </p:spTree>
    <p:extLst>
      <p:ext uri="{BB962C8B-B14F-4D97-AF65-F5344CB8AC3E}">
        <p14:creationId xmlns:p14="http://schemas.microsoft.com/office/powerpoint/2010/main" val="19738923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latin typeface="Shape Sans" panose="00000500000000000000" pitchFamily="50" charset="0"/>
              </a:rPr>
              <a:t>Bruk av filterpresse for håndtering av slam fra tunneldrift i prosjektene E16 </a:t>
            </a:r>
            <a:r>
              <a:rPr lang="nb-NO" dirty="0" err="1">
                <a:latin typeface="Shape Sans" panose="00000500000000000000" pitchFamily="50" charset="0"/>
              </a:rPr>
              <a:t>Bjørum</a:t>
            </a:r>
            <a:r>
              <a:rPr lang="nb-NO" dirty="0">
                <a:latin typeface="Shape Sans" panose="00000500000000000000" pitchFamily="50" charset="0"/>
              </a:rPr>
              <a:t>-Skaret, E18 VK E103 og E102</a:t>
            </a:r>
          </a:p>
          <a:p>
            <a:pPr marL="171450" indent="-171450">
              <a:buFont typeface="Arial" panose="020B0604020202020204" pitchFamily="34" charset="0"/>
              <a:buChar char="•"/>
            </a:pPr>
            <a:r>
              <a:rPr lang="nb-NO" dirty="0">
                <a:latin typeface="Shape Sans" panose="00000500000000000000" pitchFamily="50" charset="0"/>
              </a:rPr>
              <a:t>Vann fra slam fjernes og renses til mulig gjenbruk i prosjekt</a:t>
            </a:r>
          </a:p>
          <a:p>
            <a:pPr marL="171450" indent="-171450">
              <a:buFont typeface="Arial" panose="020B0604020202020204" pitchFamily="34" charset="0"/>
              <a:buChar char="•"/>
            </a:pPr>
            <a:r>
              <a:rPr lang="nb-NO" dirty="0">
                <a:latin typeface="Shape Sans" panose="00000500000000000000" pitchFamily="50" charset="0"/>
              </a:rPr>
              <a:t>Resulterende filterkake (finstoff-fraksjon) reduserer transportbehov til godkjent mottak/deponi med ca. 70%</a:t>
            </a:r>
          </a:p>
          <a:p>
            <a:pPr marL="171450" indent="-171450">
              <a:buFont typeface="Arial" panose="020B0604020202020204" pitchFamily="34" charset="0"/>
              <a:buChar char="•"/>
            </a:pPr>
            <a:r>
              <a:rPr lang="nb-NO" dirty="0">
                <a:latin typeface="Shape Sans" panose="00000500000000000000" pitchFamily="50" charset="0"/>
              </a:rPr>
              <a:t>Filterkaker har nyttiggjøringspotensiale</a:t>
            </a:r>
          </a:p>
          <a:p>
            <a:pPr marL="171450" indent="-171450">
              <a:buFont typeface="Arial" panose="020B0604020202020204" pitchFamily="34" charset="0"/>
              <a:buChar char="•"/>
            </a:pPr>
            <a:r>
              <a:rPr lang="nb-NO" dirty="0">
                <a:latin typeface="Shape Sans" panose="00000500000000000000" pitchFamily="50" charset="0"/>
              </a:rPr>
              <a:t>Redusert transportbehov gir reduksjon i prosjektenes CO</a:t>
            </a:r>
            <a:r>
              <a:rPr lang="nb-NO" baseline="-25000" dirty="0">
                <a:latin typeface="Shape Sans" panose="00000500000000000000" pitchFamily="50" charset="0"/>
              </a:rPr>
              <a:t>2</a:t>
            </a:r>
            <a:r>
              <a:rPr lang="nb-NO" dirty="0">
                <a:latin typeface="Shape Sans" panose="00000500000000000000" pitchFamily="50" charset="0"/>
              </a:rPr>
              <a:t> utslipp</a:t>
            </a:r>
          </a:p>
          <a:p>
            <a:pPr marL="171450" indent="-171450">
              <a:buFont typeface="Arial" panose="020B0604020202020204" pitchFamily="34" charset="0"/>
              <a:buChar char="•"/>
            </a:pPr>
            <a:r>
              <a:rPr lang="nb-NO" dirty="0">
                <a:latin typeface="Shape Sans" panose="00000500000000000000" pitchFamily="50" charset="0"/>
              </a:rPr>
              <a:t>Filterpresseanlegg er også </a:t>
            </a:r>
            <a:r>
              <a:rPr lang="nb-NO" dirty="0" err="1">
                <a:latin typeface="Shape Sans" panose="00000500000000000000" pitchFamily="50" charset="0"/>
              </a:rPr>
              <a:t>innstalert</a:t>
            </a:r>
            <a:r>
              <a:rPr lang="nb-NO" dirty="0">
                <a:latin typeface="Shape Sans" panose="00000500000000000000" pitchFamily="50" charset="0"/>
              </a:rPr>
              <a:t> på E39 E04 </a:t>
            </a:r>
            <a:r>
              <a:rPr lang="nb-NO" dirty="0" err="1">
                <a:latin typeface="Shape Sans" panose="00000500000000000000" pitchFamily="50" charset="0"/>
              </a:rPr>
              <a:t>Rogfast</a:t>
            </a:r>
            <a:r>
              <a:rPr lang="nb-NO" dirty="0">
                <a:latin typeface="Shape Sans" panose="00000500000000000000" pitchFamily="50" charset="0"/>
              </a:rPr>
              <a:t>, og OPS Hålogalandsvegen</a:t>
            </a:r>
          </a:p>
        </p:txBody>
      </p:sp>
      <p:sp>
        <p:nvSpPr>
          <p:cNvPr id="4" name="Plassholder for lysbildenummer 3"/>
          <p:cNvSpPr>
            <a:spLocks noGrp="1"/>
          </p:cNvSpPr>
          <p:nvPr>
            <p:ph type="sldNum" sz="quarter" idx="5"/>
          </p:nvPr>
        </p:nvSpPr>
        <p:spPr/>
        <p:txBody>
          <a:bodyPr/>
          <a:lstStyle/>
          <a:p>
            <a:fld id="{F9BE0236-4FFA-374A-8090-2822EB2D3FED}" type="slidenum">
              <a:rPr lang="en-GB" smtClean="0"/>
              <a:t>9</a:t>
            </a:fld>
            <a:endParaRPr lang="en-GB"/>
          </a:p>
        </p:txBody>
      </p:sp>
    </p:spTree>
    <p:extLst>
      <p:ext uri="{BB962C8B-B14F-4D97-AF65-F5344CB8AC3E}">
        <p14:creationId xmlns:p14="http://schemas.microsoft.com/office/powerpoint/2010/main" val="28307137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dirty="0">
              <a:ea typeface="Calibri"/>
              <a:cs typeface="Calibri"/>
            </a:endParaRPr>
          </a:p>
          <a:p>
            <a:endParaRPr lang="nb-NO" dirty="0"/>
          </a:p>
        </p:txBody>
      </p:sp>
      <p:sp>
        <p:nvSpPr>
          <p:cNvPr id="4" name="Plassholder for lysbildenummer 3"/>
          <p:cNvSpPr>
            <a:spLocks noGrp="1"/>
          </p:cNvSpPr>
          <p:nvPr>
            <p:ph type="sldNum" sz="quarter" idx="5"/>
          </p:nvPr>
        </p:nvSpPr>
        <p:spPr/>
        <p:txBody>
          <a:bodyPr/>
          <a:lstStyle/>
          <a:p>
            <a:fld id="{F9BE0236-4FFA-374A-8090-2822EB2D3FED}" type="slidenum">
              <a:rPr lang="en-GB" smtClean="0"/>
              <a:t>11</a:t>
            </a:fld>
            <a:endParaRPr lang="en-GB"/>
          </a:p>
        </p:txBody>
      </p:sp>
    </p:spTree>
    <p:extLst>
      <p:ext uri="{BB962C8B-B14F-4D97-AF65-F5344CB8AC3E}">
        <p14:creationId xmlns:p14="http://schemas.microsoft.com/office/powerpoint/2010/main" val="30327526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t>The building will be operated without the need for purchased energy for heating, ventilation or cooling. The energy for this comes from a combination of solar cells and </a:t>
            </a:r>
            <a:r>
              <a:rPr lang="en-US" sz="1200" b="1" i="1" dirty="0"/>
              <a:t>Skanska's self-developed </a:t>
            </a:r>
            <a:r>
              <a:rPr lang="en-US" sz="1300" dirty="0"/>
              <a:t>Low-Ex </a:t>
            </a:r>
            <a:r>
              <a:rPr lang="en-US" sz="1200" i="1" dirty="0"/>
              <a:t>floor heating system, energy wells and purpose-built heat pumps.</a:t>
            </a:r>
            <a:endParaRPr lang="nb-NO" sz="1200" i="1" dirty="0"/>
          </a:p>
          <a:p>
            <a:endParaRPr lang="nb-NO" dirty="0"/>
          </a:p>
        </p:txBody>
      </p:sp>
      <p:sp>
        <p:nvSpPr>
          <p:cNvPr id="4" name="Plassholder for lysbildenummer 3"/>
          <p:cNvSpPr>
            <a:spLocks noGrp="1"/>
          </p:cNvSpPr>
          <p:nvPr>
            <p:ph type="sldNum" sz="quarter" idx="5"/>
          </p:nvPr>
        </p:nvSpPr>
        <p:spPr/>
        <p:txBody>
          <a:bodyPr/>
          <a:lstStyle/>
          <a:p>
            <a:fld id="{F9BE0236-4FFA-374A-8090-2822EB2D3FED}" type="slidenum">
              <a:rPr lang="en-GB" smtClean="0"/>
              <a:t>12</a:t>
            </a:fld>
            <a:endParaRPr lang="en-GB"/>
          </a:p>
        </p:txBody>
      </p:sp>
    </p:spTree>
    <p:extLst>
      <p:ext uri="{BB962C8B-B14F-4D97-AF65-F5344CB8AC3E}">
        <p14:creationId xmlns:p14="http://schemas.microsoft.com/office/powerpoint/2010/main" val="32822523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A75142-5424-541E-33D9-6247B54CF0B9}"/>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D3EEE1C4-8552-6D86-82A2-FA4696469D32}"/>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DEF41BC1-C58F-F672-BA16-C8B18877A45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dirty="0">
              <a:ea typeface="Calibri"/>
              <a:cs typeface="Calibri"/>
            </a:endParaRPr>
          </a:p>
          <a:p>
            <a:endParaRPr lang="nb-NO" dirty="0"/>
          </a:p>
        </p:txBody>
      </p:sp>
      <p:sp>
        <p:nvSpPr>
          <p:cNvPr id="4" name="Plassholder for lysbildenummer 3">
            <a:extLst>
              <a:ext uri="{FF2B5EF4-FFF2-40B4-BE49-F238E27FC236}">
                <a16:creationId xmlns:a16="http://schemas.microsoft.com/office/drawing/2014/main" id="{4C023DD2-0B68-BC07-BDE5-4827B09F9621}"/>
              </a:ext>
            </a:extLst>
          </p:cNvPr>
          <p:cNvSpPr>
            <a:spLocks noGrp="1"/>
          </p:cNvSpPr>
          <p:nvPr>
            <p:ph type="sldNum" sz="quarter" idx="5"/>
          </p:nvPr>
        </p:nvSpPr>
        <p:spPr/>
        <p:txBody>
          <a:bodyPr/>
          <a:lstStyle/>
          <a:p>
            <a:fld id="{F9BE0236-4FFA-374A-8090-2822EB2D3FED}" type="slidenum">
              <a:rPr lang="en-GB" smtClean="0"/>
              <a:t>13</a:t>
            </a:fld>
            <a:endParaRPr lang="en-GB"/>
          </a:p>
        </p:txBody>
      </p:sp>
    </p:spTree>
    <p:extLst>
      <p:ext uri="{BB962C8B-B14F-4D97-AF65-F5344CB8AC3E}">
        <p14:creationId xmlns:p14="http://schemas.microsoft.com/office/powerpoint/2010/main" val="3473561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Generisk startbilde">
    <p:bg>
      <p:bgPr>
        <a:solidFill>
          <a:schemeClr val="bg1"/>
        </a:solidFill>
        <a:effectLst/>
      </p:bgPr>
    </p:bg>
    <p:spTree>
      <p:nvGrpSpPr>
        <p:cNvPr id="1" name=""/>
        <p:cNvGrpSpPr/>
        <p:nvPr/>
      </p:nvGrpSpPr>
      <p:grpSpPr>
        <a:xfrm>
          <a:off x="0" y="0"/>
          <a:ext cx="0" cy="0"/>
          <a:chOff x="0" y="0"/>
          <a:chExt cx="0" cy="0"/>
        </a:xfrm>
      </p:grpSpPr>
      <p:sp>
        <p:nvSpPr>
          <p:cNvPr id="17" name="Picture Placeholder 1">
            <a:extLst>
              <a:ext uri="{FF2B5EF4-FFF2-40B4-BE49-F238E27FC236}">
                <a16:creationId xmlns:a16="http://schemas.microsoft.com/office/drawing/2014/main" id="{5F25FCAC-9D7B-3242-B85D-0E4AD5A08447}"/>
              </a:ext>
            </a:extLst>
          </p:cNvPr>
          <p:cNvSpPr>
            <a:spLocks noGrp="1"/>
          </p:cNvSpPr>
          <p:nvPr>
            <p:ph type="pic" sz="quarter" idx="13" hasCustomPrompt="1"/>
          </p:nvPr>
        </p:nvSpPr>
        <p:spPr>
          <a:xfrm>
            <a:off x="2" y="2"/>
            <a:ext cx="12191999" cy="6857999"/>
          </a:xfrm>
          <a:custGeom>
            <a:avLst/>
            <a:gdLst>
              <a:gd name="connsiteX0" fmla="*/ 4964326 w 12191999"/>
              <a:gd name="connsiteY0" fmla="*/ 3115140 h 6857999"/>
              <a:gd name="connsiteX1" fmla="*/ 5103655 w 12191999"/>
              <a:gd name="connsiteY1" fmla="*/ 3528679 h 6857999"/>
              <a:gd name="connsiteX2" fmla="*/ 4829444 w 12191999"/>
              <a:gd name="connsiteY2" fmla="*/ 3528679 h 6857999"/>
              <a:gd name="connsiteX3" fmla="*/ 9196063 w 12191999"/>
              <a:gd name="connsiteY3" fmla="*/ 3115140 h 6857999"/>
              <a:gd name="connsiteX4" fmla="*/ 9335392 w 12191999"/>
              <a:gd name="connsiteY4" fmla="*/ 3528679 h 6857999"/>
              <a:gd name="connsiteX5" fmla="*/ 9061181 w 12191999"/>
              <a:gd name="connsiteY5" fmla="*/ 3528679 h 6857999"/>
              <a:gd name="connsiteX6" fmla="*/ 5595751 w 12191999"/>
              <a:gd name="connsiteY6" fmla="*/ 2890584 h 6857999"/>
              <a:gd name="connsiteX7" fmla="*/ 5595751 w 12191999"/>
              <a:gd name="connsiteY7" fmla="*/ 3968157 h 6857999"/>
              <a:gd name="connsiteX8" fmla="*/ 5845505 w 12191999"/>
              <a:gd name="connsiteY8" fmla="*/ 3968157 h 6857999"/>
              <a:gd name="connsiteX9" fmla="*/ 5845505 w 12191999"/>
              <a:gd name="connsiteY9" fmla="*/ 3303382 h 6857999"/>
              <a:gd name="connsiteX10" fmla="*/ 6274608 w 12191999"/>
              <a:gd name="connsiteY10" fmla="*/ 3965934 h 6857999"/>
              <a:gd name="connsiteX11" fmla="*/ 6274608 w 12191999"/>
              <a:gd name="connsiteY11" fmla="*/ 3968157 h 6857999"/>
              <a:gd name="connsiteX12" fmla="*/ 6533255 w 12191999"/>
              <a:gd name="connsiteY12" fmla="*/ 3968157 h 6857999"/>
              <a:gd name="connsiteX13" fmla="*/ 6532514 w 12191999"/>
              <a:gd name="connsiteY13" fmla="*/ 3735449 h 6857999"/>
              <a:gd name="connsiteX14" fmla="*/ 6531032 w 12191999"/>
              <a:gd name="connsiteY14" fmla="*/ 2890584 h 6857999"/>
              <a:gd name="connsiteX15" fmla="*/ 6282760 w 12191999"/>
              <a:gd name="connsiteY15" fmla="*/ 2890584 h 6857999"/>
              <a:gd name="connsiteX16" fmla="*/ 6282760 w 12191999"/>
              <a:gd name="connsiteY16" fmla="*/ 3567958 h 6857999"/>
              <a:gd name="connsiteX17" fmla="*/ 5849952 w 12191999"/>
              <a:gd name="connsiteY17" fmla="*/ 2890584 h 6857999"/>
              <a:gd name="connsiteX18" fmla="*/ 4802022 w 12191999"/>
              <a:gd name="connsiteY18" fmla="*/ 2890584 h 6857999"/>
              <a:gd name="connsiteX19" fmla="*/ 4429245 w 12191999"/>
              <a:gd name="connsiteY19" fmla="*/ 3968157 h 6857999"/>
              <a:gd name="connsiteX20" fmla="*/ 4692339 w 12191999"/>
              <a:gd name="connsiteY20" fmla="*/ 3968157 h 6857999"/>
              <a:gd name="connsiteX21" fmla="*/ 4760520 w 12191999"/>
              <a:gd name="connsiteY21" fmla="*/ 3748048 h 6857999"/>
              <a:gd name="connsiteX22" fmla="*/ 5173319 w 12191999"/>
              <a:gd name="connsiteY22" fmla="*/ 3748048 h 6857999"/>
              <a:gd name="connsiteX23" fmla="*/ 5243725 w 12191999"/>
              <a:gd name="connsiteY23" fmla="*/ 3968157 h 6857999"/>
              <a:gd name="connsiteX24" fmla="*/ 5503113 w 12191999"/>
              <a:gd name="connsiteY24" fmla="*/ 3968157 h 6857999"/>
              <a:gd name="connsiteX25" fmla="*/ 5119218 w 12191999"/>
              <a:gd name="connsiteY25" fmla="*/ 2890584 h 6857999"/>
              <a:gd name="connsiteX26" fmla="*/ 2791392 w 12191999"/>
              <a:gd name="connsiteY26" fmla="*/ 2890584 h 6857999"/>
              <a:gd name="connsiteX27" fmla="*/ 2457151 w 12191999"/>
              <a:gd name="connsiteY27" fmla="*/ 3218154 h 6857999"/>
              <a:gd name="connsiteX28" fmla="*/ 2791392 w 12191999"/>
              <a:gd name="connsiteY28" fmla="*/ 3532385 h 6857999"/>
              <a:gd name="connsiteX29" fmla="*/ 3046334 w 12191999"/>
              <a:gd name="connsiteY29" fmla="*/ 3532385 h 6857999"/>
              <a:gd name="connsiteX30" fmla="*/ 3143419 w 12191999"/>
              <a:gd name="connsiteY30" fmla="*/ 3632434 h 6857999"/>
              <a:gd name="connsiteX31" fmla="*/ 3046334 w 12191999"/>
              <a:gd name="connsiteY31" fmla="*/ 3732484 h 6857999"/>
              <a:gd name="connsiteX32" fmla="*/ 2500136 w 12191999"/>
              <a:gd name="connsiteY32" fmla="*/ 3732484 h 6857999"/>
              <a:gd name="connsiteX33" fmla="*/ 2500136 w 12191999"/>
              <a:gd name="connsiteY33" fmla="*/ 3968157 h 6857999"/>
              <a:gd name="connsiteX34" fmla="*/ 3036699 w 12191999"/>
              <a:gd name="connsiteY34" fmla="*/ 3968157 h 6857999"/>
              <a:gd name="connsiteX35" fmla="*/ 3375386 w 12191999"/>
              <a:gd name="connsiteY35" fmla="*/ 3632434 h 6857999"/>
              <a:gd name="connsiteX36" fmla="*/ 3084871 w 12191999"/>
              <a:gd name="connsiteY36" fmla="*/ 3318204 h 6857999"/>
              <a:gd name="connsiteX37" fmla="*/ 2791392 w 12191999"/>
              <a:gd name="connsiteY37" fmla="*/ 3318204 h 6857999"/>
              <a:gd name="connsiteX38" fmla="*/ 2689860 w 12191999"/>
              <a:gd name="connsiteY38" fmla="*/ 3218154 h 6857999"/>
              <a:gd name="connsiteX39" fmla="*/ 2791392 w 12191999"/>
              <a:gd name="connsiteY39" fmla="*/ 3118105 h 6857999"/>
              <a:gd name="connsiteX40" fmla="*/ 3300534 w 12191999"/>
              <a:gd name="connsiteY40" fmla="*/ 3118105 h 6857999"/>
              <a:gd name="connsiteX41" fmla="*/ 3300534 w 12191999"/>
              <a:gd name="connsiteY41" fmla="*/ 2890584 h 6857999"/>
              <a:gd name="connsiteX42" fmla="*/ 9033760 w 12191999"/>
              <a:gd name="connsiteY42" fmla="*/ 2890583 h 6857999"/>
              <a:gd name="connsiteX43" fmla="*/ 8661723 w 12191999"/>
              <a:gd name="connsiteY43" fmla="*/ 3968157 h 6857999"/>
              <a:gd name="connsiteX44" fmla="*/ 8924817 w 12191999"/>
              <a:gd name="connsiteY44" fmla="*/ 3968157 h 6857999"/>
              <a:gd name="connsiteX45" fmla="*/ 8992999 w 12191999"/>
              <a:gd name="connsiteY45" fmla="*/ 3748048 h 6857999"/>
              <a:gd name="connsiteX46" fmla="*/ 9405797 w 12191999"/>
              <a:gd name="connsiteY46" fmla="*/ 3748048 h 6857999"/>
              <a:gd name="connsiteX47" fmla="*/ 9476203 w 12191999"/>
              <a:gd name="connsiteY47" fmla="*/ 3968157 h 6857999"/>
              <a:gd name="connsiteX48" fmla="*/ 9734850 w 12191999"/>
              <a:gd name="connsiteY48" fmla="*/ 3968157 h 6857999"/>
              <a:gd name="connsiteX49" fmla="*/ 9350955 w 12191999"/>
              <a:gd name="connsiteY49" fmla="*/ 2890583 h 6857999"/>
              <a:gd name="connsiteX50" fmla="*/ 7018682 w 12191999"/>
              <a:gd name="connsiteY50" fmla="*/ 2890583 h 6857999"/>
              <a:gd name="connsiteX51" fmla="*/ 6684441 w 12191999"/>
              <a:gd name="connsiteY51" fmla="*/ 3218154 h 6857999"/>
              <a:gd name="connsiteX52" fmla="*/ 7018682 w 12191999"/>
              <a:gd name="connsiteY52" fmla="*/ 3532385 h 6857999"/>
              <a:gd name="connsiteX53" fmla="*/ 7273623 w 12191999"/>
              <a:gd name="connsiteY53" fmla="*/ 3532385 h 6857999"/>
              <a:gd name="connsiteX54" fmla="*/ 7370709 w 12191999"/>
              <a:gd name="connsiteY54" fmla="*/ 3632434 h 6857999"/>
              <a:gd name="connsiteX55" fmla="*/ 7273623 w 12191999"/>
              <a:gd name="connsiteY55" fmla="*/ 3732484 h 6857999"/>
              <a:gd name="connsiteX56" fmla="*/ 6728167 w 12191999"/>
              <a:gd name="connsiteY56" fmla="*/ 3732484 h 6857999"/>
              <a:gd name="connsiteX57" fmla="*/ 6728167 w 12191999"/>
              <a:gd name="connsiteY57" fmla="*/ 3968157 h 6857999"/>
              <a:gd name="connsiteX58" fmla="*/ 7264730 w 12191999"/>
              <a:gd name="connsiteY58" fmla="*/ 3968157 h 6857999"/>
              <a:gd name="connsiteX59" fmla="*/ 7603417 w 12191999"/>
              <a:gd name="connsiteY59" fmla="*/ 3632434 h 6857999"/>
              <a:gd name="connsiteX60" fmla="*/ 7312161 w 12191999"/>
              <a:gd name="connsiteY60" fmla="*/ 3318204 h 6857999"/>
              <a:gd name="connsiteX61" fmla="*/ 7018682 w 12191999"/>
              <a:gd name="connsiteY61" fmla="*/ 3318204 h 6857999"/>
              <a:gd name="connsiteX62" fmla="*/ 6917150 w 12191999"/>
              <a:gd name="connsiteY62" fmla="*/ 3218154 h 6857999"/>
              <a:gd name="connsiteX63" fmla="*/ 7018682 w 12191999"/>
              <a:gd name="connsiteY63" fmla="*/ 3118104 h 6857999"/>
              <a:gd name="connsiteX64" fmla="*/ 7527824 w 12191999"/>
              <a:gd name="connsiteY64" fmla="*/ 3118104 h 6857999"/>
              <a:gd name="connsiteX65" fmla="*/ 7527824 w 12191999"/>
              <a:gd name="connsiteY65" fmla="*/ 2890583 h 6857999"/>
              <a:gd name="connsiteX66" fmla="*/ 3520644 w 12191999"/>
              <a:gd name="connsiteY66" fmla="*/ 2889843 h 6857999"/>
              <a:gd name="connsiteX67" fmla="*/ 3520644 w 12191999"/>
              <a:gd name="connsiteY67" fmla="*/ 3968157 h 6857999"/>
              <a:gd name="connsiteX68" fmla="*/ 3768916 w 12191999"/>
              <a:gd name="connsiteY68" fmla="*/ 3968157 h 6857999"/>
              <a:gd name="connsiteX69" fmla="*/ 3768916 w 12191999"/>
              <a:gd name="connsiteY69" fmla="*/ 3513116 h 6857999"/>
              <a:gd name="connsiteX70" fmla="*/ 4123167 w 12191999"/>
              <a:gd name="connsiteY70" fmla="*/ 3968157 h 6857999"/>
              <a:gd name="connsiteX71" fmla="*/ 4413681 w 12191999"/>
              <a:gd name="connsiteY71" fmla="*/ 3968157 h 6857999"/>
              <a:gd name="connsiteX72" fmla="*/ 4005330 w 12191999"/>
              <a:gd name="connsiteY72" fmla="*/ 3429370 h 6857999"/>
              <a:gd name="connsiteX73" fmla="*/ 4413681 w 12191999"/>
              <a:gd name="connsiteY73" fmla="*/ 2889843 h 6857999"/>
              <a:gd name="connsiteX74" fmla="*/ 4123167 w 12191999"/>
              <a:gd name="connsiteY74" fmla="*/ 2889843 h 6857999"/>
              <a:gd name="connsiteX75" fmla="*/ 3768916 w 12191999"/>
              <a:gd name="connsiteY75" fmla="*/ 3344884 h 6857999"/>
              <a:gd name="connsiteX76" fmla="*/ 3768916 w 12191999"/>
              <a:gd name="connsiteY76" fmla="*/ 2889843 h 6857999"/>
              <a:gd name="connsiteX77" fmla="*/ 7752381 w 12191999"/>
              <a:gd name="connsiteY77" fmla="*/ 2889842 h 6857999"/>
              <a:gd name="connsiteX78" fmla="*/ 7752381 w 12191999"/>
              <a:gd name="connsiteY78" fmla="*/ 3968157 h 6857999"/>
              <a:gd name="connsiteX79" fmla="*/ 8001394 w 12191999"/>
              <a:gd name="connsiteY79" fmla="*/ 3968157 h 6857999"/>
              <a:gd name="connsiteX80" fmla="*/ 8001394 w 12191999"/>
              <a:gd name="connsiteY80" fmla="*/ 3513116 h 6857999"/>
              <a:gd name="connsiteX81" fmla="*/ 8355645 w 12191999"/>
              <a:gd name="connsiteY81" fmla="*/ 3968157 h 6857999"/>
              <a:gd name="connsiteX82" fmla="*/ 8645419 w 12191999"/>
              <a:gd name="connsiteY82" fmla="*/ 3968157 h 6857999"/>
              <a:gd name="connsiteX83" fmla="*/ 8237809 w 12191999"/>
              <a:gd name="connsiteY83" fmla="*/ 3429370 h 6857999"/>
              <a:gd name="connsiteX84" fmla="*/ 8645419 w 12191999"/>
              <a:gd name="connsiteY84" fmla="*/ 2889842 h 6857999"/>
              <a:gd name="connsiteX85" fmla="*/ 8355645 w 12191999"/>
              <a:gd name="connsiteY85" fmla="*/ 2889842 h 6857999"/>
              <a:gd name="connsiteX86" fmla="*/ 8001394 w 12191999"/>
              <a:gd name="connsiteY86" fmla="*/ 3344884 h 6857999"/>
              <a:gd name="connsiteX87" fmla="*/ 8001394 w 12191999"/>
              <a:gd name="connsiteY87" fmla="*/ 2889842 h 6857999"/>
              <a:gd name="connsiteX88" fmla="*/ 0 w 12191999"/>
              <a:gd name="connsiteY88" fmla="*/ 0 h 6857999"/>
              <a:gd name="connsiteX89" fmla="*/ 12191999 w 12191999"/>
              <a:gd name="connsiteY89" fmla="*/ 0 h 6857999"/>
              <a:gd name="connsiteX90" fmla="*/ 12191999 w 12191999"/>
              <a:gd name="connsiteY90" fmla="*/ 6857999 h 6857999"/>
              <a:gd name="connsiteX91" fmla="*/ 0 w 12191999"/>
              <a:gd name="connsiteY91"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9" h="6857999">
                <a:moveTo>
                  <a:pt x="4964326" y="3115140"/>
                </a:moveTo>
                <a:lnTo>
                  <a:pt x="5103655" y="3528679"/>
                </a:lnTo>
                <a:lnTo>
                  <a:pt x="4829444" y="3528679"/>
                </a:lnTo>
                <a:close/>
                <a:moveTo>
                  <a:pt x="9196063" y="3115140"/>
                </a:moveTo>
                <a:lnTo>
                  <a:pt x="9335392" y="3528679"/>
                </a:lnTo>
                <a:lnTo>
                  <a:pt x="9061181" y="3528679"/>
                </a:lnTo>
                <a:close/>
                <a:moveTo>
                  <a:pt x="5595751" y="2890584"/>
                </a:moveTo>
                <a:lnTo>
                  <a:pt x="5595751" y="3968157"/>
                </a:lnTo>
                <a:lnTo>
                  <a:pt x="5845505" y="3968157"/>
                </a:lnTo>
                <a:lnTo>
                  <a:pt x="5845505" y="3303382"/>
                </a:lnTo>
                <a:lnTo>
                  <a:pt x="6274608" y="3965934"/>
                </a:lnTo>
                <a:lnTo>
                  <a:pt x="6274608" y="3968157"/>
                </a:lnTo>
                <a:lnTo>
                  <a:pt x="6533255" y="3968157"/>
                </a:lnTo>
                <a:lnTo>
                  <a:pt x="6532514" y="3735449"/>
                </a:lnTo>
                <a:lnTo>
                  <a:pt x="6531032" y="2890584"/>
                </a:lnTo>
                <a:lnTo>
                  <a:pt x="6282760" y="2890584"/>
                </a:lnTo>
                <a:lnTo>
                  <a:pt x="6282760" y="3567958"/>
                </a:lnTo>
                <a:lnTo>
                  <a:pt x="5849952" y="2890584"/>
                </a:lnTo>
                <a:close/>
                <a:moveTo>
                  <a:pt x="4802022" y="2890584"/>
                </a:moveTo>
                <a:lnTo>
                  <a:pt x="4429245" y="3968157"/>
                </a:lnTo>
                <a:lnTo>
                  <a:pt x="4692339" y="3968157"/>
                </a:lnTo>
                <a:lnTo>
                  <a:pt x="4760520" y="3748048"/>
                </a:lnTo>
                <a:lnTo>
                  <a:pt x="5173319" y="3748048"/>
                </a:lnTo>
                <a:lnTo>
                  <a:pt x="5243725" y="3968157"/>
                </a:lnTo>
                <a:lnTo>
                  <a:pt x="5503113" y="3968157"/>
                </a:lnTo>
                <a:lnTo>
                  <a:pt x="5119218" y="2890584"/>
                </a:lnTo>
                <a:close/>
                <a:moveTo>
                  <a:pt x="2791392" y="2890584"/>
                </a:moveTo>
                <a:cubicBezTo>
                  <a:pt x="2583140" y="2890584"/>
                  <a:pt x="2457151" y="3012125"/>
                  <a:pt x="2457151" y="3218154"/>
                </a:cubicBezTo>
                <a:cubicBezTo>
                  <a:pt x="2457151" y="3424184"/>
                  <a:pt x="2603150" y="3532385"/>
                  <a:pt x="2791392" y="3532385"/>
                </a:cubicBezTo>
                <a:lnTo>
                  <a:pt x="3046334" y="3532385"/>
                </a:lnTo>
                <a:cubicBezTo>
                  <a:pt x="3110810" y="3532385"/>
                  <a:pt x="3143419" y="3581298"/>
                  <a:pt x="3143419" y="3632434"/>
                </a:cubicBezTo>
                <a:cubicBezTo>
                  <a:pt x="3143419" y="3685053"/>
                  <a:pt x="3110810" y="3732484"/>
                  <a:pt x="3046334" y="3732484"/>
                </a:cubicBezTo>
                <a:lnTo>
                  <a:pt x="2500136" y="3732484"/>
                </a:lnTo>
                <a:lnTo>
                  <a:pt x="2500136" y="3968157"/>
                </a:lnTo>
                <a:lnTo>
                  <a:pt x="3036699" y="3968157"/>
                </a:lnTo>
                <a:cubicBezTo>
                  <a:pt x="3249398" y="3968157"/>
                  <a:pt x="3375386" y="3851062"/>
                  <a:pt x="3375386" y="3632434"/>
                </a:cubicBezTo>
                <a:cubicBezTo>
                  <a:pt x="3375386" y="3435299"/>
                  <a:pt x="3249398" y="3318204"/>
                  <a:pt x="3084871" y="3318204"/>
                </a:cubicBezTo>
                <a:lnTo>
                  <a:pt x="2791392" y="3318204"/>
                </a:lnTo>
                <a:cubicBezTo>
                  <a:pt x="2722468" y="3318204"/>
                  <a:pt x="2689860" y="3270773"/>
                  <a:pt x="2689860" y="3218154"/>
                </a:cubicBezTo>
                <a:cubicBezTo>
                  <a:pt x="2689860" y="3165536"/>
                  <a:pt x="2722468" y="3118105"/>
                  <a:pt x="2791392" y="3118105"/>
                </a:cubicBezTo>
                <a:lnTo>
                  <a:pt x="3300534" y="3118105"/>
                </a:lnTo>
                <a:lnTo>
                  <a:pt x="3300534" y="2890584"/>
                </a:lnTo>
                <a:close/>
                <a:moveTo>
                  <a:pt x="9033760" y="2890583"/>
                </a:moveTo>
                <a:lnTo>
                  <a:pt x="8661723" y="3968157"/>
                </a:lnTo>
                <a:lnTo>
                  <a:pt x="8924817" y="3968157"/>
                </a:lnTo>
                <a:lnTo>
                  <a:pt x="8992999" y="3748048"/>
                </a:lnTo>
                <a:lnTo>
                  <a:pt x="9405797" y="3748048"/>
                </a:lnTo>
                <a:lnTo>
                  <a:pt x="9476203" y="3968157"/>
                </a:lnTo>
                <a:lnTo>
                  <a:pt x="9734850" y="3968157"/>
                </a:lnTo>
                <a:lnTo>
                  <a:pt x="9350955" y="2890583"/>
                </a:lnTo>
                <a:close/>
                <a:moveTo>
                  <a:pt x="7018682" y="2890583"/>
                </a:moveTo>
                <a:cubicBezTo>
                  <a:pt x="6811171" y="2890583"/>
                  <a:pt x="6684441" y="3012125"/>
                  <a:pt x="6684441" y="3218154"/>
                </a:cubicBezTo>
                <a:cubicBezTo>
                  <a:pt x="6684441" y="3424183"/>
                  <a:pt x="6830440" y="3532385"/>
                  <a:pt x="7018682" y="3532385"/>
                </a:cubicBezTo>
                <a:lnTo>
                  <a:pt x="7273623" y="3532385"/>
                </a:lnTo>
                <a:cubicBezTo>
                  <a:pt x="7338100" y="3532385"/>
                  <a:pt x="7370709" y="3581298"/>
                  <a:pt x="7370709" y="3632434"/>
                </a:cubicBezTo>
                <a:cubicBezTo>
                  <a:pt x="7370709" y="3685053"/>
                  <a:pt x="7338100" y="3732484"/>
                  <a:pt x="7273623" y="3732484"/>
                </a:cubicBezTo>
                <a:lnTo>
                  <a:pt x="6728167" y="3732484"/>
                </a:lnTo>
                <a:lnTo>
                  <a:pt x="6728167" y="3968157"/>
                </a:lnTo>
                <a:lnTo>
                  <a:pt x="7264730" y="3968157"/>
                </a:lnTo>
                <a:cubicBezTo>
                  <a:pt x="7477429" y="3968157"/>
                  <a:pt x="7603417" y="3851062"/>
                  <a:pt x="7603417" y="3632434"/>
                </a:cubicBezTo>
                <a:cubicBezTo>
                  <a:pt x="7603417" y="3435299"/>
                  <a:pt x="7476687" y="3318204"/>
                  <a:pt x="7312161" y="3318204"/>
                </a:cubicBezTo>
                <a:lnTo>
                  <a:pt x="7018682" y="3318204"/>
                </a:lnTo>
                <a:cubicBezTo>
                  <a:pt x="6949758" y="3318204"/>
                  <a:pt x="6917150" y="3270773"/>
                  <a:pt x="6917150" y="3218154"/>
                </a:cubicBezTo>
                <a:cubicBezTo>
                  <a:pt x="6917150" y="3165535"/>
                  <a:pt x="6949758" y="3118104"/>
                  <a:pt x="7018682" y="3118104"/>
                </a:cubicBezTo>
                <a:lnTo>
                  <a:pt x="7527824" y="3118104"/>
                </a:lnTo>
                <a:lnTo>
                  <a:pt x="7527824" y="2890583"/>
                </a:lnTo>
                <a:close/>
                <a:moveTo>
                  <a:pt x="3520644" y="2889843"/>
                </a:moveTo>
                <a:lnTo>
                  <a:pt x="3520644" y="3968157"/>
                </a:lnTo>
                <a:lnTo>
                  <a:pt x="3768916" y="3968157"/>
                </a:lnTo>
                <a:lnTo>
                  <a:pt x="3768916" y="3513116"/>
                </a:lnTo>
                <a:lnTo>
                  <a:pt x="4123167" y="3968157"/>
                </a:lnTo>
                <a:lnTo>
                  <a:pt x="4413681" y="3968157"/>
                </a:lnTo>
                <a:lnTo>
                  <a:pt x="4005330" y="3429370"/>
                </a:lnTo>
                <a:lnTo>
                  <a:pt x="4413681" y="2889843"/>
                </a:lnTo>
                <a:lnTo>
                  <a:pt x="4123167" y="2889843"/>
                </a:lnTo>
                <a:lnTo>
                  <a:pt x="3768916" y="3344884"/>
                </a:lnTo>
                <a:lnTo>
                  <a:pt x="3768916" y="2889843"/>
                </a:lnTo>
                <a:close/>
                <a:moveTo>
                  <a:pt x="7752381" y="2889842"/>
                </a:moveTo>
                <a:lnTo>
                  <a:pt x="7752381" y="3968157"/>
                </a:lnTo>
                <a:lnTo>
                  <a:pt x="8001394" y="3968157"/>
                </a:lnTo>
                <a:lnTo>
                  <a:pt x="8001394" y="3513116"/>
                </a:lnTo>
                <a:lnTo>
                  <a:pt x="8355645" y="3968157"/>
                </a:lnTo>
                <a:lnTo>
                  <a:pt x="8645419" y="3968157"/>
                </a:lnTo>
                <a:lnTo>
                  <a:pt x="8237809" y="3429370"/>
                </a:lnTo>
                <a:lnTo>
                  <a:pt x="8645419" y="2889842"/>
                </a:lnTo>
                <a:lnTo>
                  <a:pt x="8355645" y="2889842"/>
                </a:lnTo>
                <a:lnTo>
                  <a:pt x="8001394" y="3344884"/>
                </a:lnTo>
                <a:lnTo>
                  <a:pt x="8001394" y="2889842"/>
                </a:lnTo>
                <a:close/>
                <a:moveTo>
                  <a:pt x="0" y="0"/>
                </a:moveTo>
                <a:lnTo>
                  <a:pt x="12191999" y="0"/>
                </a:lnTo>
                <a:lnTo>
                  <a:pt x="12191999" y="6857999"/>
                </a:lnTo>
                <a:lnTo>
                  <a:pt x="0" y="6857999"/>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nb-NO" noProof="0" dirty="0"/>
              <a:t>Klikk på ikonet for å legge til et bilde</a:t>
            </a:r>
            <a:endParaRPr lang="en-US" noProof="0" dirty="0"/>
          </a:p>
        </p:txBody>
      </p:sp>
      <p:sp>
        <p:nvSpPr>
          <p:cNvPr id="5" name="Project Text Placeholder 5">
            <a:extLst>
              <a:ext uri="{FF2B5EF4-FFF2-40B4-BE49-F238E27FC236}">
                <a16:creationId xmlns:a16="http://schemas.microsoft.com/office/drawing/2014/main" id="{802D05FC-CE7D-3C4B-99E7-04400D2B953E}"/>
              </a:ext>
            </a:extLst>
          </p:cNvPr>
          <p:cNvSpPr>
            <a:spLocks noGrp="1"/>
          </p:cNvSpPr>
          <p:nvPr>
            <p:ph type="body" sz="quarter" idx="14" hasCustomPrompt="1"/>
          </p:nvPr>
        </p:nvSpPr>
        <p:spPr>
          <a:xfrm rot="5400000">
            <a:off x="9797999" y="1916687"/>
            <a:ext cx="4320000"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grpSp>
        <p:nvGrpSpPr>
          <p:cNvPr id="2" name="Instructions">
            <a:extLst>
              <a:ext uri="{FF2B5EF4-FFF2-40B4-BE49-F238E27FC236}">
                <a16:creationId xmlns:a16="http://schemas.microsoft.com/office/drawing/2014/main" id="{7F661B0E-4D76-4208-59B9-A6EE3A129801}"/>
              </a:ext>
            </a:extLst>
          </p:cNvPr>
          <p:cNvGrpSpPr/>
          <p:nvPr userDrawn="1"/>
        </p:nvGrpSpPr>
        <p:grpSpPr>
          <a:xfrm>
            <a:off x="12395260" y="-12189"/>
            <a:ext cx="1681523" cy="2112003"/>
            <a:chOff x="12395260" y="-12189"/>
            <a:chExt cx="1681523" cy="2112003"/>
          </a:xfrm>
        </p:grpSpPr>
        <p:sp>
          <p:nvSpPr>
            <p:cNvPr id="7" name="textruta 5">
              <a:extLst>
                <a:ext uri="{FF2B5EF4-FFF2-40B4-BE49-F238E27FC236}">
                  <a16:creationId xmlns:a16="http://schemas.microsoft.com/office/drawing/2014/main" id="{DD15DF14-DC97-0441-A680-C2968AEFA306}"/>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endParaRPr lang="en-US" sz="900" b="1" baseline="0" noProof="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8" name="textruta 7">
              <a:extLst>
                <a:ext uri="{FF2B5EF4-FFF2-40B4-BE49-F238E27FC236}">
                  <a16:creationId xmlns:a16="http://schemas.microsoft.com/office/drawing/2014/main" id="{E0537F98-ABDA-2B41-84CF-74F9E5F3D4D6}"/>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9" name="Rektangel 8">
              <a:extLst>
                <a:ext uri="{FF2B5EF4-FFF2-40B4-BE49-F238E27FC236}">
                  <a16:creationId xmlns:a16="http://schemas.microsoft.com/office/drawing/2014/main" id="{2969CE8A-3B45-0F4A-88EC-7412D4614DB6}"/>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Rektangel 9">
              <a:extLst>
                <a:ext uri="{FF2B5EF4-FFF2-40B4-BE49-F238E27FC236}">
                  <a16:creationId xmlns:a16="http://schemas.microsoft.com/office/drawing/2014/main" id="{12D09706-7225-E047-9047-32D75A378EAF}"/>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Tree>
    <p:extLst>
      <p:ext uri="{BB962C8B-B14F-4D97-AF65-F5344CB8AC3E}">
        <p14:creationId xmlns:p14="http://schemas.microsoft.com/office/powerpoint/2010/main" val="17514355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Kapittelslide grå - med bilde ">
    <p:bg>
      <p:bgRef idx="1001">
        <a:schemeClr val="bg2"/>
      </p:bgRef>
    </p:bg>
    <p:spTree>
      <p:nvGrpSpPr>
        <p:cNvPr id="1" name=""/>
        <p:cNvGrpSpPr/>
        <p:nvPr/>
      </p:nvGrpSpPr>
      <p:grpSpPr>
        <a:xfrm>
          <a:off x="0" y="0"/>
          <a:ext cx="0" cy="0"/>
          <a:chOff x="0" y="0"/>
          <a:chExt cx="0" cy="0"/>
        </a:xfrm>
      </p:grpSpPr>
      <p:sp>
        <p:nvSpPr>
          <p:cNvPr id="18" name="Picture Placeholder 1">
            <a:extLst>
              <a:ext uri="{FF2B5EF4-FFF2-40B4-BE49-F238E27FC236}">
                <a16:creationId xmlns:a16="http://schemas.microsoft.com/office/drawing/2014/main" id="{106399E1-1DE8-EE44-81BD-42302CB5679F}"/>
              </a:ext>
            </a:extLst>
          </p:cNvPr>
          <p:cNvSpPr>
            <a:spLocks noGrp="1"/>
          </p:cNvSpPr>
          <p:nvPr>
            <p:ph type="pic" sz="quarter" idx="17" hasCustomPrompt="1"/>
          </p:nvPr>
        </p:nvSpPr>
        <p:spPr>
          <a:xfrm>
            <a:off x="8140700" y="0"/>
            <a:ext cx="4051300" cy="6871252"/>
          </a:xfrm>
          <a:solidFill>
            <a:schemeClr val="bg1">
              <a:lumMod val="85000"/>
            </a:schemeClr>
          </a:solidFill>
        </p:spPr>
        <p:txBody>
          <a:bodyPr lIns="36000" tIns="36000"/>
          <a:lstStyle>
            <a:lvl1pPr marL="1270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300">
                <a:solidFill>
                  <a:schemeClr val="tx2"/>
                </a:solidFill>
              </a:defRPr>
            </a:lvl1pPr>
          </a:lstStyle>
          <a:p>
            <a:r>
              <a:rPr lang="nb-NO" noProof="0" dirty="0"/>
              <a:t>Klikk på ikonet for å legge til et bilde</a:t>
            </a:r>
            <a:endParaRPr lang="en-US" noProof="0" dirty="0"/>
          </a:p>
        </p:txBody>
      </p:sp>
      <p:sp>
        <p:nvSpPr>
          <p:cNvPr id="3" name="Title 2">
            <a:extLst>
              <a:ext uri="{FF2B5EF4-FFF2-40B4-BE49-F238E27FC236}">
                <a16:creationId xmlns:a16="http://schemas.microsoft.com/office/drawing/2014/main" id="{AEE1A60C-DD08-E675-150E-BD70E94F9DD5}"/>
              </a:ext>
            </a:extLst>
          </p:cNvPr>
          <p:cNvSpPr>
            <a:spLocks noGrp="1"/>
          </p:cNvSpPr>
          <p:nvPr>
            <p:ph type="title" hasCustomPrompt="1"/>
          </p:nvPr>
        </p:nvSpPr>
        <p:spPr>
          <a:xfrm>
            <a:off x="576000" y="2635861"/>
            <a:ext cx="5520000" cy="1008135"/>
          </a:xfrm>
        </p:spPr>
        <p:txBody>
          <a:bodyPr anchor="b"/>
          <a:lstStyle>
            <a:lvl1pPr>
              <a:lnSpc>
                <a:spcPct val="85000"/>
              </a:lnSpc>
              <a:defRPr sz="3200" spc="40" baseline="0">
                <a:solidFill>
                  <a:schemeClr val="tx2"/>
                </a:solidFill>
              </a:defRPr>
            </a:lvl1pPr>
          </a:lstStyle>
          <a:p>
            <a:r>
              <a:rPr lang="nb-NO" dirty="0"/>
              <a:t>Klikk for å legge til en overskrift på maksimalt to linjer</a:t>
            </a:r>
            <a:endParaRPr lang="en-US" dirty="0"/>
          </a:p>
        </p:txBody>
      </p:sp>
      <p:sp>
        <p:nvSpPr>
          <p:cNvPr id="8" name="Text Placeholder 3">
            <a:extLst>
              <a:ext uri="{FF2B5EF4-FFF2-40B4-BE49-F238E27FC236}">
                <a16:creationId xmlns:a16="http://schemas.microsoft.com/office/drawing/2014/main" id="{41FD098F-B094-6B07-1FB1-96654A536ACA}"/>
              </a:ext>
            </a:extLst>
          </p:cNvPr>
          <p:cNvSpPr>
            <a:spLocks noGrp="1"/>
          </p:cNvSpPr>
          <p:nvPr>
            <p:ph type="body" sz="quarter" idx="15" hasCustomPrompt="1"/>
          </p:nvPr>
        </p:nvSpPr>
        <p:spPr>
          <a:xfrm>
            <a:off x="576000" y="3801285"/>
            <a:ext cx="3776400" cy="646331"/>
          </a:xfrm>
          <a:prstGeom prst="rect">
            <a:avLst/>
          </a:prstGeom>
        </p:spPr>
        <p:txBody>
          <a:bodyPr anchor="t">
            <a:noAutofit/>
          </a:bodyPr>
          <a:lstStyle>
            <a:lvl1pPr marL="0" indent="0">
              <a:lnSpc>
                <a:spcPct val="100000"/>
              </a:lnSpc>
              <a:spcBef>
                <a:spcPts val="0"/>
              </a:spcBef>
              <a:buNone/>
              <a:defRPr sz="1400" spc="70" baseline="0">
                <a:solidFill>
                  <a:schemeClr val="tx2"/>
                </a:solidFill>
              </a:defRPr>
            </a:lvl1pPr>
          </a:lstStyle>
          <a:p>
            <a:pPr lvl="0"/>
            <a:r>
              <a:rPr lang="nb-NO" noProof="0" dirty="0"/>
              <a:t>Klikk for å legge til navn eller kort informasjon</a:t>
            </a:r>
            <a:endParaRPr lang="en-US" noProof="0" dirty="0"/>
          </a:p>
        </p:txBody>
      </p:sp>
      <p:sp>
        <p:nvSpPr>
          <p:cNvPr id="30" name="Project Text Placeholder 3">
            <a:extLst>
              <a:ext uri="{FF2B5EF4-FFF2-40B4-BE49-F238E27FC236}">
                <a16:creationId xmlns:a16="http://schemas.microsoft.com/office/drawing/2014/main" id="{378DBF66-B159-FE4E-AD15-AFE89C32D5EE}"/>
              </a:ext>
            </a:extLst>
          </p:cNvPr>
          <p:cNvSpPr>
            <a:spLocks noGrp="1"/>
          </p:cNvSpPr>
          <p:nvPr>
            <p:ph type="body" sz="quarter" idx="18" hasCustomPrompt="1"/>
          </p:nvPr>
        </p:nvSpPr>
        <p:spPr>
          <a:xfrm rot="5400000">
            <a:off x="9788686" y="1916687"/>
            <a:ext cx="4320000"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grpSp>
        <p:nvGrpSpPr>
          <p:cNvPr id="4" name="Instructions">
            <a:extLst>
              <a:ext uri="{FF2B5EF4-FFF2-40B4-BE49-F238E27FC236}">
                <a16:creationId xmlns:a16="http://schemas.microsoft.com/office/drawing/2014/main" id="{A97A4207-52A9-EB19-81A7-3A26DC39F772}"/>
              </a:ext>
            </a:extLst>
          </p:cNvPr>
          <p:cNvGrpSpPr/>
          <p:nvPr userDrawn="1"/>
        </p:nvGrpSpPr>
        <p:grpSpPr>
          <a:xfrm>
            <a:off x="12395260" y="-12189"/>
            <a:ext cx="1681523" cy="2112003"/>
            <a:chOff x="12395260" y="-12189"/>
            <a:chExt cx="1681523" cy="2112003"/>
          </a:xfrm>
        </p:grpSpPr>
        <p:sp>
          <p:nvSpPr>
            <p:cNvPr id="15" name="textruta 5">
              <a:extLst>
                <a:ext uri="{FF2B5EF4-FFF2-40B4-BE49-F238E27FC236}">
                  <a16:creationId xmlns:a16="http://schemas.microsoft.com/office/drawing/2014/main" id="{5BB9A0DA-E9F3-704C-BDCF-FC259DAC129A}"/>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6" name="textruta 15">
              <a:extLst>
                <a:ext uri="{FF2B5EF4-FFF2-40B4-BE49-F238E27FC236}">
                  <a16:creationId xmlns:a16="http://schemas.microsoft.com/office/drawing/2014/main" id="{DE5DD293-B27B-7A43-85D7-BD43BA586097}"/>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7" name="Rektangel 16">
              <a:extLst>
                <a:ext uri="{FF2B5EF4-FFF2-40B4-BE49-F238E27FC236}">
                  <a16:creationId xmlns:a16="http://schemas.microsoft.com/office/drawing/2014/main" id="{A750B50A-9D17-1447-8213-B2935EA38090}"/>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ktangel 18">
              <a:extLst>
                <a:ext uri="{FF2B5EF4-FFF2-40B4-BE49-F238E27FC236}">
                  <a16:creationId xmlns:a16="http://schemas.microsoft.com/office/drawing/2014/main" id="{805FC0CB-297F-3541-A68A-BD42D3187508}"/>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2" name="Logotype">
            <a:extLst>
              <a:ext uri="{FF2B5EF4-FFF2-40B4-BE49-F238E27FC236}">
                <a16:creationId xmlns:a16="http://schemas.microsoft.com/office/drawing/2014/main" id="{83BF4980-ADD5-DAD0-745A-E6C159DFA200}"/>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Tree>
    <p:extLst>
      <p:ext uri="{BB962C8B-B14F-4D97-AF65-F5344CB8AC3E}">
        <p14:creationId xmlns:p14="http://schemas.microsoft.com/office/powerpoint/2010/main" val="2860177100"/>
      </p:ext>
    </p:extLst>
  </p:cSld>
  <p:clrMapOvr>
    <a:overrideClrMapping bg1="lt1" tx1="dk1" bg2="lt2" tx2="dk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6 Text Half Imag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83718FC5-379A-3343-904E-06A5A117D84C}"/>
              </a:ext>
            </a:extLst>
          </p:cNvPr>
          <p:cNvSpPr>
            <a:spLocks noGrp="1"/>
          </p:cNvSpPr>
          <p:nvPr>
            <p:ph type="pic" sz="quarter" idx="18" hasCustomPrompt="1"/>
          </p:nvPr>
        </p:nvSpPr>
        <p:spPr>
          <a:xfrm>
            <a:off x="6094413" y="0"/>
            <a:ext cx="6095997" cy="6857997"/>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tx2"/>
                </a:solidFill>
              </a:defRPr>
            </a:lvl1pPr>
          </a:lstStyle>
          <a:p>
            <a:r>
              <a:rPr lang="en-US" noProof="0"/>
              <a:t>Click on the icon to add an image</a:t>
            </a: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31027"/>
            <a:ext cx="5367178" cy="1365942"/>
          </a:xfrm>
          <a:prstGeom prst="rect">
            <a:avLst/>
          </a:prstGeom>
        </p:spPr>
        <p:txBody>
          <a:bodyPr anchor="t">
            <a:noAutofit/>
          </a:bodyPr>
          <a:lstStyle>
            <a:lvl1pPr marL="0" indent="0">
              <a:lnSpc>
                <a:spcPct val="85000"/>
              </a:lnSpc>
              <a:spcBef>
                <a:spcPts val="0"/>
              </a:spcBef>
              <a:buNone/>
              <a:defRPr sz="3600" spc="40" baseline="0">
                <a:solidFill>
                  <a:schemeClr val="tx2"/>
                </a:solidFill>
              </a:defRPr>
            </a:lvl1pPr>
          </a:lstStyle>
          <a:p>
            <a:pPr lvl="0"/>
            <a:r>
              <a:rPr lang="en-US" noProof="0"/>
              <a:t>Click to add a headline </a:t>
            </a:r>
            <a:br>
              <a:rPr lang="en-US" noProof="0"/>
            </a:br>
            <a:r>
              <a:rPr lang="en-US" noProof="0"/>
              <a:t>of maximum three lines</a:t>
            </a:r>
          </a:p>
        </p:txBody>
      </p:sp>
      <p:grpSp>
        <p:nvGrpSpPr>
          <p:cNvPr id="21" name="Grupp 32">
            <a:extLst>
              <a:ext uri="{FF2B5EF4-FFF2-40B4-BE49-F238E27FC236}">
                <a16:creationId xmlns:a16="http://schemas.microsoft.com/office/drawing/2014/main" id="{CF6F4381-F814-DC49-BAE8-DA80AFFD9E68}"/>
              </a:ext>
            </a:extLst>
          </p:cNvPr>
          <p:cNvGrpSpPr/>
          <p:nvPr userDrawn="1"/>
        </p:nvGrpSpPr>
        <p:grpSpPr>
          <a:xfrm>
            <a:off x="576140" y="6451484"/>
            <a:ext cx="615478" cy="91194"/>
            <a:chOff x="576140" y="6451484"/>
            <a:chExt cx="615478" cy="91194"/>
          </a:xfrm>
          <a:solidFill>
            <a:schemeClr val="tx2"/>
          </a:solidFill>
        </p:grpSpPr>
        <p:sp>
          <p:nvSpPr>
            <p:cNvPr id="22" name="Bild 2">
              <a:extLst>
                <a:ext uri="{FF2B5EF4-FFF2-40B4-BE49-F238E27FC236}">
                  <a16:creationId xmlns:a16="http://schemas.microsoft.com/office/drawing/2014/main" id="{62E9B87D-A5ED-B24D-896A-D5B9B26AB281}"/>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A0B698E7-BE43-3549-8D56-915B3552259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AE8F0FFE-43AD-8B46-AD52-5AAAB3A7E141}"/>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3" name="Bild 2">
              <a:extLst>
                <a:ext uri="{FF2B5EF4-FFF2-40B4-BE49-F238E27FC236}">
                  <a16:creationId xmlns:a16="http://schemas.microsoft.com/office/drawing/2014/main" id="{F449D80C-39D5-B049-8099-1AB0DFB21C56}"/>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4" name="Bild 2">
              <a:extLst>
                <a:ext uri="{FF2B5EF4-FFF2-40B4-BE49-F238E27FC236}">
                  <a16:creationId xmlns:a16="http://schemas.microsoft.com/office/drawing/2014/main" id="{20D2215C-82C7-5E49-AD19-A866B46120D1}"/>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5" name="Bild 2">
              <a:extLst>
                <a:ext uri="{FF2B5EF4-FFF2-40B4-BE49-F238E27FC236}">
                  <a16:creationId xmlns:a16="http://schemas.microsoft.com/office/drawing/2014/main" id="{70CBD1E9-7FEE-9349-9D43-444D469EBEE7}"/>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6" name="Bild 2">
              <a:extLst>
                <a:ext uri="{FF2B5EF4-FFF2-40B4-BE49-F238E27FC236}">
                  <a16:creationId xmlns:a16="http://schemas.microsoft.com/office/drawing/2014/main" id="{2BE0EC2B-5FD2-9449-827A-76C703008BD0}"/>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2" name="Platshållare för text 11">
            <a:extLst>
              <a:ext uri="{FF2B5EF4-FFF2-40B4-BE49-F238E27FC236}">
                <a16:creationId xmlns:a16="http://schemas.microsoft.com/office/drawing/2014/main" id="{2A42B50C-7FD1-C146-8ECB-95091B05A65D}"/>
              </a:ext>
            </a:extLst>
          </p:cNvPr>
          <p:cNvSpPr>
            <a:spLocks noGrp="1"/>
          </p:cNvSpPr>
          <p:nvPr>
            <p:ph type="body" sz="quarter" idx="20" hasCustomPrompt="1"/>
          </p:nvPr>
        </p:nvSpPr>
        <p:spPr>
          <a:xfrm>
            <a:off x="576000" y="2527200"/>
            <a:ext cx="5377125" cy="3600450"/>
          </a:xfrm>
        </p:spPr>
        <p:txBody>
          <a:body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16" name="Platshållare för datum 3">
            <a:extLst>
              <a:ext uri="{FF2B5EF4-FFF2-40B4-BE49-F238E27FC236}">
                <a16:creationId xmlns:a16="http://schemas.microsoft.com/office/drawing/2014/main" id="{E89DEF0D-E0BF-5D4C-9494-8D5AE0D65D02}"/>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D8658C7A-A194-48CC-9005-74303F15A4BD}" type="datetime1">
              <a:rPr lang="en-US" noProof="0" smtClean="0"/>
              <a:t>11/7/2025</a:t>
            </a:fld>
            <a:endParaRPr lang="en-US" noProof="0"/>
          </a:p>
        </p:txBody>
      </p:sp>
      <p:sp>
        <p:nvSpPr>
          <p:cNvPr id="17" name="Platshållare för sidfot 4">
            <a:extLst>
              <a:ext uri="{FF2B5EF4-FFF2-40B4-BE49-F238E27FC236}">
                <a16:creationId xmlns:a16="http://schemas.microsoft.com/office/drawing/2014/main" id="{59120A69-D01F-A748-9537-2B83B4D28ADB}"/>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nb-NO" noProof="0"/>
              <a:t>Skanska Norge Hovedpresentasjon - desember 2022</a:t>
            </a:r>
            <a:endParaRPr lang="en-US" noProof="0"/>
          </a:p>
        </p:txBody>
      </p:sp>
      <p:sp>
        <p:nvSpPr>
          <p:cNvPr id="18" name="Platshållare för bildnummer 5">
            <a:extLst>
              <a:ext uri="{FF2B5EF4-FFF2-40B4-BE49-F238E27FC236}">
                <a16:creationId xmlns:a16="http://schemas.microsoft.com/office/drawing/2014/main" id="{943BB26A-3612-3A42-8216-56A3B027D321}"/>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25" name="Text Placeholder 4">
            <a:extLst>
              <a:ext uri="{FF2B5EF4-FFF2-40B4-BE49-F238E27FC236}">
                <a16:creationId xmlns:a16="http://schemas.microsoft.com/office/drawing/2014/main" id="{ADFA69F0-4DC9-E843-AD83-A7CA3C778BDC}"/>
              </a:ext>
            </a:extLst>
          </p:cNvPr>
          <p:cNvSpPr>
            <a:spLocks noGrp="1"/>
          </p:cNvSpPr>
          <p:nvPr>
            <p:ph type="body" sz="quarter" idx="21"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76644586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6 Text Two Images">
    <p:spTree>
      <p:nvGrpSpPr>
        <p:cNvPr id="1" name=""/>
        <p:cNvGrpSpPr/>
        <p:nvPr/>
      </p:nvGrpSpPr>
      <p:grpSpPr>
        <a:xfrm>
          <a:off x="0" y="0"/>
          <a:ext cx="0" cy="0"/>
          <a:chOff x="0" y="0"/>
          <a:chExt cx="0" cy="0"/>
        </a:xfrm>
      </p:grpSpPr>
      <p:sp>
        <p:nvSpPr>
          <p:cNvPr id="17" name="Picture Placeholder 13">
            <a:extLst>
              <a:ext uri="{FF2B5EF4-FFF2-40B4-BE49-F238E27FC236}">
                <a16:creationId xmlns:a16="http://schemas.microsoft.com/office/drawing/2014/main" id="{9D64F04D-9016-D648-A564-243328D5CF42}"/>
              </a:ext>
            </a:extLst>
          </p:cNvPr>
          <p:cNvSpPr>
            <a:spLocks noGrp="1"/>
          </p:cNvSpPr>
          <p:nvPr>
            <p:ph type="pic" sz="quarter" idx="20" hasCustomPrompt="1"/>
          </p:nvPr>
        </p:nvSpPr>
        <p:spPr>
          <a:xfrm>
            <a:off x="6102124"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chemeClr val="accent6">
              <a:lumMod val="90000"/>
            </a:schemeClr>
          </a:solidFill>
        </p:spPr>
        <p:txBody>
          <a:bodyPr wrap="square" lIns="36000" tIns="36000" rIns="36000" bIns="36000" anchor="t">
            <a:noAutofit/>
          </a:bodyPr>
          <a:lstStyle>
            <a:lvl1pPr marL="0" indent="0" algn="ctr">
              <a:buNone/>
              <a:defRPr sz="1300">
                <a:solidFill>
                  <a:schemeClr val="tx2"/>
                </a:solidFill>
              </a:defRPr>
            </a:lvl1pPr>
          </a:lstStyle>
          <a:p>
            <a:r>
              <a:rPr lang="en-US" noProof="0"/>
              <a:t>Click on the icon to add an image</a:t>
            </a:r>
          </a:p>
        </p:txBody>
      </p:sp>
      <p:sp>
        <p:nvSpPr>
          <p:cNvPr id="18" name="Picture Placeholder 17">
            <a:extLst>
              <a:ext uri="{FF2B5EF4-FFF2-40B4-BE49-F238E27FC236}">
                <a16:creationId xmlns:a16="http://schemas.microsoft.com/office/drawing/2014/main" id="{F0C79A00-1FF1-DE4A-B834-AE197A728667}"/>
              </a:ext>
            </a:extLst>
          </p:cNvPr>
          <p:cNvSpPr>
            <a:spLocks noGrp="1"/>
          </p:cNvSpPr>
          <p:nvPr>
            <p:ph type="pic" sz="quarter" idx="21" hasCustomPrompt="1"/>
          </p:nvPr>
        </p:nvSpPr>
        <p:spPr>
          <a:xfrm>
            <a:off x="6102124" y="3429002"/>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chemeClr val="accent6">
              <a:lumMod val="90000"/>
            </a:schemeClr>
          </a:solidFill>
        </p:spPr>
        <p:txBody>
          <a:bodyPr wrap="square" lIns="36000" tIns="36000" rIns="36000" bIns="36000" anchor="t">
            <a:noAutofit/>
          </a:bodyPr>
          <a:lstStyle>
            <a:lvl1pPr marL="0" indent="0" algn="ctr">
              <a:buNone/>
              <a:defRPr sz="1300">
                <a:solidFill>
                  <a:schemeClr val="tx2"/>
                </a:solidFill>
              </a:defRPr>
            </a:lvl1pPr>
          </a:lstStyle>
          <a:p>
            <a:r>
              <a:rPr lang="en-US" noProof="0"/>
              <a:t>Click on the icon to add an image</a:t>
            </a:r>
          </a:p>
        </p:txBody>
      </p:sp>
      <p:grpSp>
        <p:nvGrpSpPr>
          <p:cNvPr id="21" name="Grupp 32">
            <a:extLst>
              <a:ext uri="{FF2B5EF4-FFF2-40B4-BE49-F238E27FC236}">
                <a16:creationId xmlns:a16="http://schemas.microsoft.com/office/drawing/2014/main" id="{CF6F4381-F814-DC49-BAE8-DA80AFFD9E68}"/>
              </a:ext>
            </a:extLst>
          </p:cNvPr>
          <p:cNvGrpSpPr/>
          <p:nvPr userDrawn="1"/>
        </p:nvGrpSpPr>
        <p:grpSpPr>
          <a:xfrm>
            <a:off x="576140" y="6451484"/>
            <a:ext cx="615478" cy="91194"/>
            <a:chOff x="576140" y="6451484"/>
            <a:chExt cx="615478" cy="91194"/>
          </a:xfrm>
          <a:solidFill>
            <a:schemeClr val="tx2"/>
          </a:solidFill>
        </p:grpSpPr>
        <p:sp>
          <p:nvSpPr>
            <p:cNvPr id="22" name="Bild 2">
              <a:extLst>
                <a:ext uri="{FF2B5EF4-FFF2-40B4-BE49-F238E27FC236}">
                  <a16:creationId xmlns:a16="http://schemas.microsoft.com/office/drawing/2014/main" id="{62E9B87D-A5ED-B24D-896A-D5B9B26AB281}"/>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A0B698E7-BE43-3549-8D56-915B3552259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AE8F0FFE-43AD-8B46-AD52-5AAAB3A7E141}"/>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3" name="Bild 2">
              <a:extLst>
                <a:ext uri="{FF2B5EF4-FFF2-40B4-BE49-F238E27FC236}">
                  <a16:creationId xmlns:a16="http://schemas.microsoft.com/office/drawing/2014/main" id="{F449D80C-39D5-B049-8099-1AB0DFB21C56}"/>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4" name="Bild 2">
              <a:extLst>
                <a:ext uri="{FF2B5EF4-FFF2-40B4-BE49-F238E27FC236}">
                  <a16:creationId xmlns:a16="http://schemas.microsoft.com/office/drawing/2014/main" id="{20D2215C-82C7-5E49-AD19-A866B46120D1}"/>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5" name="Bild 2">
              <a:extLst>
                <a:ext uri="{FF2B5EF4-FFF2-40B4-BE49-F238E27FC236}">
                  <a16:creationId xmlns:a16="http://schemas.microsoft.com/office/drawing/2014/main" id="{70CBD1E9-7FEE-9349-9D43-444D469EBEE7}"/>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6" name="Bild 2">
              <a:extLst>
                <a:ext uri="{FF2B5EF4-FFF2-40B4-BE49-F238E27FC236}">
                  <a16:creationId xmlns:a16="http://schemas.microsoft.com/office/drawing/2014/main" id="{2BE0EC2B-5FD2-9449-827A-76C703008BD0}"/>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26" name="Text Placeholder 18">
            <a:extLst>
              <a:ext uri="{FF2B5EF4-FFF2-40B4-BE49-F238E27FC236}">
                <a16:creationId xmlns:a16="http://schemas.microsoft.com/office/drawing/2014/main" id="{20467CA4-0B99-3D43-951D-AF48E93B71AF}"/>
              </a:ext>
            </a:extLst>
          </p:cNvPr>
          <p:cNvSpPr>
            <a:spLocks noGrp="1"/>
          </p:cNvSpPr>
          <p:nvPr>
            <p:ph type="body" sz="quarter" idx="14" hasCustomPrompt="1"/>
          </p:nvPr>
        </p:nvSpPr>
        <p:spPr>
          <a:xfrm>
            <a:off x="576000" y="731027"/>
            <a:ext cx="5367178" cy="1365942"/>
          </a:xfrm>
          <a:prstGeom prst="rect">
            <a:avLst/>
          </a:prstGeom>
        </p:spPr>
        <p:txBody>
          <a:bodyPr anchor="t">
            <a:noAutofit/>
          </a:bodyPr>
          <a:lstStyle>
            <a:lvl1pPr marL="0" indent="0">
              <a:lnSpc>
                <a:spcPct val="85000"/>
              </a:lnSpc>
              <a:spcBef>
                <a:spcPts val="0"/>
              </a:spcBef>
              <a:buNone/>
              <a:defRPr sz="3600" spc="40" baseline="0">
                <a:solidFill>
                  <a:schemeClr val="tx2"/>
                </a:solidFill>
              </a:defRPr>
            </a:lvl1pPr>
          </a:lstStyle>
          <a:p>
            <a:pPr lvl="0"/>
            <a:r>
              <a:rPr lang="en-US" noProof="0"/>
              <a:t>Click to add a headline </a:t>
            </a:r>
            <a:br>
              <a:rPr lang="en-US" noProof="0"/>
            </a:br>
            <a:r>
              <a:rPr lang="en-US" noProof="0"/>
              <a:t>of maximum three lines</a:t>
            </a:r>
          </a:p>
        </p:txBody>
      </p:sp>
      <p:sp>
        <p:nvSpPr>
          <p:cNvPr id="28" name="Platshållare för text 11">
            <a:extLst>
              <a:ext uri="{FF2B5EF4-FFF2-40B4-BE49-F238E27FC236}">
                <a16:creationId xmlns:a16="http://schemas.microsoft.com/office/drawing/2014/main" id="{6EA4EC91-4073-7042-8C47-9A5C07E48A82}"/>
              </a:ext>
            </a:extLst>
          </p:cNvPr>
          <p:cNvSpPr>
            <a:spLocks noGrp="1"/>
          </p:cNvSpPr>
          <p:nvPr>
            <p:ph type="body" sz="quarter" idx="22" hasCustomPrompt="1"/>
          </p:nvPr>
        </p:nvSpPr>
        <p:spPr>
          <a:xfrm>
            <a:off x="576000" y="2527200"/>
            <a:ext cx="5377125" cy="3600450"/>
          </a:xfrm>
        </p:spPr>
        <p:txBody>
          <a:body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19" name="Platshållare för datum 3">
            <a:extLst>
              <a:ext uri="{FF2B5EF4-FFF2-40B4-BE49-F238E27FC236}">
                <a16:creationId xmlns:a16="http://schemas.microsoft.com/office/drawing/2014/main" id="{45B54E49-CA70-F24E-94C1-2A908903A1EB}"/>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69338056-6C3F-4197-87C7-4A9B4C3535C5}" type="datetime1">
              <a:rPr lang="en-US" noProof="0" smtClean="0"/>
              <a:t>11/7/2025</a:t>
            </a:fld>
            <a:endParaRPr lang="en-US" noProof="0"/>
          </a:p>
        </p:txBody>
      </p:sp>
      <p:sp>
        <p:nvSpPr>
          <p:cNvPr id="20" name="Platshållare för sidfot 4">
            <a:extLst>
              <a:ext uri="{FF2B5EF4-FFF2-40B4-BE49-F238E27FC236}">
                <a16:creationId xmlns:a16="http://schemas.microsoft.com/office/drawing/2014/main" id="{81CF31E5-3CFA-0741-9FA7-E68B33FF1823}"/>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nb-NO" noProof="0"/>
              <a:t>Skanska Norge Hovedpresentasjon - desember 2022</a:t>
            </a:r>
            <a:endParaRPr lang="en-US" noProof="0"/>
          </a:p>
        </p:txBody>
      </p:sp>
      <p:sp>
        <p:nvSpPr>
          <p:cNvPr id="25" name="Platshållare för bildnummer 5">
            <a:extLst>
              <a:ext uri="{FF2B5EF4-FFF2-40B4-BE49-F238E27FC236}">
                <a16:creationId xmlns:a16="http://schemas.microsoft.com/office/drawing/2014/main" id="{E01C1CB6-4DB0-AD41-90AA-E2810CAF6C39}"/>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27" name="Text Placeholder 4">
            <a:extLst>
              <a:ext uri="{FF2B5EF4-FFF2-40B4-BE49-F238E27FC236}">
                <a16:creationId xmlns:a16="http://schemas.microsoft.com/office/drawing/2014/main" id="{72EE66E8-7924-5B47-AFDD-577EDE917188}"/>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9" name="Text Placeholder 4">
            <a:extLst>
              <a:ext uri="{FF2B5EF4-FFF2-40B4-BE49-F238E27FC236}">
                <a16:creationId xmlns:a16="http://schemas.microsoft.com/office/drawing/2014/main" id="{F0ECC550-5076-C14C-9AC3-F7D9B43AE5CC}"/>
              </a:ext>
            </a:extLst>
          </p:cNvPr>
          <p:cNvSpPr>
            <a:spLocks noGrp="1"/>
          </p:cNvSpPr>
          <p:nvPr>
            <p:ph type="body" sz="quarter" idx="23" hasCustomPrompt="1"/>
          </p:nvPr>
        </p:nvSpPr>
        <p:spPr>
          <a:xfrm rot="5400000">
            <a:off x="10901730" y="4232646"/>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84192874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6 Text Third Imag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83718FC5-379A-3343-904E-06A5A117D84C}"/>
              </a:ext>
            </a:extLst>
          </p:cNvPr>
          <p:cNvSpPr>
            <a:spLocks noGrp="1"/>
          </p:cNvSpPr>
          <p:nvPr>
            <p:ph type="pic" sz="quarter" idx="18" hasCustomPrompt="1"/>
          </p:nvPr>
        </p:nvSpPr>
        <p:spPr>
          <a:xfrm>
            <a:off x="8128000" y="0"/>
            <a:ext cx="4062410" cy="6857997"/>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tx2"/>
                </a:solidFill>
              </a:defRPr>
            </a:lvl1pPr>
          </a:lstStyle>
          <a:p>
            <a:r>
              <a:rPr lang="en-US" noProof="0"/>
              <a:t>Click on the icon to add an image</a:t>
            </a: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30801"/>
            <a:ext cx="7258375" cy="860256"/>
          </a:xfrm>
          <a:prstGeom prst="rect">
            <a:avLst/>
          </a:prstGeom>
        </p:spPr>
        <p:txBody>
          <a:bodyPr anchor="t">
            <a:noAutofit/>
          </a:bodyPr>
          <a:lstStyle>
            <a:lvl1pPr marL="0" indent="0">
              <a:lnSpc>
                <a:spcPct val="85000"/>
              </a:lnSpc>
              <a:spcBef>
                <a:spcPts val="0"/>
              </a:spcBef>
              <a:buNone/>
              <a:defRPr sz="3600" spc="40" baseline="0">
                <a:solidFill>
                  <a:schemeClr val="tx2"/>
                </a:solidFill>
              </a:defRPr>
            </a:lvl1pPr>
          </a:lstStyle>
          <a:p>
            <a:pPr lvl="0"/>
            <a:r>
              <a:rPr lang="en-US" noProof="0"/>
              <a:t>Click to add a headline </a:t>
            </a:r>
            <a:br>
              <a:rPr lang="en-US" noProof="0"/>
            </a:br>
            <a:r>
              <a:rPr lang="en-US" noProof="0"/>
              <a:t>of maximum two lines</a:t>
            </a:r>
          </a:p>
        </p:txBody>
      </p:sp>
      <p:grpSp>
        <p:nvGrpSpPr>
          <p:cNvPr id="21" name="Grupp 32">
            <a:extLst>
              <a:ext uri="{FF2B5EF4-FFF2-40B4-BE49-F238E27FC236}">
                <a16:creationId xmlns:a16="http://schemas.microsoft.com/office/drawing/2014/main" id="{CF6F4381-F814-DC49-BAE8-DA80AFFD9E68}"/>
              </a:ext>
            </a:extLst>
          </p:cNvPr>
          <p:cNvGrpSpPr/>
          <p:nvPr userDrawn="1"/>
        </p:nvGrpSpPr>
        <p:grpSpPr>
          <a:xfrm>
            <a:off x="576140" y="6451484"/>
            <a:ext cx="615478" cy="91194"/>
            <a:chOff x="576140" y="6451484"/>
            <a:chExt cx="615478" cy="91194"/>
          </a:xfrm>
          <a:solidFill>
            <a:schemeClr val="tx2"/>
          </a:solidFill>
        </p:grpSpPr>
        <p:sp>
          <p:nvSpPr>
            <p:cNvPr id="22" name="Bild 2">
              <a:extLst>
                <a:ext uri="{FF2B5EF4-FFF2-40B4-BE49-F238E27FC236}">
                  <a16:creationId xmlns:a16="http://schemas.microsoft.com/office/drawing/2014/main" id="{62E9B87D-A5ED-B24D-896A-D5B9B26AB281}"/>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A0B698E7-BE43-3549-8D56-915B3552259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AE8F0FFE-43AD-8B46-AD52-5AAAB3A7E141}"/>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3" name="Bild 2">
              <a:extLst>
                <a:ext uri="{FF2B5EF4-FFF2-40B4-BE49-F238E27FC236}">
                  <a16:creationId xmlns:a16="http://schemas.microsoft.com/office/drawing/2014/main" id="{F449D80C-39D5-B049-8099-1AB0DFB21C56}"/>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4" name="Bild 2">
              <a:extLst>
                <a:ext uri="{FF2B5EF4-FFF2-40B4-BE49-F238E27FC236}">
                  <a16:creationId xmlns:a16="http://schemas.microsoft.com/office/drawing/2014/main" id="{20D2215C-82C7-5E49-AD19-A866B46120D1}"/>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5" name="Bild 2">
              <a:extLst>
                <a:ext uri="{FF2B5EF4-FFF2-40B4-BE49-F238E27FC236}">
                  <a16:creationId xmlns:a16="http://schemas.microsoft.com/office/drawing/2014/main" id="{70CBD1E9-7FEE-9349-9D43-444D469EBEE7}"/>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6" name="Bild 2">
              <a:extLst>
                <a:ext uri="{FF2B5EF4-FFF2-40B4-BE49-F238E27FC236}">
                  <a16:creationId xmlns:a16="http://schemas.microsoft.com/office/drawing/2014/main" id="{2BE0EC2B-5FD2-9449-827A-76C703008BD0}"/>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8" name="Text Placeholder 7">
            <a:extLst>
              <a:ext uri="{FF2B5EF4-FFF2-40B4-BE49-F238E27FC236}">
                <a16:creationId xmlns:a16="http://schemas.microsoft.com/office/drawing/2014/main" id="{2E443046-6083-654F-90A3-8BC37A592844}"/>
              </a:ext>
            </a:extLst>
          </p:cNvPr>
          <p:cNvSpPr>
            <a:spLocks noGrp="1"/>
          </p:cNvSpPr>
          <p:nvPr>
            <p:ph type="body" sz="quarter" idx="19" hasCustomPrompt="1"/>
          </p:nvPr>
        </p:nvSpPr>
        <p:spPr>
          <a:xfrm>
            <a:off x="576000" y="2527201"/>
            <a:ext cx="3481650" cy="353159"/>
          </a:xfrm>
        </p:spPr>
        <p:txBody>
          <a:bodyPr/>
          <a:lstStyle>
            <a:lvl1pPr marL="0" indent="0">
              <a:lnSpc>
                <a:spcPct val="100000"/>
              </a:lnSpc>
              <a:spcBef>
                <a:spcPts val="0"/>
              </a:spcBef>
              <a:spcAft>
                <a:spcPts val="2000"/>
              </a:spcAft>
              <a:buNone/>
              <a:defRPr sz="1800" b="1" spc="40" baseline="0"/>
            </a:lvl1pPr>
            <a:lvl2pPr marL="180000">
              <a:lnSpc>
                <a:spcPct val="100000"/>
              </a:lnSpc>
              <a:spcBef>
                <a:spcPts val="0"/>
              </a:spcBef>
              <a:spcAft>
                <a:spcPts val="600"/>
              </a:spcAft>
              <a:defRPr sz="1800" spc="40" baseline="0"/>
            </a:lvl2pPr>
            <a:lvl3pPr marL="404813" indent="-182563">
              <a:tabLst/>
              <a:defRPr sz="1400" spc="40" baseline="0"/>
            </a:lvl3pPr>
            <a:lvl4pPr marL="536575" indent="-131763">
              <a:tabLst/>
              <a:defRPr sz="1200" spc="40" baseline="0"/>
            </a:lvl4pPr>
            <a:lvl5pPr marL="627063" indent="-130175">
              <a:tabLst/>
              <a:defRPr sz="1100" spc="40" baseline="0"/>
            </a:lvl5pPr>
          </a:lstStyle>
          <a:p>
            <a:pPr lvl="0"/>
            <a:r>
              <a:rPr lang="en-US" noProof="0"/>
              <a:t>Click to add a short headline</a:t>
            </a:r>
          </a:p>
        </p:txBody>
      </p:sp>
      <p:sp>
        <p:nvSpPr>
          <p:cNvPr id="16" name="Text Placeholder 7">
            <a:extLst>
              <a:ext uri="{FF2B5EF4-FFF2-40B4-BE49-F238E27FC236}">
                <a16:creationId xmlns:a16="http://schemas.microsoft.com/office/drawing/2014/main" id="{E67F9331-98D1-9C4B-905A-0ADF2E53F9BE}"/>
              </a:ext>
            </a:extLst>
          </p:cNvPr>
          <p:cNvSpPr>
            <a:spLocks noGrp="1"/>
          </p:cNvSpPr>
          <p:nvPr>
            <p:ph type="body" sz="quarter" idx="20" hasCustomPrompt="1"/>
          </p:nvPr>
        </p:nvSpPr>
        <p:spPr>
          <a:xfrm>
            <a:off x="4360747" y="2527201"/>
            <a:ext cx="3470274" cy="353159"/>
          </a:xfrm>
        </p:spPr>
        <p:txBody>
          <a:bodyPr/>
          <a:lstStyle>
            <a:lvl1pPr marL="0" indent="0">
              <a:lnSpc>
                <a:spcPct val="100000"/>
              </a:lnSpc>
              <a:spcBef>
                <a:spcPts val="0"/>
              </a:spcBef>
              <a:spcAft>
                <a:spcPts val="2000"/>
              </a:spcAft>
              <a:buNone/>
              <a:defRPr sz="1800" b="1" spc="40" baseline="0"/>
            </a:lvl1pPr>
            <a:lvl2pPr marL="180000">
              <a:lnSpc>
                <a:spcPct val="100000"/>
              </a:lnSpc>
              <a:spcBef>
                <a:spcPts val="0"/>
              </a:spcBef>
              <a:spcAft>
                <a:spcPts val="600"/>
              </a:spcAft>
              <a:defRPr sz="1800" spc="40" baseline="0"/>
            </a:lvl2pPr>
            <a:lvl3pPr marL="404813" indent="-182563">
              <a:tabLst/>
              <a:defRPr sz="1400" spc="40" baseline="0"/>
            </a:lvl3pPr>
            <a:lvl4pPr marL="536575" indent="-131763">
              <a:tabLst/>
              <a:defRPr sz="1200" spc="40" baseline="0"/>
            </a:lvl4pPr>
            <a:lvl5pPr marL="627063" indent="-130175">
              <a:tabLst/>
              <a:defRPr sz="1100" spc="40" baseline="0"/>
            </a:lvl5pPr>
          </a:lstStyle>
          <a:p>
            <a:pPr lvl="0"/>
            <a:r>
              <a:rPr lang="en-US" noProof="0"/>
              <a:t>Click to add a short headline</a:t>
            </a:r>
          </a:p>
        </p:txBody>
      </p:sp>
      <p:sp>
        <p:nvSpPr>
          <p:cNvPr id="18" name="Platshållare för text 11">
            <a:extLst>
              <a:ext uri="{FF2B5EF4-FFF2-40B4-BE49-F238E27FC236}">
                <a16:creationId xmlns:a16="http://schemas.microsoft.com/office/drawing/2014/main" id="{B167AB32-6297-C042-8F90-85FF79E8A715}"/>
              </a:ext>
            </a:extLst>
          </p:cNvPr>
          <p:cNvSpPr>
            <a:spLocks noGrp="1"/>
          </p:cNvSpPr>
          <p:nvPr>
            <p:ph type="body" sz="quarter" idx="22" hasCustomPrompt="1"/>
          </p:nvPr>
        </p:nvSpPr>
        <p:spPr>
          <a:xfrm>
            <a:off x="576001" y="3101340"/>
            <a:ext cx="3481650" cy="3027998"/>
          </a:xfrm>
        </p:spPr>
        <p:txBody>
          <a:body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20" name="Platshållare för text 11">
            <a:extLst>
              <a:ext uri="{FF2B5EF4-FFF2-40B4-BE49-F238E27FC236}">
                <a16:creationId xmlns:a16="http://schemas.microsoft.com/office/drawing/2014/main" id="{A3BB055C-51F0-9547-B732-F77893221A8A}"/>
              </a:ext>
            </a:extLst>
          </p:cNvPr>
          <p:cNvSpPr>
            <a:spLocks noGrp="1"/>
          </p:cNvSpPr>
          <p:nvPr>
            <p:ph type="body" sz="quarter" idx="23" hasCustomPrompt="1"/>
          </p:nvPr>
        </p:nvSpPr>
        <p:spPr>
          <a:xfrm>
            <a:off x="4360747" y="3101340"/>
            <a:ext cx="3468803" cy="3027998"/>
          </a:xfrm>
        </p:spPr>
        <p:txBody>
          <a:body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25" name="Platshållare för datum 3">
            <a:extLst>
              <a:ext uri="{FF2B5EF4-FFF2-40B4-BE49-F238E27FC236}">
                <a16:creationId xmlns:a16="http://schemas.microsoft.com/office/drawing/2014/main" id="{EF8DED46-4381-4A4E-B90C-47E643212D33}"/>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3AC976B5-996D-49F2-903A-2688E0A31275}" type="datetime1">
              <a:rPr lang="en-US" noProof="0" smtClean="0"/>
              <a:t>11/7/2025</a:t>
            </a:fld>
            <a:endParaRPr lang="en-US" noProof="0"/>
          </a:p>
        </p:txBody>
      </p:sp>
      <p:sp>
        <p:nvSpPr>
          <p:cNvPr id="26" name="Platshållare för sidfot 4">
            <a:extLst>
              <a:ext uri="{FF2B5EF4-FFF2-40B4-BE49-F238E27FC236}">
                <a16:creationId xmlns:a16="http://schemas.microsoft.com/office/drawing/2014/main" id="{156B130B-C777-8649-96AB-98BFDD4C3943}"/>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nb-NO" noProof="0"/>
              <a:t>Skanska Norge Hovedpresentasjon - desember 2022</a:t>
            </a:r>
            <a:endParaRPr lang="en-US" noProof="0"/>
          </a:p>
        </p:txBody>
      </p:sp>
      <p:sp>
        <p:nvSpPr>
          <p:cNvPr id="27" name="Platshållare för bildnummer 5">
            <a:extLst>
              <a:ext uri="{FF2B5EF4-FFF2-40B4-BE49-F238E27FC236}">
                <a16:creationId xmlns:a16="http://schemas.microsoft.com/office/drawing/2014/main" id="{F143B0E1-EC62-C549-82DA-518FA9718F4A}"/>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29" name="Text Placeholder 4">
            <a:extLst>
              <a:ext uri="{FF2B5EF4-FFF2-40B4-BE49-F238E27FC236}">
                <a16:creationId xmlns:a16="http://schemas.microsoft.com/office/drawing/2014/main" id="{451A2045-A8EE-6E45-9F6D-0E79C884BB53}"/>
              </a:ext>
            </a:extLst>
          </p:cNvPr>
          <p:cNvSpPr>
            <a:spLocks noGrp="1"/>
          </p:cNvSpPr>
          <p:nvPr>
            <p:ph type="body" sz="quarter" idx="24"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83764455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6 Full Image Text">
    <p:bg>
      <p:bgPr>
        <a:solidFill>
          <a:schemeClr val="tx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CBA7EE4-EB8C-8F45-95DB-49CBDE2D978D}"/>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9" name="Text Placeholder 18">
            <a:extLst>
              <a:ext uri="{FF2B5EF4-FFF2-40B4-BE49-F238E27FC236}">
                <a16:creationId xmlns:a16="http://schemas.microsoft.com/office/drawing/2014/main" id="{58CE51E9-6C0E-C949-894C-193AA77B60DF}"/>
              </a:ext>
            </a:extLst>
          </p:cNvPr>
          <p:cNvSpPr>
            <a:spLocks noGrp="1"/>
          </p:cNvSpPr>
          <p:nvPr>
            <p:ph type="body" sz="quarter" idx="14" hasCustomPrompt="1"/>
          </p:nvPr>
        </p:nvSpPr>
        <p:spPr>
          <a:xfrm>
            <a:off x="576000" y="730800"/>
            <a:ext cx="7258375" cy="860400"/>
          </a:xfrm>
          <a:prstGeom prst="rect">
            <a:avLst/>
          </a:prstGeom>
        </p:spPr>
        <p:txBody>
          <a:bodyPr anchor="t">
            <a:noAutofit/>
          </a:bodyPr>
          <a:lstStyle>
            <a:lvl1pPr marL="0" indent="0">
              <a:lnSpc>
                <a:spcPct val="85000"/>
              </a:lnSpc>
              <a:spcBef>
                <a:spcPts val="0"/>
              </a:spcBef>
              <a:buNone/>
              <a:defRPr sz="3600" spc="40" baseline="0">
                <a:solidFill>
                  <a:schemeClr val="tx2"/>
                </a:solidFill>
              </a:defRPr>
            </a:lvl1pPr>
          </a:lstStyle>
          <a:p>
            <a:pPr lvl="0"/>
            <a:r>
              <a:rPr lang="en-US" noProof="0"/>
              <a:t>Click to add a headline </a:t>
            </a:r>
            <a:br>
              <a:rPr lang="en-US" noProof="0"/>
            </a:br>
            <a:r>
              <a:rPr lang="en-US" noProof="0"/>
              <a:t>of maximum two lines</a:t>
            </a:r>
          </a:p>
        </p:txBody>
      </p:sp>
      <p:sp>
        <p:nvSpPr>
          <p:cNvPr id="11" name="Platshållare för text 11">
            <a:extLst>
              <a:ext uri="{FF2B5EF4-FFF2-40B4-BE49-F238E27FC236}">
                <a16:creationId xmlns:a16="http://schemas.microsoft.com/office/drawing/2014/main" id="{C5482E94-5FA1-1F47-8B93-C0D85448BA6E}"/>
              </a:ext>
            </a:extLst>
          </p:cNvPr>
          <p:cNvSpPr>
            <a:spLocks noGrp="1"/>
          </p:cNvSpPr>
          <p:nvPr>
            <p:ph type="body" sz="quarter" idx="22" hasCustomPrompt="1"/>
          </p:nvPr>
        </p:nvSpPr>
        <p:spPr>
          <a:xfrm>
            <a:off x="576000" y="2527200"/>
            <a:ext cx="7253550" cy="3600450"/>
          </a:xfrm>
        </p:spPr>
        <p:txBody>
          <a:body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12" name="textruta 5">
            <a:extLst>
              <a:ext uri="{FF2B5EF4-FFF2-40B4-BE49-F238E27FC236}">
                <a16:creationId xmlns:a16="http://schemas.microsoft.com/office/drawing/2014/main" id="{45196D91-67ED-F14C-AA23-1BB0E2429AAA}"/>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3" name="textruta 12">
            <a:extLst>
              <a:ext uri="{FF2B5EF4-FFF2-40B4-BE49-F238E27FC236}">
                <a16:creationId xmlns:a16="http://schemas.microsoft.com/office/drawing/2014/main" id="{E0F263F1-6466-534C-AD87-EA9164E74147}"/>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4" name="Rektangel 13">
            <a:extLst>
              <a:ext uri="{FF2B5EF4-FFF2-40B4-BE49-F238E27FC236}">
                <a16:creationId xmlns:a16="http://schemas.microsoft.com/office/drawing/2014/main" id="{916D287D-EFE0-9C43-8645-225101052B01}"/>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Rektangel 14">
            <a:extLst>
              <a:ext uri="{FF2B5EF4-FFF2-40B4-BE49-F238E27FC236}">
                <a16:creationId xmlns:a16="http://schemas.microsoft.com/office/drawing/2014/main" id="{5C7F710D-EE3C-7646-9CC3-62F39C8BE8FF}"/>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6" name="Platshållare för datum 3">
            <a:extLst>
              <a:ext uri="{FF2B5EF4-FFF2-40B4-BE49-F238E27FC236}">
                <a16:creationId xmlns:a16="http://schemas.microsoft.com/office/drawing/2014/main" id="{8484B784-9A21-5346-B2A6-6BA631846E39}"/>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F159F052-C4EE-4461-976C-A1C131EEFB00}" type="datetime1">
              <a:rPr lang="en-US" noProof="0" smtClean="0"/>
              <a:t>11/7/2025</a:t>
            </a:fld>
            <a:endParaRPr lang="en-US" noProof="0"/>
          </a:p>
        </p:txBody>
      </p:sp>
      <p:sp>
        <p:nvSpPr>
          <p:cNvPr id="17" name="Platshållare för sidfot 4">
            <a:extLst>
              <a:ext uri="{FF2B5EF4-FFF2-40B4-BE49-F238E27FC236}">
                <a16:creationId xmlns:a16="http://schemas.microsoft.com/office/drawing/2014/main" id="{955F9113-DA62-B146-B028-59AA4C8F85F8}"/>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nb-NO" noProof="0"/>
              <a:t>Skanska Norge Hovedpresentasjon - desember 2022</a:t>
            </a:r>
            <a:endParaRPr lang="en-US" noProof="0"/>
          </a:p>
        </p:txBody>
      </p:sp>
      <p:sp>
        <p:nvSpPr>
          <p:cNvPr id="18" name="Platshållare för bildnummer 5">
            <a:extLst>
              <a:ext uri="{FF2B5EF4-FFF2-40B4-BE49-F238E27FC236}">
                <a16:creationId xmlns:a16="http://schemas.microsoft.com/office/drawing/2014/main" id="{6FEAA033-CF77-9242-8C81-8C8DA5690778}"/>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20" name="Text Placeholder 4">
            <a:extLst>
              <a:ext uri="{FF2B5EF4-FFF2-40B4-BE49-F238E27FC236}">
                <a16:creationId xmlns:a16="http://schemas.microsoft.com/office/drawing/2014/main" id="{9C994672-C586-454D-ABE5-E160AD756DE0}"/>
              </a:ext>
            </a:extLst>
          </p:cNvPr>
          <p:cNvSpPr>
            <a:spLocks noGrp="1"/>
          </p:cNvSpPr>
          <p:nvPr>
            <p:ph type="body" sz="quarter" idx="23"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66708814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6 Four Images Percentage">
    <p:bg>
      <p:bgPr>
        <a:solidFill>
          <a:schemeClr val="bg1"/>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0794AD3A-B730-0944-AAFA-F8EE554E7682}"/>
              </a:ext>
            </a:extLst>
          </p:cNvPr>
          <p:cNvSpPr>
            <a:spLocks noGrp="1"/>
          </p:cNvSpPr>
          <p:nvPr>
            <p:ph type="pic" sz="quarter" idx="13" hasCustomPrompt="1"/>
          </p:nvPr>
        </p:nvSpPr>
        <p:spPr>
          <a:xfrm>
            <a:off x="3"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4" name="Picture Placeholder 13">
            <a:extLst>
              <a:ext uri="{FF2B5EF4-FFF2-40B4-BE49-F238E27FC236}">
                <a16:creationId xmlns:a16="http://schemas.microsoft.com/office/drawing/2014/main" id="{FF008750-47A3-4D46-89C6-9F1EFAE7170D}"/>
              </a:ext>
            </a:extLst>
          </p:cNvPr>
          <p:cNvSpPr>
            <a:spLocks noGrp="1"/>
          </p:cNvSpPr>
          <p:nvPr>
            <p:ph type="pic" sz="quarter" idx="16" hasCustomPrompt="1"/>
          </p:nvPr>
        </p:nvSpPr>
        <p:spPr>
          <a:xfrm>
            <a:off x="6096557"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29" name="Picture Placeholder 28">
            <a:extLst>
              <a:ext uri="{FF2B5EF4-FFF2-40B4-BE49-F238E27FC236}">
                <a16:creationId xmlns:a16="http://schemas.microsoft.com/office/drawing/2014/main" id="{C37FC6B3-B9C9-A04F-8FCD-09803B9D6C38}"/>
              </a:ext>
            </a:extLst>
          </p:cNvPr>
          <p:cNvSpPr>
            <a:spLocks noGrp="1"/>
          </p:cNvSpPr>
          <p:nvPr>
            <p:ph type="pic" sz="quarter" idx="17" hasCustomPrompt="1"/>
          </p:nvPr>
        </p:nvSpPr>
        <p:spPr>
          <a:xfrm>
            <a:off x="4" y="3429002"/>
            <a:ext cx="6095996" cy="3428998"/>
          </a:xfrm>
          <a:custGeom>
            <a:avLst/>
            <a:gdLst>
              <a:gd name="connsiteX0" fmla="*/ 1146049 w 6095996"/>
              <a:gd name="connsiteY0" fmla="*/ 3041536 h 3428998"/>
              <a:gd name="connsiteX1" fmla="*/ 1157832 w 6095996"/>
              <a:gd name="connsiteY1" fmla="*/ 3076509 h 3428998"/>
              <a:gd name="connsiteX2" fmla="*/ 1134642 w 6095996"/>
              <a:gd name="connsiteY2" fmla="*/ 3076509 h 3428998"/>
              <a:gd name="connsiteX3" fmla="*/ 788169 w 6095996"/>
              <a:gd name="connsiteY3" fmla="*/ 3041536 h 3428998"/>
              <a:gd name="connsiteX4" fmla="*/ 799952 w 6095996"/>
              <a:gd name="connsiteY4" fmla="*/ 3076509 h 3428998"/>
              <a:gd name="connsiteX5" fmla="*/ 776762 w 6095996"/>
              <a:gd name="connsiteY5" fmla="*/ 3076509 h 3428998"/>
              <a:gd name="connsiteX6" fmla="*/ 1132323 w 6095996"/>
              <a:gd name="connsiteY6" fmla="*/ 3022545 h 3428998"/>
              <a:gd name="connsiteX7" fmla="*/ 1100859 w 6095996"/>
              <a:gd name="connsiteY7" fmla="*/ 3113676 h 3428998"/>
              <a:gd name="connsiteX8" fmla="*/ 1123109 w 6095996"/>
              <a:gd name="connsiteY8" fmla="*/ 3113676 h 3428998"/>
              <a:gd name="connsiteX9" fmla="*/ 1128876 w 6095996"/>
              <a:gd name="connsiteY9" fmla="*/ 3095062 h 3428998"/>
              <a:gd name="connsiteX10" fmla="*/ 1163786 w 6095996"/>
              <a:gd name="connsiteY10" fmla="*/ 3095062 h 3428998"/>
              <a:gd name="connsiteX11" fmla="*/ 1169740 w 6095996"/>
              <a:gd name="connsiteY11" fmla="*/ 3113676 h 3428998"/>
              <a:gd name="connsiteX12" fmla="*/ 1191614 w 6095996"/>
              <a:gd name="connsiteY12" fmla="*/ 3113676 h 3428998"/>
              <a:gd name="connsiteX13" fmla="*/ 1159148 w 6095996"/>
              <a:gd name="connsiteY13" fmla="*/ 3022545 h 3428998"/>
              <a:gd name="connsiteX14" fmla="*/ 961907 w 6095996"/>
              <a:gd name="connsiteY14" fmla="*/ 3022545 h 3428998"/>
              <a:gd name="connsiteX15" fmla="*/ 933640 w 6095996"/>
              <a:gd name="connsiteY15" fmla="*/ 3050248 h 3428998"/>
              <a:gd name="connsiteX16" fmla="*/ 961907 w 6095996"/>
              <a:gd name="connsiteY16" fmla="*/ 3076823 h 3428998"/>
              <a:gd name="connsiteX17" fmla="*/ 983467 w 6095996"/>
              <a:gd name="connsiteY17" fmla="*/ 3076823 h 3428998"/>
              <a:gd name="connsiteX18" fmla="*/ 991678 w 6095996"/>
              <a:gd name="connsiteY18" fmla="*/ 3085284 h 3428998"/>
              <a:gd name="connsiteX19" fmla="*/ 983467 w 6095996"/>
              <a:gd name="connsiteY19" fmla="*/ 3093745 h 3428998"/>
              <a:gd name="connsiteX20" fmla="*/ 937338 w 6095996"/>
              <a:gd name="connsiteY20" fmla="*/ 3093745 h 3428998"/>
              <a:gd name="connsiteX21" fmla="*/ 937338 w 6095996"/>
              <a:gd name="connsiteY21" fmla="*/ 3113676 h 3428998"/>
              <a:gd name="connsiteX22" fmla="*/ 982715 w 6095996"/>
              <a:gd name="connsiteY22" fmla="*/ 3113676 h 3428998"/>
              <a:gd name="connsiteX23" fmla="*/ 1011358 w 6095996"/>
              <a:gd name="connsiteY23" fmla="*/ 3085284 h 3428998"/>
              <a:gd name="connsiteX24" fmla="*/ 986727 w 6095996"/>
              <a:gd name="connsiteY24" fmla="*/ 3058709 h 3428998"/>
              <a:gd name="connsiteX25" fmla="*/ 961907 w 6095996"/>
              <a:gd name="connsiteY25" fmla="*/ 3058709 h 3428998"/>
              <a:gd name="connsiteX26" fmla="*/ 953320 w 6095996"/>
              <a:gd name="connsiteY26" fmla="*/ 3050248 h 3428998"/>
              <a:gd name="connsiteX27" fmla="*/ 961907 w 6095996"/>
              <a:gd name="connsiteY27" fmla="*/ 3041787 h 3428998"/>
              <a:gd name="connsiteX28" fmla="*/ 1004965 w 6095996"/>
              <a:gd name="connsiteY28" fmla="*/ 3041787 h 3428998"/>
              <a:gd name="connsiteX29" fmla="*/ 1004965 w 6095996"/>
              <a:gd name="connsiteY29" fmla="*/ 3022545 h 3428998"/>
              <a:gd name="connsiteX30" fmla="*/ 841570 w 6095996"/>
              <a:gd name="connsiteY30" fmla="*/ 3022545 h 3428998"/>
              <a:gd name="connsiteX31" fmla="*/ 841570 w 6095996"/>
              <a:gd name="connsiteY31" fmla="*/ 3113676 h 3428998"/>
              <a:gd name="connsiteX32" fmla="*/ 862691 w 6095996"/>
              <a:gd name="connsiteY32" fmla="*/ 3113676 h 3428998"/>
              <a:gd name="connsiteX33" fmla="*/ 862691 w 6095996"/>
              <a:gd name="connsiteY33" fmla="*/ 3057456 h 3428998"/>
              <a:gd name="connsiteX34" fmla="*/ 898981 w 6095996"/>
              <a:gd name="connsiteY34" fmla="*/ 3113488 h 3428998"/>
              <a:gd name="connsiteX35" fmla="*/ 898981 w 6095996"/>
              <a:gd name="connsiteY35" fmla="*/ 3113676 h 3428998"/>
              <a:gd name="connsiteX36" fmla="*/ 920855 w 6095996"/>
              <a:gd name="connsiteY36" fmla="*/ 3113676 h 3428998"/>
              <a:gd name="connsiteX37" fmla="*/ 920792 w 6095996"/>
              <a:gd name="connsiteY37" fmla="*/ 3093996 h 3428998"/>
              <a:gd name="connsiteX38" fmla="*/ 920667 w 6095996"/>
              <a:gd name="connsiteY38" fmla="*/ 3022545 h 3428998"/>
              <a:gd name="connsiteX39" fmla="*/ 899670 w 6095996"/>
              <a:gd name="connsiteY39" fmla="*/ 3022545 h 3428998"/>
              <a:gd name="connsiteX40" fmla="*/ 899670 w 6095996"/>
              <a:gd name="connsiteY40" fmla="*/ 3079831 h 3428998"/>
              <a:gd name="connsiteX41" fmla="*/ 863067 w 6095996"/>
              <a:gd name="connsiteY41" fmla="*/ 3022545 h 3428998"/>
              <a:gd name="connsiteX42" fmla="*/ 774443 w 6095996"/>
              <a:gd name="connsiteY42" fmla="*/ 3022545 h 3428998"/>
              <a:gd name="connsiteX43" fmla="*/ 742918 w 6095996"/>
              <a:gd name="connsiteY43" fmla="*/ 3113676 h 3428998"/>
              <a:gd name="connsiteX44" fmla="*/ 765167 w 6095996"/>
              <a:gd name="connsiteY44" fmla="*/ 3113676 h 3428998"/>
              <a:gd name="connsiteX45" fmla="*/ 770934 w 6095996"/>
              <a:gd name="connsiteY45" fmla="*/ 3095062 h 3428998"/>
              <a:gd name="connsiteX46" fmla="*/ 805844 w 6095996"/>
              <a:gd name="connsiteY46" fmla="*/ 3095062 h 3428998"/>
              <a:gd name="connsiteX47" fmla="*/ 811798 w 6095996"/>
              <a:gd name="connsiteY47" fmla="*/ 3113676 h 3428998"/>
              <a:gd name="connsiteX48" fmla="*/ 833735 w 6095996"/>
              <a:gd name="connsiteY48" fmla="*/ 3113676 h 3428998"/>
              <a:gd name="connsiteX49" fmla="*/ 801269 w 6095996"/>
              <a:gd name="connsiteY49" fmla="*/ 3022545 h 3428998"/>
              <a:gd name="connsiteX50" fmla="*/ 604403 w 6095996"/>
              <a:gd name="connsiteY50" fmla="*/ 3022545 h 3428998"/>
              <a:gd name="connsiteX51" fmla="*/ 576136 w 6095996"/>
              <a:gd name="connsiteY51" fmla="*/ 3050248 h 3428998"/>
              <a:gd name="connsiteX52" fmla="*/ 604403 w 6095996"/>
              <a:gd name="connsiteY52" fmla="*/ 3076823 h 3428998"/>
              <a:gd name="connsiteX53" fmla="*/ 625964 w 6095996"/>
              <a:gd name="connsiteY53" fmla="*/ 3076823 h 3428998"/>
              <a:gd name="connsiteX54" fmla="*/ 634174 w 6095996"/>
              <a:gd name="connsiteY54" fmla="*/ 3085284 h 3428998"/>
              <a:gd name="connsiteX55" fmla="*/ 625964 w 6095996"/>
              <a:gd name="connsiteY55" fmla="*/ 3093745 h 3428998"/>
              <a:gd name="connsiteX56" fmla="*/ 579772 w 6095996"/>
              <a:gd name="connsiteY56" fmla="*/ 3093745 h 3428998"/>
              <a:gd name="connsiteX57" fmla="*/ 579772 w 6095996"/>
              <a:gd name="connsiteY57" fmla="*/ 3113676 h 3428998"/>
              <a:gd name="connsiteX58" fmla="*/ 625149 w 6095996"/>
              <a:gd name="connsiteY58" fmla="*/ 3113676 h 3428998"/>
              <a:gd name="connsiteX59" fmla="*/ 653792 w 6095996"/>
              <a:gd name="connsiteY59" fmla="*/ 3085284 h 3428998"/>
              <a:gd name="connsiteX60" fmla="*/ 629223 w 6095996"/>
              <a:gd name="connsiteY60" fmla="*/ 3058709 h 3428998"/>
              <a:gd name="connsiteX61" fmla="*/ 604403 w 6095996"/>
              <a:gd name="connsiteY61" fmla="*/ 3058709 h 3428998"/>
              <a:gd name="connsiteX62" fmla="*/ 595817 w 6095996"/>
              <a:gd name="connsiteY62" fmla="*/ 3050248 h 3428998"/>
              <a:gd name="connsiteX63" fmla="*/ 604403 w 6095996"/>
              <a:gd name="connsiteY63" fmla="*/ 3041787 h 3428998"/>
              <a:gd name="connsiteX64" fmla="*/ 647461 w 6095996"/>
              <a:gd name="connsiteY64" fmla="*/ 3041787 h 3428998"/>
              <a:gd name="connsiteX65" fmla="*/ 647461 w 6095996"/>
              <a:gd name="connsiteY65" fmla="*/ 3022545 h 3428998"/>
              <a:gd name="connsiteX66" fmla="*/ 1023956 w 6095996"/>
              <a:gd name="connsiteY66" fmla="*/ 3022482 h 3428998"/>
              <a:gd name="connsiteX67" fmla="*/ 1023956 w 6095996"/>
              <a:gd name="connsiteY67" fmla="*/ 3113676 h 3428998"/>
              <a:gd name="connsiteX68" fmla="*/ 1045015 w 6095996"/>
              <a:gd name="connsiteY68" fmla="*/ 3113676 h 3428998"/>
              <a:gd name="connsiteX69" fmla="*/ 1045015 w 6095996"/>
              <a:gd name="connsiteY69" fmla="*/ 3075193 h 3428998"/>
              <a:gd name="connsiteX70" fmla="*/ 1074975 w 6095996"/>
              <a:gd name="connsiteY70" fmla="*/ 3113676 h 3428998"/>
              <a:gd name="connsiteX71" fmla="*/ 1099481 w 6095996"/>
              <a:gd name="connsiteY71" fmla="*/ 3113676 h 3428998"/>
              <a:gd name="connsiteX72" fmla="*/ 1065009 w 6095996"/>
              <a:gd name="connsiteY72" fmla="*/ 3068111 h 3428998"/>
              <a:gd name="connsiteX73" fmla="*/ 1099481 w 6095996"/>
              <a:gd name="connsiteY73" fmla="*/ 3022482 h 3428998"/>
              <a:gd name="connsiteX74" fmla="*/ 1074975 w 6095996"/>
              <a:gd name="connsiteY74" fmla="*/ 3022482 h 3428998"/>
              <a:gd name="connsiteX75" fmla="*/ 1045015 w 6095996"/>
              <a:gd name="connsiteY75" fmla="*/ 3060965 h 3428998"/>
              <a:gd name="connsiteX76" fmla="*/ 1045015 w 6095996"/>
              <a:gd name="connsiteY76" fmla="*/ 3022482 h 3428998"/>
              <a:gd name="connsiteX77" fmla="*/ 666076 w 6095996"/>
              <a:gd name="connsiteY77" fmla="*/ 3022482 h 3428998"/>
              <a:gd name="connsiteX78" fmla="*/ 666076 w 6095996"/>
              <a:gd name="connsiteY78" fmla="*/ 3113676 h 3428998"/>
              <a:gd name="connsiteX79" fmla="*/ 687073 w 6095996"/>
              <a:gd name="connsiteY79" fmla="*/ 3113676 h 3428998"/>
              <a:gd name="connsiteX80" fmla="*/ 687073 w 6095996"/>
              <a:gd name="connsiteY80" fmla="*/ 3075193 h 3428998"/>
              <a:gd name="connsiteX81" fmla="*/ 717032 w 6095996"/>
              <a:gd name="connsiteY81" fmla="*/ 3113676 h 3428998"/>
              <a:gd name="connsiteX82" fmla="*/ 741601 w 6095996"/>
              <a:gd name="connsiteY82" fmla="*/ 3113676 h 3428998"/>
              <a:gd name="connsiteX83" fmla="*/ 707067 w 6095996"/>
              <a:gd name="connsiteY83" fmla="*/ 3068111 h 3428998"/>
              <a:gd name="connsiteX84" fmla="*/ 741601 w 6095996"/>
              <a:gd name="connsiteY84" fmla="*/ 3022482 h 3428998"/>
              <a:gd name="connsiteX85" fmla="*/ 717032 w 6095996"/>
              <a:gd name="connsiteY85" fmla="*/ 3022482 h 3428998"/>
              <a:gd name="connsiteX86" fmla="*/ 687073 w 6095996"/>
              <a:gd name="connsiteY86" fmla="*/ 3060965 h 3428998"/>
              <a:gd name="connsiteX87" fmla="*/ 687073 w 6095996"/>
              <a:gd name="connsiteY87" fmla="*/ 3022482 h 3428998"/>
              <a:gd name="connsiteX88" fmla="*/ 0 w 6095996"/>
              <a:gd name="connsiteY88" fmla="*/ 0 h 3428998"/>
              <a:gd name="connsiteX89" fmla="*/ 6095996 w 6095996"/>
              <a:gd name="connsiteY89" fmla="*/ 0 h 3428998"/>
              <a:gd name="connsiteX90" fmla="*/ 6095996 w 6095996"/>
              <a:gd name="connsiteY90" fmla="*/ 3428998 h 3428998"/>
              <a:gd name="connsiteX91" fmla="*/ 0 w 6095996"/>
              <a:gd name="connsiteY91" fmla="*/ 3428998 h 342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095996" h="3428998">
                <a:moveTo>
                  <a:pt x="1146049" y="3041536"/>
                </a:moveTo>
                <a:lnTo>
                  <a:pt x="1157832" y="3076509"/>
                </a:lnTo>
                <a:lnTo>
                  <a:pt x="1134642" y="3076509"/>
                </a:lnTo>
                <a:close/>
                <a:moveTo>
                  <a:pt x="788169" y="3041536"/>
                </a:moveTo>
                <a:lnTo>
                  <a:pt x="799952" y="3076509"/>
                </a:lnTo>
                <a:lnTo>
                  <a:pt x="776762" y="3076509"/>
                </a:lnTo>
                <a:close/>
                <a:moveTo>
                  <a:pt x="1132323" y="3022545"/>
                </a:moveTo>
                <a:lnTo>
                  <a:pt x="1100859" y="3113676"/>
                </a:lnTo>
                <a:lnTo>
                  <a:pt x="1123109" y="3113676"/>
                </a:lnTo>
                <a:lnTo>
                  <a:pt x="1128876" y="3095062"/>
                </a:lnTo>
                <a:lnTo>
                  <a:pt x="1163786" y="3095062"/>
                </a:lnTo>
                <a:lnTo>
                  <a:pt x="1169740" y="3113676"/>
                </a:lnTo>
                <a:lnTo>
                  <a:pt x="1191614" y="3113676"/>
                </a:lnTo>
                <a:lnTo>
                  <a:pt x="1159148" y="3022545"/>
                </a:lnTo>
                <a:close/>
                <a:moveTo>
                  <a:pt x="961907" y="3022545"/>
                </a:moveTo>
                <a:cubicBezTo>
                  <a:pt x="944358" y="3022545"/>
                  <a:pt x="933640" y="3032824"/>
                  <a:pt x="933640" y="3050248"/>
                </a:cubicBezTo>
                <a:cubicBezTo>
                  <a:pt x="933640" y="3067672"/>
                  <a:pt x="945987" y="3076823"/>
                  <a:pt x="961907" y="3076823"/>
                </a:cubicBezTo>
                <a:lnTo>
                  <a:pt x="983467" y="3076823"/>
                </a:lnTo>
                <a:cubicBezTo>
                  <a:pt x="988920" y="3076823"/>
                  <a:pt x="991678" y="3080959"/>
                  <a:pt x="991678" y="3085284"/>
                </a:cubicBezTo>
                <a:cubicBezTo>
                  <a:pt x="991678" y="3089734"/>
                  <a:pt x="988920" y="3093745"/>
                  <a:pt x="983467" y="3093745"/>
                </a:cubicBezTo>
                <a:lnTo>
                  <a:pt x="937338" y="3093745"/>
                </a:lnTo>
                <a:lnTo>
                  <a:pt x="937338" y="3113676"/>
                </a:lnTo>
                <a:lnTo>
                  <a:pt x="982715" y="3113676"/>
                </a:lnTo>
                <a:cubicBezTo>
                  <a:pt x="1000703" y="3113676"/>
                  <a:pt x="1011358" y="3103774"/>
                  <a:pt x="1011358" y="3085284"/>
                </a:cubicBezTo>
                <a:cubicBezTo>
                  <a:pt x="1011358" y="3068612"/>
                  <a:pt x="1000641" y="3058709"/>
                  <a:pt x="986727" y="3058709"/>
                </a:cubicBezTo>
                <a:lnTo>
                  <a:pt x="961907" y="3058709"/>
                </a:lnTo>
                <a:cubicBezTo>
                  <a:pt x="956078" y="3058709"/>
                  <a:pt x="953320" y="3054698"/>
                  <a:pt x="953320" y="3050248"/>
                </a:cubicBezTo>
                <a:cubicBezTo>
                  <a:pt x="953320" y="3045798"/>
                  <a:pt x="956078" y="3041787"/>
                  <a:pt x="961907" y="3041787"/>
                </a:cubicBezTo>
                <a:lnTo>
                  <a:pt x="1004965" y="3041787"/>
                </a:lnTo>
                <a:lnTo>
                  <a:pt x="1004965" y="3022545"/>
                </a:lnTo>
                <a:close/>
                <a:moveTo>
                  <a:pt x="841570" y="3022545"/>
                </a:moveTo>
                <a:lnTo>
                  <a:pt x="841570" y="3113676"/>
                </a:lnTo>
                <a:lnTo>
                  <a:pt x="862691" y="3113676"/>
                </a:lnTo>
                <a:lnTo>
                  <a:pt x="862691" y="3057456"/>
                </a:lnTo>
                <a:lnTo>
                  <a:pt x="898981" y="3113488"/>
                </a:lnTo>
                <a:lnTo>
                  <a:pt x="898981" y="3113676"/>
                </a:lnTo>
                <a:lnTo>
                  <a:pt x="920855" y="3113676"/>
                </a:lnTo>
                <a:lnTo>
                  <a:pt x="920792" y="3093996"/>
                </a:lnTo>
                <a:lnTo>
                  <a:pt x="920667" y="3022545"/>
                </a:lnTo>
                <a:lnTo>
                  <a:pt x="899670" y="3022545"/>
                </a:lnTo>
                <a:lnTo>
                  <a:pt x="899670" y="3079831"/>
                </a:lnTo>
                <a:lnTo>
                  <a:pt x="863067" y="3022545"/>
                </a:lnTo>
                <a:close/>
                <a:moveTo>
                  <a:pt x="774443" y="3022545"/>
                </a:moveTo>
                <a:lnTo>
                  <a:pt x="742918" y="3113676"/>
                </a:lnTo>
                <a:lnTo>
                  <a:pt x="765167" y="3113676"/>
                </a:lnTo>
                <a:lnTo>
                  <a:pt x="770934" y="3095062"/>
                </a:lnTo>
                <a:lnTo>
                  <a:pt x="805844" y="3095062"/>
                </a:lnTo>
                <a:lnTo>
                  <a:pt x="811798" y="3113676"/>
                </a:lnTo>
                <a:lnTo>
                  <a:pt x="833735" y="3113676"/>
                </a:lnTo>
                <a:lnTo>
                  <a:pt x="801269" y="3022545"/>
                </a:lnTo>
                <a:close/>
                <a:moveTo>
                  <a:pt x="604403" y="3022545"/>
                </a:moveTo>
                <a:cubicBezTo>
                  <a:pt x="586791" y="3022545"/>
                  <a:pt x="576136" y="3032824"/>
                  <a:pt x="576136" y="3050248"/>
                </a:cubicBezTo>
                <a:cubicBezTo>
                  <a:pt x="576136" y="3067672"/>
                  <a:pt x="588484" y="3076823"/>
                  <a:pt x="604403" y="3076823"/>
                </a:cubicBezTo>
                <a:lnTo>
                  <a:pt x="625964" y="3076823"/>
                </a:lnTo>
                <a:cubicBezTo>
                  <a:pt x="631416" y="3076823"/>
                  <a:pt x="634174" y="3080959"/>
                  <a:pt x="634174" y="3085284"/>
                </a:cubicBezTo>
                <a:cubicBezTo>
                  <a:pt x="634174" y="3089734"/>
                  <a:pt x="631416" y="3093745"/>
                  <a:pt x="625964" y="3093745"/>
                </a:cubicBezTo>
                <a:lnTo>
                  <a:pt x="579772" y="3093745"/>
                </a:lnTo>
                <a:lnTo>
                  <a:pt x="579772" y="3113676"/>
                </a:lnTo>
                <a:lnTo>
                  <a:pt x="625149" y="3113676"/>
                </a:lnTo>
                <a:cubicBezTo>
                  <a:pt x="643137" y="3113676"/>
                  <a:pt x="653792" y="3103774"/>
                  <a:pt x="653792" y="3085284"/>
                </a:cubicBezTo>
                <a:cubicBezTo>
                  <a:pt x="653792" y="3068612"/>
                  <a:pt x="643137" y="3058709"/>
                  <a:pt x="629223" y="3058709"/>
                </a:cubicBezTo>
                <a:lnTo>
                  <a:pt x="604403" y="3058709"/>
                </a:lnTo>
                <a:cubicBezTo>
                  <a:pt x="598574" y="3058709"/>
                  <a:pt x="595817" y="3054698"/>
                  <a:pt x="595817" y="3050248"/>
                </a:cubicBezTo>
                <a:cubicBezTo>
                  <a:pt x="595817" y="3045798"/>
                  <a:pt x="598574" y="3041787"/>
                  <a:pt x="604403" y="3041787"/>
                </a:cubicBezTo>
                <a:lnTo>
                  <a:pt x="647461" y="3041787"/>
                </a:lnTo>
                <a:lnTo>
                  <a:pt x="647461" y="3022545"/>
                </a:lnTo>
                <a:close/>
                <a:moveTo>
                  <a:pt x="1023956" y="3022482"/>
                </a:moveTo>
                <a:lnTo>
                  <a:pt x="1023956" y="3113676"/>
                </a:lnTo>
                <a:lnTo>
                  <a:pt x="1045015" y="3113676"/>
                </a:lnTo>
                <a:lnTo>
                  <a:pt x="1045015" y="3075193"/>
                </a:lnTo>
                <a:lnTo>
                  <a:pt x="1074975" y="3113676"/>
                </a:lnTo>
                <a:lnTo>
                  <a:pt x="1099481" y="3113676"/>
                </a:lnTo>
                <a:lnTo>
                  <a:pt x="1065009" y="3068111"/>
                </a:lnTo>
                <a:lnTo>
                  <a:pt x="1099481" y="3022482"/>
                </a:lnTo>
                <a:lnTo>
                  <a:pt x="1074975" y="3022482"/>
                </a:lnTo>
                <a:lnTo>
                  <a:pt x="1045015" y="3060965"/>
                </a:lnTo>
                <a:lnTo>
                  <a:pt x="1045015" y="3022482"/>
                </a:lnTo>
                <a:close/>
                <a:moveTo>
                  <a:pt x="666076" y="3022482"/>
                </a:moveTo>
                <a:lnTo>
                  <a:pt x="666076" y="3113676"/>
                </a:lnTo>
                <a:lnTo>
                  <a:pt x="687073" y="3113676"/>
                </a:lnTo>
                <a:lnTo>
                  <a:pt x="687073" y="3075193"/>
                </a:lnTo>
                <a:lnTo>
                  <a:pt x="717032" y="3113676"/>
                </a:lnTo>
                <a:lnTo>
                  <a:pt x="741601" y="3113676"/>
                </a:lnTo>
                <a:lnTo>
                  <a:pt x="707067" y="3068111"/>
                </a:lnTo>
                <a:lnTo>
                  <a:pt x="741601" y="3022482"/>
                </a:lnTo>
                <a:lnTo>
                  <a:pt x="717032" y="3022482"/>
                </a:lnTo>
                <a:lnTo>
                  <a:pt x="687073" y="3060965"/>
                </a:lnTo>
                <a:lnTo>
                  <a:pt x="687073" y="3022482"/>
                </a:lnTo>
                <a:close/>
                <a:moveTo>
                  <a:pt x="0" y="0"/>
                </a:moveTo>
                <a:lnTo>
                  <a:pt x="6095996" y="0"/>
                </a:lnTo>
                <a:lnTo>
                  <a:pt x="6095996"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8" name="Picture Placeholder 17">
            <a:extLst>
              <a:ext uri="{FF2B5EF4-FFF2-40B4-BE49-F238E27FC236}">
                <a16:creationId xmlns:a16="http://schemas.microsoft.com/office/drawing/2014/main" id="{1D8C10B2-C5B9-8C42-AAE6-7022794E8D33}"/>
              </a:ext>
            </a:extLst>
          </p:cNvPr>
          <p:cNvSpPr>
            <a:spLocks noGrp="1"/>
          </p:cNvSpPr>
          <p:nvPr>
            <p:ph type="pic" sz="quarter" idx="18" hasCustomPrompt="1"/>
          </p:nvPr>
        </p:nvSpPr>
        <p:spPr>
          <a:xfrm>
            <a:off x="6096557" y="3429002"/>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28" name="Text Placeholder 18">
            <a:extLst>
              <a:ext uri="{FF2B5EF4-FFF2-40B4-BE49-F238E27FC236}">
                <a16:creationId xmlns:a16="http://schemas.microsoft.com/office/drawing/2014/main" id="{2DF6F143-809A-5045-8C63-0CB7DDC37D20}"/>
              </a:ext>
            </a:extLst>
          </p:cNvPr>
          <p:cNvSpPr>
            <a:spLocks noGrp="1"/>
          </p:cNvSpPr>
          <p:nvPr>
            <p:ph type="body" sz="quarter" idx="35" hasCustomPrompt="1"/>
          </p:nvPr>
        </p:nvSpPr>
        <p:spPr>
          <a:xfrm>
            <a:off x="3088267" y="1300220"/>
            <a:ext cx="2491409" cy="828564"/>
          </a:xfrm>
          <a:prstGeom prst="rect">
            <a:avLst/>
          </a:prstGeom>
        </p:spPr>
        <p:txBody>
          <a:bodyPr anchor="ctr">
            <a:noAutofit/>
          </a:bodyPr>
          <a:lstStyle>
            <a:lvl1pPr marL="0" indent="0" algn="l">
              <a:lnSpc>
                <a:spcPct val="85000"/>
              </a:lnSpc>
              <a:spcBef>
                <a:spcPts val="0"/>
              </a:spcBef>
              <a:buNone/>
              <a:defRPr sz="1800" spc="40" baseline="0">
                <a:solidFill>
                  <a:schemeClr val="bg1"/>
                </a:solidFill>
              </a:defRPr>
            </a:lvl1pPr>
          </a:lstStyle>
          <a:p>
            <a:pPr lvl="0"/>
            <a:r>
              <a:rPr lang="en-US" noProof="0"/>
              <a:t>Click to add text</a:t>
            </a:r>
          </a:p>
        </p:txBody>
      </p:sp>
      <p:sp>
        <p:nvSpPr>
          <p:cNvPr id="30" name="Text Placeholder 18">
            <a:extLst>
              <a:ext uri="{FF2B5EF4-FFF2-40B4-BE49-F238E27FC236}">
                <a16:creationId xmlns:a16="http://schemas.microsoft.com/office/drawing/2014/main" id="{9304EB74-76ED-4B45-9D59-3E0FE9DA6187}"/>
              </a:ext>
            </a:extLst>
          </p:cNvPr>
          <p:cNvSpPr>
            <a:spLocks noGrp="1"/>
          </p:cNvSpPr>
          <p:nvPr>
            <p:ph type="body" sz="quarter" idx="36" hasCustomPrompt="1"/>
          </p:nvPr>
        </p:nvSpPr>
        <p:spPr>
          <a:xfrm>
            <a:off x="953647" y="1300220"/>
            <a:ext cx="2152968" cy="828564"/>
          </a:xfrm>
          <a:prstGeom prst="rect">
            <a:avLst/>
          </a:prstGeom>
        </p:spPr>
        <p:txBody>
          <a:bodyPr anchor="ctr">
            <a:noAutofit/>
          </a:bodyPr>
          <a:lstStyle>
            <a:lvl1pPr marL="0" indent="0" algn="l">
              <a:lnSpc>
                <a:spcPct val="85000"/>
              </a:lnSpc>
              <a:spcBef>
                <a:spcPts val="0"/>
              </a:spcBef>
              <a:buNone/>
              <a:defRPr sz="7500" b="1" spc="40" baseline="0">
                <a:solidFill>
                  <a:schemeClr val="bg1"/>
                </a:solidFill>
              </a:defRPr>
            </a:lvl1pPr>
          </a:lstStyle>
          <a:p>
            <a:pPr lvl="0"/>
            <a:r>
              <a:rPr lang="en-US" noProof="0"/>
              <a:t>XX%</a:t>
            </a:r>
          </a:p>
        </p:txBody>
      </p:sp>
      <p:sp>
        <p:nvSpPr>
          <p:cNvPr id="33" name="Text Placeholder 18">
            <a:extLst>
              <a:ext uri="{FF2B5EF4-FFF2-40B4-BE49-F238E27FC236}">
                <a16:creationId xmlns:a16="http://schemas.microsoft.com/office/drawing/2014/main" id="{3FD14E92-C0C8-364E-BEAC-3BDE33210C69}"/>
              </a:ext>
            </a:extLst>
          </p:cNvPr>
          <p:cNvSpPr>
            <a:spLocks noGrp="1"/>
          </p:cNvSpPr>
          <p:nvPr>
            <p:ph type="body" sz="quarter" idx="37" hasCustomPrompt="1"/>
          </p:nvPr>
        </p:nvSpPr>
        <p:spPr>
          <a:xfrm>
            <a:off x="3088267" y="4729219"/>
            <a:ext cx="2491409" cy="828564"/>
          </a:xfrm>
          <a:prstGeom prst="rect">
            <a:avLst/>
          </a:prstGeom>
        </p:spPr>
        <p:txBody>
          <a:bodyPr anchor="ctr">
            <a:noAutofit/>
          </a:bodyPr>
          <a:lstStyle>
            <a:lvl1pPr marL="0" indent="0" algn="l">
              <a:lnSpc>
                <a:spcPct val="85000"/>
              </a:lnSpc>
              <a:spcBef>
                <a:spcPts val="0"/>
              </a:spcBef>
              <a:buNone/>
              <a:defRPr sz="1800" spc="40" baseline="0">
                <a:solidFill>
                  <a:schemeClr val="bg1"/>
                </a:solidFill>
              </a:defRPr>
            </a:lvl1pPr>
          </a:lstStyle>
          <a:p>
            <a:pPr lvl="0"/>
            <a:r>
              <a:rPr lang="en-US" noProof="0"/>
              <a:t>Click to add text</a:t>
            </a:r>
          </a:p>
        </p:txBody>
      </p:sp>
      <p:sp>
        <p:nvSpPr>
          <p:cNvPr id="34" name="Text Placeholder 18">
            <a:extLst>
              <a:ext uri="{FF2B5EF4-FFF2-40B4-BE49-F238E27FC236}">
                <a16:creationId xmlns:a16="http://schemas.microsoft.com/office/drawing/2014/main" id="{C3C27830-0043-6743-8610-2CB87E45DD43}"/>
              </a:ext>
            </a:extLst>
          </p:cNvPr>
          <p:cNvSpPr>
            <a:spLocks noGrp="1"/>
          </p:cNvSpPr>
          <p:nvPr>
            <p:ph type="body" sz="quarter" idx="38" hasCustomPrompt="1"/>
          </p:nvPr>
        </p:nvSpPr>
        <p:spPr>
          <a:xfrm>
            <a:off x="953647" y="4729219"/>
            <a:ext cx="2152968" cy="828564"/>
          </a:xfrm>
          <a:prstGeom prst="rect">
            <a:avLst/>
          </a:prstGeom>
        </p:spPr>
        <p:txBody>
          <a:bodyPr anchor="ctr">
            <a:noAutofit/>
          </a:bodyPr>
          <a:lstStyle>
            <a:lvl1pPr marL="0" indent="0" algn="l">
              <a:lnSpc>
                <a:spcPct val="85000"/>
              </a:lnSpc>
              <a:spcBef>
                <a:spcPts val="0"/>
              </a:spcBef>
              <a:buNone/>
              <a:defRPr sz="7500" b="1" spc="40" baseline="0">
                <a:solidFill>
                  <a:schemeClr val="bg1"/>
                </a:solidFill>
              </a:defRPr>
            </a:lvl1pPr>
          </a:lstStyle>
          <a:p>
            <a:pPr lvl="0"/>
            <a:r>
              <a:rPr lang="en-US" noProof="0"/>
              <a:t>XX%</a:t>
            </a:r>
          </a:p>
        </p:txBody>
      </p:sp>
      <p:sp>
        <p:nvSpPr>
          <p:cNvPr id="35" name="Text Placeholder 18">
            <a:extLst>
              <a:ext uri="{FF2B5EF4-FFF2-40B4-BE49-F238E27FC236}">
                <a16:creationId xmlns:a16="http://schemas.microsoft.com/office/drawing/2014/main" id="{6DE9334C-562A-5C4C-BB8C-952C00B60182}"/>
              </a:ext>
            </a:extLst>
          </p:cNvPr>
          <p:cNvSpPr>
            <a:spLocks noGrp="1"/>
          </p:cNvSpPr>
          <p:nvPr>
            <p:ph type="body" sz="quarter" idx="39" hasCustomPrompt="1"/>
          </p:nvPr>
        </p:nvSpPr>
        <p:spPr>
          <a:xfrm>
            <a:off x="8762237" y="1300220"/>
            <a:ext cx="2491409" cy="828564"/>
          </a:xfrm>
          <a:prstGeom prst="rect">
            <a:avLst/>
          </a:prstGeom>
        </p:spPr>
        <p:txBody>
          <a:bodyPr anchor="ctr">
            <a:noAutofit/>
          </a:bodyPr>
          <a:lstStyle>
            <a:lvl1pPr marL="0" indent="0" algn="l">
              <a:lnSpc>
                <a:spcPct val="85000"/>
              </a:lnSpc>
              <a:spcBef>
                <a:spcPts val="0"/>
              </a:spcBef>
              <a:buNone/>
              <a:defRPr sz="1800" spc="40" baseline="0">
                <a:solidFill>
                  <a:schemeClr val="bg1"/>
                </a:solidFill>
              </a:defRPr>
            </a:lvl1pPr>
          </a:lstStyle>
          <a:p>
            <a:pPr lvl="0"/>
            <a:r>
              <a:rPr lang="en-US" noProof="0"/>
              <a:t>Click to add text</a:t>
            </a:r>
          </a:p>
        </p:txBody>
      </p:sp>
      <p:sp>
        <p:nvSpPr>
          <p:cNvPr id="36" name="Text Placeholder 18">
            <a:extLst>
              <a:ext uri="{FF2B5EF4-FFF2-40B4-BE49-F238E27FC236}">
                <a16:creationId xmlns:a16="http://schemas.microsoft.com/office/drawing/2014/main" id="{4B5F202E-21CC-1B4D-A21D-5E824680D7C3}"/>
              </a:ext>
            </a:extLst>
          </p:cNvPr>
          <p:cNvSpPr>
            <a:spLocks noGrp="1"/>
          </p:cNvSpPr>
          <p:nvPr>
            <p:ph type="body" sz="quarter" idx="40" hasCustomPrompt="1"/>
          </p:nvPr>
        </p:nvSpPr>
        <p:spPr>
          <a:xfrm>
            <a:off x="6627617" y="1300220"/>
            <a:ext cx="2152968" cy="828564"/>
          </a:xfrm>
          <a:prstGeom prst="rect">
            <a:avLst/>
          </a:prstGeom>
        </p:spPr>
        <p:txBody>
          <a:bodyPr anchor="ctr">
            <a:noAutofit/>
          </a:bodyPr>
          <a:lstStyle>
            <a:lvl1pPr marL="0" indent="0" algn="l">
              <a:lnSpc>
                <a:spcPct val="85000"/>
              </a:lnSpc>
              <a:spcBef>
                <a:spcPts val="0"/>
              </a:spcBef>
              <a:buNone/>
              <a:defRPr sz="7500" b="1" spc="40" baseline="0">
                <a:solidFill>
                  <a:schemeClr val="bg1"/>
                </a:solidFill>
              </a:defRPr>
            </a:lvl1pPr>
          </a:lstStyle>
          <a:p>
            <a:pPr lvl="0"/>
            <a:r>
              <a:rPr lang="en-US" noProof="0"/>
              <a:t>XX%</a:t>
            </a:r>
          </a:p>
        </p:txBody>
      </p:sp>
      <p:sp>
        <p:nvSpPr>
          <p:cNvPr id="37" name="Text Placeholder 18">
            <a:extLst>
              <a:ext uri="{FF2B5EF4-FFF2-40B4-BE49-F238E27FC236}">
                <a16:creationId xmlns:a16="http://schemas.microsoft.com/office/drawing/2014/main" id="{8D75ACEF-8209-9749-9CB8-7EA7DA9892D4}"/>
              </a:ext>
            </a:extLst>
          </p:cNvPr>
          <p:cNvSpPr>
            <a:spLocks noGrp="1"/>
          </p:cNvSpPr>
          <p:nvPr>
            <p:ph type="body" sz="quarter" idx="41" hasCustomPrompt="1"/>
          </p:nvPr>
        </p:nvSpPr>
        <p:spPr>
          <a:xfrm>
            <a:off x="8762237" y="4729219"/>
            <a:ext cx="2491409" cy="828564"/>
          </a:xfrm>
          <a:prstGeom prst="rect">
            <a:avLst/>
          </a:prstGeom>
        </p:spPr>
        <p:txBody>
          <a:bodyPr anchor="ctr">
            <a:noAutofit/>
          </a:bodyPr>
          <a:lstStyle>
            <a:lvl1pPr marL="0" indent="0" algn="l">
              <a:lnSpc>
                <a:spcPct val="85000"/>
              </a:lnSpc>
              <a:spcBef>
                <a:spcPts val="0"/>
              </a:spcBef>
              <a:buNone/>
              <a:defRPr sz="1800" spc="40" baseline="0">
                <a:solidFill>
                  <a:schemeClr val="bg1"/>
                </a:solidFill>
              </a:defRPr>
            </a:lvl1pPr>
          </a:lstStyle>
          <a:p>
            <a:pPr lvl="0"/>
            <a:r>
              <a:rPr lang="en-US" noProof="0"/>
              <a:t>Click to add text</a:t>
            </a:r>
          </a:p>
        </p:txBody>
      </p:sp>
      <p:sp>
        <p:nvSpPr>
          <p:cNvPr id="38" name="Text Placeholder 18">
            <a:extLst>
              <a:ext uri="{FF2B5EF4-FFF2-40B4-BE49-F238E27FC236}">
                <a16:creationId xmlns:a16="http://schemas.microsoft.com/office/drawing/2014/main" id="{1469836C-111D-B74A-A176-3FEDB9A33016}"/>
              </a:ext>
            </a:extLst>
          </p:cNvPr>
          <p:cNvSpPr>
            <a:spLocks noGrp="1"/>
          </p:cNvSpPr>
          <p:nvPr>
            <p:ph type="body" sz="quarter" idx="42" hasCustomPrompt="1"/>
          </p:nvPr>
        </p:nvSpPr>
        <p:spPr>
          <a:xfrm>
            <a:off x="6627617" y="4729219"/>
            <a:ext cx="2152968" cy="828564"/>
          </a:xfrm>
          <a:prstGeom prst="rect">
            <a:avLst/>
          </a:prstGeom>
        </p:spPr>
        <p:txBody>
          <a:bodyPr anchor="ctr">
            <a:noAutofit/>
          </a:bodyPr>
          <a:lstStyle>
            <a:lvl1pPr marL="0" indent="0" algn="l">
              <a:lnSpc>
                <a:spcPct val="85000"/>
              </a:lnSpc>
              <a:spcBef>
                <a:spcPts val="0"/>
              </a:spcBef>
              <a:buNone/>
              <a:defRPr sz="7500" b="1" spc="40" baseline="0">
                <a:solidFill>
                  <a:schemeClr val="bg1"/>
                </a:solidFill>
              </a:defRPr>
            </a:lvl1pPr>
          </a:lstStyle>
          <a:p>
            <a:pPr lvl="0"/>
            <a:r>
              <a:rPr lang="en-US" noProof="0"/>
              <a:t>XX%</a:t>
            </a:r>
          </a:p>
        </p:txBody>
      </p:sp>
      <p:sp>
        <p:nvSpPr>
          <p:cNvPr id="17" name="textruta 5">
            <a:extLst>
              <a:ext uri="{FF2B5EF4-FFF2-40B4-BE49-F238E27FC236}">
                <a16:creationId xmlns:a16="http://schemas.microsoft.com/office/drawing/2014/main" id="{E90C3209-4C05-3C43-B48E-1ECBEF52FBA7}"/>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9" name="textruta 18">
            <a:extLst>
              <a:ext uri="{FF2B5EF4-FFF2-40B4-BE49-F238E27FC236}">
                <a16:creationId xmlns:a16="http://schemas.microsoft.com/office/drawing/2014/main" id="{88F68831-1F31-F148-A602-C4C4933E8B69}"/>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20" name="Rektangel 19">
            <a:extLst>
              <a:ext uri="{FF2B5EF4-FFF2-40B4-BE49-F238E27FC236}">
                <a16:creationId xmlns:a16="http://schemas.microsoft.com/office/drawing/2014/main" id="{C29F9589-B689-ED44-8A45-2DD215DCBD14}"/>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 name="Rektangel 20">
            <a:extLst>
              <a:ext uri="{FF2B5EF4-FFF2-40B4-BE49-F238E27FC236}">
                <a16:creationId xmlns:a16="http://schemas.microsoft.com/office/drawing/2014/main" id="{B0464F1E-024A-AA42-97B1-2B23E046CA94}"/>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Platshållare för datum 3">
            <a:extLst>
              <a:ext uri="{FF2B5EF4-FFF2-40B4-BE49-F238E27FC236}">
                <a16:creationId xmlns:a16="http://schemas.microsoft.com/office/drawing/2014/main" id="{AD71DE8A-70D0-DF46-9215-74304BF95816}"/>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C6CFF069-4DF9-4C60-8CA2-ACAA89F96A5E}" type="datetime1">
              <a:rPr lang="en-US" smtClean="0"/>
              <a:t>11/7/2025</a:t>
            </a:fld>
            <a:endParaRPr lang="en-US"/>
          </a:p>
        </p:txBody>
      </p:sp>
      <p:sp>
        <p:nvSpPr>
          <p:cNvPr id="23" name="Platshållare för sidfot 4">
            <a:extLst>
              <a:ext uri="{FF2B5EF4-FFF2-40B4-BE49-F238E27FC236}">
                <a16:creationId xmlns:a16="http://schemas.microsoft.com/office/drawing/2014/main" id="{51D5C77F-E4FC-CE46-8460-3ECBA17B7451}"/>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nb-NO"/>
              <a:t>Skanska Norge Hovedpresentasjon - desember 2022</a:t>
            </a:r>
            <a:endParaRPr lang="en-US"/>
          </a:p>
        </p:txBody>
      </p:sp>
      <p:sp>
        <p:nvSpPr>
          <p:cNvPr id="24" name="Platshållare för bildnummer 5">
            <a:extLst>
              <a:ext uri="{FF2B5EF4-FFF2-40B4-BE49-F238E27FC236}">
                <a16:creationId xmlns:a16="http://schemas.microsoft.com/office/drawing/2014/main" id="{69DE8965-1F24-2141-B9C3-65976942F2F1}"/>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25" name="Text Placeholder 4">
            <a:extLst>
              <a:ext uri="{FF2B5EF4-FFF2-40B4-BE49-F238E27FC236}">
                <a16:creationId xmlns:a16="http://schemas.microsoft.com/office/drawing/2014/main" id="{FE0E1D06-6CCE-1142-8EDF-E1C3A54A7FD1}"/>
              </a:ext>
            </a:extLst>
          </p:cNvPr>
          <p:cNvSpPr>
            <a:spLocks noGrp="1"/>
          </p:cNvSpPr>
          <p:nvPr>
            <p:ph type="body" sz="quarter" idx="43"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6" name="Text Placeholder 4">
            <a:extLst>
              <a:ext uri="{FF2B5EF4-FFF2-40B4-BE49-F238E27FC236}">
                <a16:creationId xmlns:a16="http://schemas.microsoft.com/office/drawing/2014/main" id="{739985EA-42BD-7B49-BFB3-4CC099D34377}"/>
              </a:ext>
            </a:extLst>
          </p:cNvPr>
          <p:cNvSpPr>
            <a:spLocks noGrp="1"/>
          </p:cNvSpPr>
          <p:nvPr>
            <p:ph type="body" sz="quarter" idx="44" hasCustomPrompt="1"/>
          </p:nvPr>
        </p:nvSpPr>
        <p:spPr>
          <a:xfrm rot="5400000">
            <a:off x="4805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7" name="Text Placeholder 4">
            <a:extLst>
              <a:ext uri="{FF2B5EF4-FFF2-40B4-BE49-F238E27FC236}">
                <a16:creationId xmlns:a16="http://schemas.microsoft.com/office/drawing/2014/main" id="{768BF38A-9DCF-A849-8886-2CB394E1E2A9}"/>
              </a:ext>
            </a:extLst>
          </p:cNvPr>
          <p:cNvSpPr>
            <a:spLocks noGrp="1"/>
          </p:cNvSpPr>
          <p:nvPr>
            <p:ph type="body" sz="quarter" idx="45" hasCustomPrompt="1"/>
          </p:nvPr>
        </p:nvSpPr>
        <p:spPr>
          <a:xfrm rot="5400000">
            <a:off x="4805730" y="4232646"/>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31" name="Text Placeholder 4">
            <a:extLst>
              <a:ext uri="{FF2B5EF4-FFF2-40B4-BE49-F238E27FC236}">
                <a16:creationId xmlns:a16="http://schemas.microsoft.com/office/drawing/2014/main" id="{2F363A2B-194E-9D4E-91E2-5DE1EBFE1122}"/>
              </a:ext>
            </a:extLst>
          </p:cNvPr>
          <p:cNvSpPr>
            <a:spLocks noGrp="1"/>
          </p:cNvSpPr>
          <p:nvPr>
            <p:ph type="body" sz="quarter" idx="46" hasCustomPrompt="1"/>
          </p:nvPr>
        </p:nvSpPr>
        <p:spPr>
          <a:xfrm rot="5400000">
            <a:off x="10901730" y="4232646"/>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4667913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6 Headline Text">
    <p:spTree>
      <p:nvGrpSpPr>
        <p:cNvPr id="1" name=""/>
        <p:cNvGrpSpPr/>
        <p:nvPr/>
      </p:nvGrpSpPr>
      <p:grpSpPr>
        <a:xfrm>
          <a:off x="0" y="0"/>
          <a:ext cx="0" cy="0"/>
          <a:chOff x="0" y="0"/>
          <a:chExt cx="0" cy="0"/>
        </a:xfrm>
      </p:grpSpPr>
      <p:grpSp>
        <p:nvGrpSpPr>
          <p:cNvPr id="17" name="Grupp 32">
            <a:extLst>
              <a:ext uri="{FF2B5EF4-FFF2-40B4-BE49-F238E27FC236}">
                <a16:creationId xmlns:a16="http://schemas.microsoft.com/office/drawing/2014/main" id="{06A06E8E-9AC5-474F-9D8F-BE8A4B8DF25A}"/>
              </a:ext>
            </a:extLst>
          </p:cNvPr>
          <p:cNvGrpSpPr/>
          <p:nvPr userDrawn="1"/>
        </p:nvGrpSpPr>
        <p:grpSpPr>
          <a:xfrm>
            <a:off x="576140" y="6451484"/>
            <a:ext cx="615478" cy="91194"/>
            <a:chOff x="576140" y="6451484"/>
            <a:chExt cx="615478" cy="91194"/>
          </a:xfrm>
          <a:solidFill>
            <a:schemeClr val="tx2"/>
          </a:solidFill>
        </p:grpSpPr>
        <p:sp>
          <p:nvSpPr>
            <p:cNvPr id="18" name="Bild 2">
              <a:extLst>
                <a:ext uri="{FF2B5EF4-FFF2-40B4-BE49-F238E27FC236}">
                  <a16:creationId xmlns:a16="http://schemas.microsoft.com/office/drawing/2014/main" id="{75F62DFF-CE28-2847-9178-371361C4B379}"/>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9" name="Bild 2">
              <a:extLst>
                <a:ext uri="{FF2B5EF4-FFF2-40B4-BE49-F238E27FC236}">
                  <a16:creationId xmlns:a16="http://schemas.microsoft.com/office/drawing/2014/main" id="{56F4E682-4CA9-5346-8CD6-98F8EACD6CE7}"/>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0" name="Bild 2">
              <a:extLst>
                <a:ext uri="{FF2B5EF4-FFF2-40B4-BE49-F238E27FC236}">
                  <a16:creationId xmlns:a16="http://schemas.microsoft.com/office/drawing/2014/main" id="{11510029-65DB-F040-9ED5-A182045EEF2B}"/>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1" name="Bild 2">
              <a:extLst>
                <a:ext uri="{FF2B5EF4-FFF2-40B4-BE49-F238E27FC236}">
                  <a16:creationId xmlns:a16="http://schemas.microsoft.com/office/drawing/2014/main" id="{882E3E49-2F44-5445-B3D9-4FA93CE1837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2" name="Bild 2">
              <a:extLst>
                <a:ext uri="{FF2B5EF4-FFF2-40B4-BE49-F238E27FC236}">
                  <a16:creationId xmlns:a16="http://schemas.microsoft.com/office/drawing/2014/main" id="{E77E397B-C384-F949-9F60-67A86BD39DCA}"/>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DBE8665D-1D7B-BC49-9416-388A79FA9660}"/>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E25BD59B-C1DD-BF4D-89DA-D56603C3E329}"/>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26" name="Text Placeholder 18">
            <a:extLst>
              <a:ext uri="{FF2B5EF4-FFF2-40B4-BE49-F238E27FC236}">
                <a16:creationId xmlns:a16="http://schemas.microsoft.com/office/drawing/2014/main" id="{A6ED295F-AFF0-3548-BAA8-8DAFA2BDE3F6}"/>
              </a:ext>
            </a:extLst>
          </p:cNvPr>
          <p:cNvSpPr>
            <a:spLocks noGrp="1"/>
          </p:cNvSpPr>
          <p:nvPr>
            <p:ph type="body" sz="quarter" idx="14" hasCustomPrompt="1"/>
          </p:nvPr>
        </p:nvSpPr>
        <p:spPr>
          <a:xfrm>
            <a:off x="576000" y="731027"/>
            <a:ext cx="11039738" cy="860400"/>
          </a:xfrm>
          <a:prstGeom prst="rect">
            <a:avLst/>
          </a:prstGeom>
        </p:spPr>
        <p:txBody>
          <a:bodyPr anchor="t">
            <a:noAutofit/>
          </a:bodyPr>
          <a:lstStyle>
            <a:lvl1pPr marL="0" indent="0">
              <a:lnSpc>
                <a:spcPct val="85000"/>
              </a:lnSpc>
              <a:spcBef>
                <a:spcPts val="0"/>
              </a:spcBef>
              <a:buNone/>
              <a:defRPr sz="3600" spc="40" baseline="0">
                <a:solidFill>
                  <a:schemeClr val="tx2"/>
                </a:solidFill>
              </a:defRPr>
            </a:lvl1pPr>
          </a:lstStyle>
          <a:p>
            <a:pPr lvl="0"/>
            <a:r>
              <a:rPr lang="en-US" noProof="0"/>
              <a:t>Click to add a headline of maximum two lines</a:t>
            </a:r>
          </a:p>
        </p:txBody>
      </p:sp>
      <p:sp>
        <p:nvSpPr>
          <p:cNvPr id="25" name="Platshållare för text 11">
            <a:extLst>
              <a:ext uri="{FF2B5EF4-FFF2-40B4-BE49-F238E27FC236}">
                <a16:creationId xmlns:a16="http://schemas.microsoft.com/office/drawing/2014/main" id="{2E8EBC9E-D535-B04E-BD8C-391B61C35F12}"/>
              </a:ext>
            </a:extLst>
          </p:cNvPr>
          <p:cNvSpPr>
            <a:spLocks noGrp="1"/>
          </p:cNvSpPr>
          <p:nvPr>
            <p:ph type="body" sz="quarter" idx="20" hasCustomPrompt="1"/>
          </p:nvPr>
        </p:nvSpPr>
        <p:spPr>
          <a:xfrm>
            <a:off x="576000" y="2527200"/>
            <a:ext cx="5377125" cy="3600450"/>
          </a:xfrm>
        </p:spPr>
        <p:txBody>
          <a:body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15" name="Platshållare för datum 3">
            <a:extLst>
              <a:ext uri="{FF2B5EF4-FFF2-40B4-BE49-F238E27FC236}">
                <a16:creationId xmlns:a16="http://schemas.microsoft.com/office/drawing/2014/main" id="{733CC2DA-8DFA-764F-8E5E-F7A7044146E6}"/>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75D92247-0B16-4AFD-8202-6AF228797CDA}" type="datetime1">
              <a:rPr lang="en-US" noProof="0" smtClean="0"/>
              <a:t>11/7/2025</a:t>
            </a:fld>
            <a:endParaRPr lang="en-US" noProof="0"/>
          </a:p>
        </p:txBody>
      </p:sp>
      <p:sp>
        <p:nvSpPr>
          <p:cNvPr id="16" name="Platshållare för sidfot 4">
            <a:extLst>
              <a:ext uri="{FF2B5EF4-FFF2-40B4-BE49-F238E27FC236}">
                <a16:creationId xmlns:a16="http://schemas.microsoft.com/office/drawing/2014/main" id="{067D4784-F924-C644-B32C-74F9BB27C9B2}"/>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nb-NO" noProof="0"/>
              <a:t>Skanska Norge Hovedpresentasjon - desember 2022</a:t>
            </a:r>
            <a:endParaRPr lang="en-US" noProof="0"/>
          </a:p>
        </p:txBody>
      </p:sp>
      <p:sp>
        <p:nvSpPr>
          <p:cNvPr id="27" name="Platshållare för bildnummer 5">
            <a:extLst>
              <a:ext uri="{FF2B5EF4-FFF2-40B4-BE49-F238E27FC236}">
                <a16:creationId xmlns:a16="http://schemas.microsoft.com/office/drawing/2014/main" id="{31F4C005-599D-6342-ABC7-0A72573226B1}"/>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81591805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6 Headline ">
    <p:spTree>
      <p:nvGrpSpPr>
        <p:cNvPr id="1" name=""/>
        <p:cNvGrpSpPr/>
        <p:nvPr/>
      </p:nvGrpSpPr>
      <p:grpSpPr>
        <a:xfrm>
          <a:off x="0" y="0"/>
          <a:ext cx="0" cy="0"/>
          <a:chOff x="0" y="0"/>
          <a:chExt cx="0" cy="0"/>
        </a:xfrm>
      </p:grpSpPr>
      <p:grpSp>
        <p:nvGrpSpPr>
          <p:cNvPr id="17" name="Grupp 32">
            <a:extLst>
              <a:ext uri="{FF2B5EF4-FFF2-40B4-BE49-F238E27FC236}">
                <a16:creationId xmlns:a16="http://schemas.microsoft.com/office/drawing/2014/main" id="{06A06E8E-9AC5-474F-9D8F-BE8A4B8DF25A}"/>
              </a:ext>
            </a:extLst>
          </p:cNvPr>
          <p:cNvGrpSpPr/>
          <p:nvPr userDrawn="1"/>
        </p:nvGrpSpPr>
        <p:grpSpPr>
          <a:xfrm>
            <a:off x="576140" y="6451484"/>
            <a:ext cx="615478" cy="91194"/>
            <a:chOff x="576140" y="6451484"/>
            <a:chExt cx="615478" cy="91194"/>
          </a:xfrm>
          <a:solidFill>
            <a:schemeClr val="tx2"/>
          </a:solidFill>
        </p:grpSpPr>
        <p:sp>
          <p:nvSpPr>
            <p:cNvPr id="18" name="Bild 2">
              <a:extLst>
                <a:ext uri="{FF2B5EF4-FFF2-40B4-BE49-F238E27FC236}">
                  <a16:creationId xmlns:a16="http://schemas.microsoft.com/office/drawing/2014/main" id="{75F62DFF-CE28-2847-9178-371361C4B379}"/>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9" name="Bild 2">
              <a:extLst>
                <a:ext uri="{FF2B5EF4-FFF2-40B4-BE49-F238E27FC236}">
                  <a16:creationId xmlns:a16="http://schemas.microsoft.com/office/drawing/2014/main" id="{56F4E682-4CA9-5346-8CD6-98F8EACD6CE7}"/>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0" name="Bild 2">
              <a:extLst>
                <a:ext uri="{FF2B5EF4-FFF2-40B4-BE49-F238E27FC236}">
                  <a16:creationId xmlns:a16="http://schemas.microsoft.com/office/drawing/2014/main" id="{11510029-65DB-F040-9ED5-A182045EEF2B}"/>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1" name="Bild 2">
              <a:extLst>
                <a:ext uri="{FF2B5EF4-FFF2-40B4-BE49-F238E27FC236}">
                  <a16:creationId xmlns:a16="http://schemas.microsoft.com/office/drawing/2014/main" id="{882E3E49-2F44-5445-B3D9-4FA93CE1837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2" name="Bild 2">
              <a:extLst>
                <a:ext uri="{FF2B5EF4-FFF2-40B4-BE49-F238E27FC236}">
                  <a16:creationId xmlns:a16="http://schemas.microsoft.com/office/drawing/2014/main" id="{E77E397B-C384-F949-9F60-67A86BD39DCA}"/>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DBE8665D-1D7B-BC49-9416-388A79FA9660}"/>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E25BD59B-C1DD-BF4D-89DA-D56603C3E329}"/>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26" name="Text Placeholder 18">
            <a:extLst>
              <a:ext uri="{FF2B5EF4-FFF2-40B4-BE49-F238E27FC236}">
                <a16:creationId xmlns:a16="http://schemas.microsoft.com/office/drawing/2014/main" id="{A6ED295F-AFF0-3548-BAA8-8DAFA2BDE3F6}"/>
              </a:ext>
            </a:extLst>
          </p:cNvPr>
          <p:cNvSpPr>
            <a:spLocks noGrp="1"/>
          </p:cNvSpPr>
          <p:nvPr>
            <p:ph type="body" sz="quarter" idx="14" hasCustomPrompt="1"/>
          </p:nvPr>
        </p:nvSpPr>
        <p:spPr>
          <a:xfrm>
            <a:off x="576000" y="731027"/>
            <a:ext cx="11039738" cy="860400"/>
          </a:xfrm>
          <a:prstGeom prst="rect">
            <a:avLst/>
          </a:prstGeom>
        </p:spPr>
        <p:txBody>
          <a:bodyPr anchor="t">
            <a:noAutofit/>
          </a:bodyPr>
          <a:lstStyle>
            <a:lvl1pPr marL="0" indent="0">
              <a:lnSpc>
                <a:spcPct val="85000"/>
              </a:lnSpc>
              <a:spcBef>
                <a:spcPts val="0"/>
              </a:spcBef>
              <a:buNone/>
              <a:defRPr sz="3600" spc="40" baseline="0">
                <a:solidFill>
                  <a:schemeClr val="tx2"/>
                </a:solidFill>
              </a:defRPr>
            </a:lvl1pPr>
          </a:lstStyle>
          <a:p>
            <a:pPr lvl="0"/>
            <a:r>
              <a:rPr lang="en-US" noProof="0"/>
              <a:t>Click to add a headline of maximum two lines</a:t>
            </a:r>
          </a:p>
        </p:txBody>
      </p:sp>
      <p:sp>
        <p:nvSpPr>
          <p:cNvPr id="14" name="Platshållare för datum 3">
            <a:extLst>
              <a:ext uri="{FF2B5EF4-FFF2-40B4-BE49-F238E27FC236}">
                <a16:creationId xmlns:a16="http://schemas.microsoft.com/office/drawing/2014/main" id="{9C1934A2-EB43-A541-ABF7-DFD6DAC1C1C4}"/>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360634AF-D4B6-4A03-841B-26F2FFD177F1}" type="datetime1">
              <a:rPr lang="en-US" noProof="0" smtClean="0"/>
              <a:t>11/7/2025</a:t>
            </a:fld>
            <a:endParaRPr lang="en-US" noProof="0"/>
          </a:p>
        </p:txBody>
      </p:sp>
      <p:sp>
        <p:nvSpPr>
          <p:cNvPr id="15" name="Platshållare för sidfot 4">
            <a:extLst>
              <a:ext uri="{FF2B5EF4-FFF2-40B4-BE49-F238E27FC236}">
                <a16:creationId xmlns:a16="http://schemas.microsoft.com/office/drawing/2014/main" id="{807641CB-078D-B646-AE67-0C86E0D76448}"/>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nb-NO" noProof="0"/>
              <a:t>Skanska Norge Hovedpresentasjon - desember 2022</a:t>
            </a:r>
            <a:endParaRPr lang="en-US" noProof="0"/>
          </a:p>
        </p:txBody>
      </p:sp>
      <p:sp>
        <p:nvSpPr>
          <p:cNvPr id="16" name="Platshållare för bildnummer 5">
            <a:extLst>
              <a:ext uri="{FF2B5EF4-FFF2-40B4-BE49-F238E27FC236}">
                <a16:creationId xmlns:a16="http://schemas.microsoft.com/office/drawing/2014/main" id="{4CB4CD08-4408-2840-8AF0-58D2BC6B5352}"/>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86596568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7 Text Icon Chart Image">
    <p:bg>
      <p:bgRef idx="1001">
        <a:schemeClr val="bg2"/>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69996D2C-9C03-C349-8592-6BA5B004250B}"/>
              </a:ext>
            </a:extLst>
          </p:cNvPr>
          <p:cNvSpPr/>
          <p:nvPr userDrawn="1"/>
        </p:nvSpPr>
        <p:spPr>
          <a:xfrm>
            <a:off x="0" y="0"/>
            <a:ext cx="4057651" cy="68580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Picture Placeholder 10">
            <a:extLst>
              <a:ext uri="{FF2B5EF4-FFF2-40B4-BE49-F238E27FC236}">
                <a16:creationId xmlns:a16="http://schemas.microsoft.com/office/drawing/2014/main" id="{83718FC5-379A-3343-904E-06A5A117D84C}"/>
              </a:ext>
            </a:extLst>
          </p:cNvPr>
          <p:cNvSpPr>
            <a:spLocks noGrp="1"/>
          </p:cNvSpPr>
          <p:nvPr>
            <p:ph type="pic" sz="quarter" idx="18" hasCustomPrompt="1"/>
          </p:nvPr>
        </p:nvSpPr>
        <p:spPr>
          <a:xfrm>
            <a:off x="4057651" y="0"/>
            <a:ext cx="8132760" cy="6857997"/>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bg2"/>
                </a:solidFill>
              </a:defRPr>
            </a:lvl1pPr>
          </a:lstStyle>
          <a:p>
            <a:r>
              <a:rPr lang="en-US" noProof="0"/>
              <a:t>Click on the icon to add an image</a:t>
            </a:r>
          </a:p>
        </p:txBody>
      </p:sp>
      <p:grpSp>
        <p:nvGrpSpPr>
          <p:cNvPr id="21" name="Grupp 32">
            <a:extLst>
              <a:ext uri="{FF2B5EF4-FFF2-40B4-BE49-F238E27FC236}">
                <a16:creationId xmlns:a16="http://schemas.microsoft.com/office/drawing/2014/main" id="{CF6F4381-F814-DC49-BAE8-DA80AFFD9E68}"/>
              </a:ext>
            </a:extLst>
          </p:cNvPr>
          <p:cNvGrpSpPr/>
          <p:nvPr userDrawn="1"/>
        </p:nvGrpSpPr>
        <p:grpSpPr>
          <a:xfrm>
            <a:off x="576140" y="6451484"/>
            <a:ext cx="615478" cy="91194"/>
            <a:chOff x="576140" y="6451484"/>
            <a:chExt cx="615478" cy="91194"/>
          </a:xfrm>
          <a:solidFill>
            <a:schemeClr val="bg2"/>
          </a:solidFill>
        </p:grpSpPr>
        <p:sp>
          <p:nvSpPr>
            <p:cNvPr id="22" name="Bild 2">
              <a:extLst>
                <a:ext uri="{FF2B5EF4-FFF2-40B4-BE49-F238E27FC236}">
                  <a16:creationId xmlns:a16="http://schemas.microsoft.com/office/drawing/2014/main" id="{62E9B87D-A5ED-B24D-896A-D5B9B26AB281}"/>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bg2"/>
                </a:solidFill>
              </a:endParaRPr>
            </a:p>
          </p:txBody>
        </p:sp>
        <p:sp>
          <p:nvSpPr>
            <p:cNvPr id="23" name="Bild 2">
              <a:extLst>
                <a:ext uri="{FF2B5EF4-FFF2-40B4-BE49-F238E27FC236}">
                  <a16:creationId xmlns:a16="http://schemas.microsoft.com/office/drawing/2014/main" id="{A0B698E7-BE43-3549-8D56-915B3552259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bg2"/>
                </a:solidFill>
              </a:endParaRPr>
            </a:p>
          </p:txBody>
        </p:sp>
        <p:sp>
          <p:nvSpPr>
            <p:cNvPr id="24" name="Bild 2">
              <a:extLst>
                <a:ext uri="{FF2B5EF4-FFF2-40B4-BE49-F238E27FC236}">
                  <a16:creationId xmlns:a16="http://schemas.microsoft.com/office/drawing/2014/main" id="{AE8F0FFE-43AD-8B46-AD52-5AAAB3A7E141}"/>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bg2"/>
                </a:solidFill>
              </a:endParaRPr>
            </a:p>
          </p:txBody>
        </p:sp>
        <p:sp>
          <p:nvSpPr>
            <p:cNvPr id="33" name="Bild 2">
              <a:extLst>
                <a:ext uri="{FF2B5EF4-FFF2-40B4-BE49-F238E27FC236}">
                  <a16:creationId xmlns:a16="http://schemas.microsoft.com/office/drawing/2014/main" id="{F449D80C-39D5-B049-8099-1AB0DFB21C56}"/>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bg2"/>
                </a:solidFill>
              </a:endParaRPr>
            </a:p>
          </p:txBody>
        </p:sp>
        <p:sp>
          <p:nvSpPr>
            <p:cNvPr id="34" name="Bild 2">
              <a:extLst>
                <a:ext uri="{FF2B5EF4-FFF2-40B4-BE49-F238E27FC236}">
                  <a16:creationId xmlns:a16="http://schemas.microsoft.com/office/drawing/2014/main" id="{20D2215C-82C7-5E49-AD19-A866B46120D1}"/>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bg2"/>
                </a:solidFill>
              </a:endParaRPr>
            </a:p>
          </p:txBody>
        </p:sp>
        <p:sp>
          <p:nvSpPr>
            <p:cNvPr id="35" name="Bild 2">
              <a:extLst>
                <a:ext uri="{FF2B5EF4-FFF2-40B4-BE49-F238E27FC236}">
                  <a16:creationId xmlns:a16="http://schemas.microsoft.com/office/drawing/2014/main" id="{70CBD1E9-7FEE-9349-9D43-444D469EBEE7}"/>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bg2"/>
                </a:solidFill>
              </a:endParaRPr>
            </a:p>
          </p:txBody>
        </p:sp>
        <p:sp>
          <p:nvSpPr>
            <p:cNvPr id="36" name="Bild 2">
              <a:extLst>
                <a:ext uri="{FF2B5EF4-FFF2-40B4-BE49-F238E27FC236}">
                  <a16:creationId xmlns:a16="http://schemas.microsoft.com/office/drawing/2014/main" id="{2BE0EC2B-5FD2-9449-827A-76C703008BD0}"/>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bg2"/>
                </a:solidFill>
              </a:endParaRPr>
            </a:p>
          </p:txBody>
        </p:sp>
      </p:grpSp>
      <p:sp>
        <p:nvSpPr>
          <p:cNvPr id="3" name="Picture Placeholder 2">
            <a:extLst>
              <a:ext uri="{FF2B5EF4-FFF2-40B4-BE49-F238E27FC236}">
                <a16:creationId xmlns:a16="http://schemas.microsoft.com/office/drawing/2014/main" id="{6E176A13-FE45-764E-B91A-CA0FC875F39D}"/>
              </a:ext>
            </a:extLst>
          </p:cNvPr>
          <p:cNvSpPr>
            <a:spLocks noGrp="1"/>
          </p:cNvSpPr>
          <p:nvPr>
            <p:ph type="pic" sz="quarter" idx="31" hasCustomPrompt="1"/>
          </p:nvPr>
        </p:nvSpPr>
        <p:spPr>
          <a:xfrm>
            <a:off x="4359275" y="720725"/>
            <a:ext cx="960438" cy="844550"/>
          </a:xfrm>
        </p:spPr>
        <p:txBody>
          <a:bodyPr/>
          <a:lstStyle>
            <a:lvl1pPr marL="12700" indent="0" algn="ctr">
              <a:buNone/>
              <a:defRPr sz="1300">
                <a:solidFill>
                  <a:schemeClr val="bg2"/>
                </a:solidFill>
              </a:defRPr>
            </a:lvl1pPr>
          </a:lstStyle>
          <a:p>
            <a:r>
              <a:rPr lang="en-US" noProof="0"/>
              <a:t>Click to </a:t>
            </a:r>
            <a:br>
              <a:rPr lang="en-US" noProof="0"/>
            </a:br>
            <a:r>
              <a:rPr lang="en-US" noProof="0"/>
              <a:t>add icon</a:t>
            </a:r>
          </a:p>
        </p:txBody>
      </p:sp>
      <p:sp>
        <p:nvSpPr>
          <p:cNvPr id="26" name="Text Placeholder 7">
            <a:extLst>
              <a:ext uri="{FF2B5EF4-FFF2-40B4-BE49-F238E27FC236}">
                <a16:creationId xmlns:a16="http://schemas.microsoft.com/office/drawing/2014/main" id="{0D3A9D31-7EB1-064E-9796-404FE68E0632}"/>
              </a:ext>
            </a:extLst>
          </p:cNvPr>
          <p:cNvSpPr>
            <a:spLocks noGrp="1"/>
          </p:cNvSpPr>
          <p:nvPr>
            <p:ph type="body" sz="quarter" idx="32" hasCustomPrompt="1"/>
          </p:nvPr>
        </p:nvSpPr>
        <p:spPr>
          <a:xfrm>
            <a:off x="5376961" y="731028"/>
            <a:ext cx="2452589" cy="844550"/>
          </a:xfrm>
        </p:spPr>
        <p:txBody>
          <a:bodyPr/>
          <a:lstStyle>
            <a:lvl1pPr marL="0" indent="0">
              <a:lnSpc>
                <a:spcPct val="100000"/>
              </a:lnSpc>
              <a:spcBef>
                <a:spcPts val="0"/>
              </a:spcBef>
              <a:spcAft>
                <a:spcPts val="800"/>
              </a:spcAft>
              <a:buNone/>
              <a:defRPr sz="1400" b="1" spc="40" baseline="0">
                <a:solidFill>
                  <a:schemeClr val="tx1"/>
                </a:solidFill>
              </a:defRPr>
            </a:lvl1pPr>
            <a:lvl2pPr marL="0" indent="0">
              <a:lnSpc>
                <a:spcPct val="100000"/>
              </a:lnSpc>
              <a:spcBef>
                <a:spcPts val="0"/>
              </a:spcBef>
              <a:spcAft>
                <a:spcPts val="600"/>
              </a:spcAft>
              <a:buNone/>
              <a:defRPr sz="1200" spc="40" baseline="0">
                <a:solidFill>
                  <a:schemeClr val="tx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9" name="Chart Placeholder 8">
            <a:extLst>
              <a:ext uri="{FF2B5EF4-FFF2-40B4-BE49-F238E27FC236}">
                <a16:creationId xmlns:a16="http://schemas.microsoft.com/office/drawing/2014/main" id="{24D8D89D-9C5F-BF4B-912F-76A7A44AB335}"/>
              </a:ext>
            </a:extLst>
          </p:cNvPr>
          <p:cNvSpPr>
            <a:spLocks noGrp="1"/>
          </p:cNvSpPr>
          <p:nvPr>
            <p:ph type="chart" sz="quarter" idx="33" hasCustomPrompt="1"/>
          </p:nvPr>
        </p:nvSpPr>
        <p:spPr>
          <a:xfrm>
            <a:off x="4220308" y="2889250"/>
            <a:ext cx="3763107" cy="3240088"/>
          </a:xfrm>
        </p:spPr>
        <p:txBody>
          <a:bodyPr/>
          <a:lstStyle>
            <a:lvl1pPr marL="12700" indent="0" algn="ctr">
              <a:buNone/>
              <a:defRPr sz="1300">
                <a:solidFill>
                  <a:schemeClr val="bg2"/>
                </a:solidFill>
              </a:defRPr>
            </a:lvl1pPr>
          </a:lstStyle>
          <a:p>
            <a:r>
              <a:rPr lang="en-US" noProof="0"/>
              <a:t>Click to add chart</a:t>
            </a:r>
          </a:p>
        </p:txBody>
      </p:sp>
      <p:sp>
        <p:nvSpPr>
          <p:cNvPr id="25" name="Text Placeholder 18">
            <a:extLst>
              <a:ext uri="{FF2B5EF4-FFF2-40B4-BE49-F238E27FC236}">
                <a16:creationId xmlns:a16="http://schemas.microsoft.com/office/drawing/2014/main" id="{402B4924-D544-E045-8A5D-5A1B50315EA8}"/>
              </a:ext>
            </a:extLst>
          </p:cNvPr>
          <p:cNvSpPr>
            <a:spLocks noGrp="1"/>
          </p:cNvSpPr>
          <p:nvPr>
            <p:ph type="body" sz="quarter" idx="14" hasCustomPrompt="1"/>
          </p:nvPr>
        </p:nvSpPr>
        <p:spPr>
          <a:xfrm>
            <a:off x="576000" y="731027"/>
            <a:ext cx="3161113" cy="1365942"/>
          </a:xfrm>
          <a:prstGeom prst="rect">
            <a:avLst/>
          </a:prstGeom>
        </p:spPr>
        <p:txBody>
          <a:bodyPr anchor="t">
            <a:noAutofit/>
          </a:bodyPr>
          <a:lstStyle>
            <a:lvl1pPr marL="0" indent="0">
              <a:lnSpc>
                <a:spcPct val="85000"/>
              </a:lnSpc>
              <a:spcBef>
                <a:spcPts val="0"/>
              </a:spcBef>
              <a:buNone/>
              <a:defRPr sz="3600" spc="40" baseline="0">
                <a:solidFill>
                  <a:schemeClr val="bg2"/>
                </a:solidFill>
              </a:defRPr>
            </a:lvl1pPr>
          </a:lstStyle>
          <a:p>
            <a:pPr lvl="0"/>
            <a:r>
              <a:rPr lang="en-US" noProof="0"/>
              <a:t>Click for a short headline of three lines</a:t>
            </a:r>
          </a:p>
        </p:txBody>
      </p:sp>
      <p:sp>
        <p:nvSpPr>
          <p:cNvPr id="20" name="Platshållare för text 11">
            <a:extLst>
              <a:ext uri="{FF2B5EF4-FFF2-40B4-BE49-F238E27FC236}">
                <a16:creationId xmlns:a16="http://schemas.microsoft.com/office/drawing/2014/main" id="{4721DB45-968F-184E-B248-24AB3A48401D}"/>
              </a:ext>
            </a:extLst>
          </p:cNvPr>
          <p:cNvSpPr>
            <a:spLocks noGrp="1"/>
          </p:cNvSpPr>
          <p:nvPr>
            <p:ph type="body" sz="quarter" idx="20" hasCustomPrompt="1"/>
          </p:nvPr>
        </p:nvSpPr>
        <p:spPr>
          <a:xfrm>
            <a:off x="576000" y="2527200"/>
            <a:ext cx="3161113" cy="360045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27" name="Platshållare för datum 3">
            <a:extLst>
              <a:ext uri="{FF2B5EF4-FFF2-40B4-BE49-F238E27FC236}">
                <a16:creationId xmlns:a16="http://schemas.microsoft.com/office/drawing/2014/main" id="{FAF9D607-36F1-F548-8BE8-E89D82C29229}"/>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2"/>
                </a:solidFill>
              </a:defRPr>
            </a:lvl1pPr>
          </a:lstStyle>
          <a:p>
            <a:fld id="{734C0060-F81D-46D4-ACAE-89CCA372EA5A}" type="datetime1">
              <a:rPr lang="en-US" smtClean="0"/>
              <a:t>11/7/2025</a:t>
            </a:fld>
            <a:endParaRPr lang="en-US"/>
          </a:p>
        </p:txBody>
      </p:sp>
      <p:sp>
        <p:nvSpPr>
          <p:cNvPr id="28" name="Platshållare för sidfot 4">
            <a:extLst>
              <a:ext uri="{FF2B5EF4-FFF2-40B4-BE49-F238E27FC236}">
                <a16:creationId xmlns:a16="http://schemas.microsoft.com/office/drawing/2014/main" id="{2B4D299D-B6A8-FF4E-A311-009CA554292B}"/>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1"/>
                </a:solidFill>
              </a:defRPr>
            </a:lvl1pPr>
          </a:lstStyle>
          <a:p>
            <a:r>
              <a:rPr lang="nb-NO"/>
              <a:t>Skanska Norge Hovedpresentasjon - desember 2022</a:t>
            </a:r>
            <a:endParaRPr lang="en-US"/>
          </a:p>
        </p:txBody>
      </p:sp>
      <p:sp>
        <p:nvSpPr>
          <p:cNvPr id="29" name="Platshållare för bildnummer 5">
            <a:extLst>
              <a:ext uri="{FF2B5EF4-FFF2-40B4-BE49-F238E27FC236}">
                <a16:creationId xmlns:a16="http://schemas.microsoft.com/office/drawing/2014/main" id="{C6CA6BB0-51F4-9B41-8C7E-07CB4E264F05}"/>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1"/>
                </a:solidFill>
              </a:defRPr>
            </a:lvl1pPr>
          </a:lstStyle>
          <a:p>
            <a:fld id="{EF8DBD5B-30F9-4F9C-AE39-E065C1AC514D}" type="slidenum">
              <a:rPr lang="en-US" smtClean="0"/>
              <a:pPr/>
              <a:t>‹#›</a:t>
            </a:fld>
            <a:endParaRPr lang="en-US"/>
          </a:p>
        </p:txBody>
      </p:sp>
      <p:sp>
        <p:nvSpPr>
          <p:cNvPr id="30" name="textruta 24">
            <a:extLst>
              <a:ext uri="{FF2B5EF4-FFF2-40B4-BE49-F238E27FC236}">
                <a16:creationId xmlns:a16="http://schemas.microsoft.com/office/drawing/2014/main" id="{2263BE6B-DBE8-2144-BFF4-7A82555B8482}"/>
              </a:ext>
            </a:extLst>
          </p:cNvPr>
          <p:cNvSpPr txBox="1"/>
          <p:nvPr userDrawn="1"/>
        </p:nvSpPr>
        <p:spPr>
          <a:xfrm>
            <a:off x="12395260" y="0"/>
            <a:ext cx="1681523" cy="1892826"/>
          </a:xfrm>
          <a:prstGeom prst="rect">
            <a:avLst/>
          </a:prstGeom>
          <a:solidFill>
            <a:schemeClr val="tx1"/>
          </a:solidFill>
          <a:effectLst/>
        </p:spPr>
        <p:txBody>
          <a:bodyPr wrap="square" rtlCol="0" anchor="ctr" anchorCtr="0">
            <a:spAutoFit/>
          </a:bodyPr>
          <a:lstStyle/>
          <a:p>
            <a:pPr algn="ctr"/>
            <a:r>
              <a:rPr lang="en-US" sz="900" baseline="0" noProof="0">
                <a:solidFill>
                  <a:schemeClr val="bg1">
                    <a:lumMod val="65000"/>
                    <a:lumOff val="35000"/>
                  </a:schemeClr>
                </a:solidFill>
                <a:latin typeface="+mn-lt"/>
                <a:cs typeface="Arial" panose="020B0604020202020204" pitchFamily="34" charset="0"/>
              </a:rPr>
              <a:t>To change from </a:t>
            </a:r>
            <a:r>
              <a:rPr lang="en-US" sz="900" b="1" baseline="0" noProof="0">
                <a:solidFill>
                  <a:schemeClr val="bg1">
                    <a:lumMod val="65000"/>
                    <a:lumOff val="35000"/>
                  </a:schemeClr>
                </a:solidFill>
                <a:latin typeface="+mn-lt"/>
                <a:cs typeface="Arial" panose="020B0604020202020204" pitchFamily="34" charset="0"/>
              </a:rPr>
              <a:t>headline</a:t>
            </a:r>
            <a:r>
              <a:rPr lang="en-US" sz="900" baseline="0" noProof="0">
                <a:solidFill>
                  <a:schemeClr val="bg1">
                    <a:lumMod val="65000"/>
                    <a:lumOff val="35000"/>
                  </a:schemeClr>
                </a:solidFill>
                <a:latin typeface="+mn-lt"/>
                <a:cs typeface="Arial" panose="020B0604020202020204" pitchFamily="34" charset="0"/>
              </a:rPr>
              <a:t> to </a:t>
            </a:r>
            <a:r>
              <a:rPr lang="en-US" sz="900" b="1" baseline="0" noProof="0">
                <a:solidFill>
                  <a:schemeClr val="bg1">
                    <a:lumMod val="65000"/>
                    <a:lumOff val="35000"/>
                  </a:schemeClr>
                </a:solidFill>
                <a:latin typeface="+mn-lt"/>
                <a:cs typeface="Arial" panose="020B0604020202020204" pitchFamily="34" charset="0"/>
              </a:rPr>
              <a:t>body text on the textbox by the icon </a:t>
            </a:r>
            <a:r>
              <a:rPr lang="en-US" sz="900" baseline="0" noProof="0">
                <a:solidFill>
                  <a:schemeClr val="bg1">
                    <a:lumMod val="65000"/>
                    <a:lumOff val="35000"/>
                  </a:schemeClr>
                </a:solidFill>
                <a:latin typeface="+mn-lt"/>
                <a:cs typeface="Arial" panose="020B0604020202020204" pitchFamily="34" charset="0"/>
              </a:rPr>
              <a:t>or to </a:t>
            </a:r>
            <a:r>
              <a:rPr lang="en-US" sz="900" b="1" baseline="0" noProof="0">
                <a:solidFill>
                  <a:schemeClr val="bg1">
                    <a:lumMod val="65000"/>
                    <a:lumOff val="35000"/>
                  </a:schemeClr>
                </a:solidFill>
                <a:latin typeface="+mn-lt"/>
                <a:cs typeface="Arial" panose="020B0604020202020204" pitchFamily="34" charset="0"/>
              </a:rPr>
              <a:t>use bullets</a:t>
            </a:r>
            <a:r>
              <a:rPr lang="en-US" sz="900" baseline="0" noProof="0">
                <a:solidFill>
                  <a:schemeClr val="bg1">
                    <a:lumMod val="65000"/>
                    <a:lumOff val="35000"/>
                  </a:schemeClr>
                </a:solidFill>
                <a:latin typeface="+mn-lt"/>
                <a:cs typeface="Arial" panose="020B0604020202020204" pitchFamily="34" charset="0"/>
              </a:rPr>
              <a:t>, press </a:t>
            </a:r>
            <a:r>
              <a:rPr lang="en-US" sz="900" b="1" baseline="0" noProof="0">
                <a:solidFill>
                  <a:schemeClr val="bg1">
                    <a:lumMod val="65000"/>
                    <a:lumOff val="35000"/>
                  </a:schemeClr>
                </a:solidFill>
                <a:latin typeface="+mn-lt"/>
                <a:cs typeface="Arial" panose="020B0604020202020204" pitchFamily="34" charset="0"/>
              </a:rPr>
              <a:t>enter/return </a:t>
            </a:r>
            <a:r>
              <a:rPr lang="en-US" sz="900" baseline="0" noProof="0">
                <a:solidFill>
                  <a:schemeClr val="bg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p:txBody>
      </p:sp>
      <p:pic>
        <p:nvPicPr>
          <p:cNvPr id="31" name="Picture 9">
            <a:extLst>
              <a:ext uri="{FF2B5EF4-FFF2-40B4-BE49-F238E27FC236}">
                <a16:creationId xmlns:a16="http://schemas.microsoft.com/office/drawing/2014/main" id="{E88E9015-6542-9943-8475-918EA370530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1037299"/>
            <a:ext cx="1422121" cy="721417"/>
          </a:xfrm>
          <a:prstGeom prst="rect">
            <a:avLst/>
          </a:prstGeom>
          <a:ln w="9525">
            <a:solidFill>
              <a:schemeClr val="tx2"/>
            </a:solidFill>
          </a:ln>
        </p:spPr>
      </p:pic>
      <p:sp>
        <p:nvSpPr>
          <p:cNvPr id="32" name="Oval 4">
            <a:extLst>
              <a:ext uri="{FF2B5EF4-FFF2-40B4-BE49-F238E27FC236}">
                <a16:creationId xmlns:a16="http://schemas.microsoft.com/office/drawing/2014/main" id="{6DECF5C4-EAE9-7B4C-BC70-78C468298771}"/>
              </a:ext>
            </a:extLst>
          </p:cNvPr>
          <p:cNvSpPr/>
          <p:nvPr userDrawn="1"/>
        </p:nvSpPr>
        <p:spPr>
          <a:xfrm>
            <a:off x="13194299" y="1260596"/>
            <a:ext cx="282818" cy="28281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37" name="Connector: Elbow 131">
            <a:extLst>
              <a:ext uri="{FF2B5EF4-FFF2-40B4-BE49-F238E27FC236}">
                <a16:creationId xmlns:a16="http://schemas.microsoft.com/office/drawing/2014/main" id="{0094DDC0-BA55-964B-9FCC-B8B23309AB29}"/>
              </a:ext>
            </a:extLst>
          </p:cNvPr>
          <p:cNvCxnSpPr>
            <a:cxnSpLocks/>
            <a:endCxn id="32" idx="0"/>
          </p:cNvCxnSpPr>
          <p:nvPr userDrawn="1"/>
        </p:nvCxnSpPr>
        <p:spPr>
          <a:xfrm rot="5400000">
            <a:off x="13324711" y="988776"/>
            <a:ext cx="282818" cy="260823"/>
          </a:xfrm>
          <a:prstGeom prst="bentConnector3">
            <a:avLst>
              <a:gd name="adj1" fmla="val 50000"/>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Text Placeholder 4">
            <a:extLst>
              <a:ext uri="{FF2B5EF4-FFF2-40B4-BE49-F238E27FC236}">
                <a16:creationId xmlns:a16="http://schemas.microsoft.com/office/drawing/2014/main" id="{A58A8633-CD9B-2644-8816-C9A085ABBA57}"/>
              </a:ext>
            </a:extLst>
          </p:cNvPr>
          <p:cNvSpPr>
            <a:spLocks noGrp="1"/>
          </p:cNvSpPr>
          <p:nvPr>
            <p:ph type="body" sz="quarter" idx="34"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tx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996380286"/>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7 Text Chart Image">
    <p:bg>
      <p:bgRef idx="1001">
        <a:schemeClr val="bg2"/>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9A52AA6-685E-D741-94FC-09D0D87EA35C}"/>
              </a:ext>
            </a:extLst>
          </p:cNvPr>
          <p:cNvSpPr/>
          <p:nvPr userDrawn="1"/>
        </p:nvSpPr>
        <p:spPr>
          <a:xfrm>
            <a:off x="0" y="0"/>
            <a:ext cx="4057651" cy="68580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Picture Placeholder 10">
            <a:extLst>
              <a:ext uri="{FF2B5EF4-FFF2-40B4-BE49-F238E27FC236}">
                <a16:creationId xmlns:a16="http://schemas.microsoft.com/office/drawing/2014/main" id="{83718FC5-379A-3343-904E-06A5A117D84C}"/>
              </a:ext>
            </a:extLst>
          </p:cNvPr>
          <p:cNvSpPr>
            <a:spLocks noGrp="1"/>
          </p:cNvSpPr>
          <p:nvPr>
            <p:ph type="pic" sz="quarter" idx="18" hasCustomPrompt="1"/>
          </p:nvPr>
        </p:nvSpPr>
        <p:spPr>
          <a:xfrm>
            <a:off x="4057651" y="0"/>
            <a:ext cx="8132760" cy="6857997"/>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bg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grpSp>
        <p:nvGrpSpPr>
          <p:cNvPr id="21" name="Grupp 32">
            <a:extLst>
              <a:ext uri="{FF2B5EF4-FFF2-40B4-BE49-F238E27FC236}">
                <a16:creationId xmlns:a16="http://schemas.microsoft.com/office/drawing/2014/main" id="{CF6F4381-F814-DC49-BAE8-DA80AFFD9E68}"/>
              </a:ext>
            </a:extLst>
          </p:cNvPr>
          <p:cNvGrpSpPr/>
          <p:nvPr userDrawn="1"/>
        </p:nvGrpSpPr>
        <p:grpSpPr>
          <a:xfrm>
            <a:off x="576140" y="6451484"/>
            <a:ext cx="615478" cy="91194"/>
            <a:chOff x="576140" y="6451484"/>
            <a:chExt cx="615478" cy="91194"/>
          </a:xfrm>
          <a:solidFill>
            <a:schemeClr val="bg2"/>
          </a:solidFill>
        </p:grpSpPr>
        <p:sp>
          <p:nvSpPr>
            <p:cNvPr id="22" name="Bild 2">
              <a:extLst>
                <a:ext uri="{FF2B5EF4-FFF2-40B4-BE49-F238E27FC236}">
                  <a16:creationId xmlns:a16="http://schemas.microsoft.com/office/drawing/2014/main" id="{62E9B87D-A5ED-B24D-896A-D5B9B26AB281}"/>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bg2"/>
                </a:solidFill>
              </a:endParaRPr>
            </a:p>
          </p:txBody>
        </p:sp>
        <p:sp>
          <p:nvSpPr>
            <p:cNvPr id="23" name="Bild 2">
              <a:extLst>
                <a:ext uri="{FF2B5EF4-FFF2-40B4-BE49-F238E27FC236}">
                  <a16:creationId xmlns:a16="http://schemas.microsoft.com/office/drawing/2014/main" id="{A0B698E7-BE43-3549-8D56-915B3552259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bg2"/>
                </a:solidFill>
              </a:endParaRPr>
            </a:p>
          </p:txBody>
        </p:sp>
        <p:sp>
          <p:nvSpPr>
            <p:cNvPr id="24" name="Bild 2">
              <a:extLst>
                <a:ext uri="{FF2B5EF4-FFF2-40B4-BE49-F238E27FC236}">
                  <a16:creationId xmlns:a16="http://schemas.microsoft.com/office/drawing/2014/main" id="{AE8F0FFE-43AD-8B46-AD52-5AAAB3A7E141}"/>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bg2"/>
                </a:solidFill>
              </a:endParaRPr>
            </a:p>
          </p:txBody>
        </p:sp>
        <p:sp>
          <p:nvSpPr>
            <p:cNvPr id="33" name="Bild 2">
              <a:extLst>
                <a:ext uri="{FF2B5EF4-FFF2-40B4-BE49-F238E27FC236}">
                  <a16:creationId xmlns:a16="http://schemas.microsoft.com/office/drawing/2014/main" id="{F449D80C-39D5-B049-8099-1AB0DFB21C56}"/>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bg2"/>
                </a:solidFill>
              </a:endParaRPr>
            </a:p>
          </p:txBody>
        </p:sp>
        <p:sp>
          <p:nvSpPr>
            <p:cNvPr id="34" name="Bild 2">
              <a:extLst>
                <a:ext uri="{FF2B5EF4-FFF2-40B4-BE49-F238E27FC236}">
                  <a16:creationId xmlns:a16="http://schemas.microsoft.com/office/drawing/2014/main" id="{20D2215C-82C7-5E49-AD19-A866B46120D1}"/>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bg2"/>
                </a:solidFill>
              </a:endParaRPr>
            </a:p>
          </p:txBody>
        </p:sp>
        <p:sp>
          <p:nvSpPr>
            <p:cNvPr id="35" name="Bild 2">
              <a:extLst>
                <a:ext uri="{FF2B5EF4-FFF2-40B4-BE49-F238E27FC236}">
                  <a16:creationId xmlns:a16="http://schemas.microsoft.com/office/drawing/2014/main" id="{70CBD1E9-7FEE-9349-9D43-444D469EBEE7}"/>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bg2"/>
                </a:solidFill>
              </a:endParaRPr>
            </a:p>
          </p:txBody>
        </p:sp>
        <p:sp>
          <p:nvSpPr>
            <p:cNvPr id="36" name="Bild 2">
              <a:extLst>
                <a:ext uri="{FF2B5EF4-FFF2-40B4-BE49-F238E27FC236}">
                  <a16:creationId xmlns:a16="http://schemas.microsoft.com/office/drawing/2014/main" id="{2BE0EC2B-5FD2-9449-827A-76C703008BD0}"/>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bg2"/>
                </a:solidFill>
              </a:endParaRPr>
            </a:p>
          </p:txBody>
        </p:sp>
      </p:grpSp>
      <p:sp>
        <p:nvSpPr>
          <p:cNvPr id="9" name="Chart Placeholder 8">
            <a:extLst>
              <a:ext uri="{FF2B5EF4-FFF2-40B4-BE49-F238E27FC236}">
                <a16:creationId xmlns:a16="http://schemas.microsoft.com/office/drawing/2014/main" id="{24D8D89D-9C5F-BF4B-912F-76A7A44AB335}"/>
              </a:ext>
            </a:extLst>
          </p:cNvPr>
          <p:cNvSpPr>
            <a:spLocks noGrp="1"/>
          </p:cNvSpPr>
          <p:nvPr>
            <p:ph type="chart" sz="quarter" idx="33" hasCustomPrompt="1"/>
          </p:nvPr>
        </p:nvSpPr>
        <p:spPr>
          <a:xfrm>
            <a:off x="5562626" y="1200392"/>
            <a:ext cx="4823891" cy="4424545"/>
          </a:xfrm>
        </p:spPr>
        <p:txBody>
          <a:bodyPr/>
          <a:lstStyle>
            <a:lvl1pPr marL="12700" indent="0" algn="ctr">
              <a:buNone/>
              <a:defRPr sz="1300">
                <a:solidFill>
                  <a:schemeClr val="bg2"/>
                </a:solidFill>
              </a:defRPr>
            </a:lvl1pPr>
          </a:lstStyle>
          <a:p>
            <a:r>
              <a:rPr lang="en-US" noProof="0"/>
              <a:t>Click to add chart</a:t>
            </a:r>
          </a:p>
        </p:txBody>
      </p:sp>
      <p:sp>
        <p:nvSpPr>
          <p:cNvPr id="25" name="Text Placeholder 18">
            <a:extLst>
              <a:ext uri="{FF2B5EF4-FFF2-40B4-BE49-F238E27FC236}">
                <a16:creationId xmlns:a16="http://schemas.microsoft.com/office/drawing/2014/main" id="{357E8C07-E7DB-4B47-A006-2F90A89E262C}"/>
              </a:ext>
            </a:extLst>
          </p:cNvPr>
          <p:cNvSpPr>
            <a:spLocks noGrp="1"/>
          </p:cNvSpPr>
          <p:nvPr>
            <p:ph type="body" sz="quarter" idx="14" hasCustomPrompt="1"/>
          </p:nvPr>
        </p:nvSpPr>
        <p:spPr>
          <a:xfrm>
            <a:off x="576000" y="731027"/>
            <a:ext cx="3161113" cy="1365942"/>
          </a:xfrm>
          <a:prstGeom prst="rect">
            <a:avLst/>
          </a:prstGeom>
        </p:spPr>
        <p:txBody>
          <a:bodyPr anchor="t">
            <a:noAutofit/>
          </a:bodyPr>
          <a:lstStyle>
            <a:lvl1pPr marL="0" indent="0">
              <a:lnSpc>
                <a:spcPct val="85000"/>
              </a:lnSpc>
              <a:spcBef>
                <a:spcPts val="0"/>
              </a:spcBef>
              <a:buNone/>
              <a:defRPr sz="3600" spc="40" baseline="0">
                <a:solidFill>
                  <a:schemeClr val="bg2"/>
                </a:solidFill>
              </a:defRPr>
            </a:lvl1pPr>
          </a:lstStyle>
          <a:p>
            <a:pPr lvl="0"/>
            <a:r>
              <a:rPr lang="en-US" noProof="0"/>
              <a:t>Click for a short headline of three lines</a:t>
            </a:r>
          </a:p>
        </p:txBody>
      </p:sp>
      <p:sp>
        <p:nvSpPr>
          <p:cNvPr id="18" name="Platshållare för text 11">
            <a:extLst>
              <a:ext uri="{FF2B5EF4-FFF2-40B4-BE49-F238E27FC236}">
                <a16:creationId xmlns:a16="http://schemas.microsoft.com/office/drawing/2014/main" id="{DBE4F817-848D-684D-8421-63796DD6A259}"/>
              </a:ext>
            </a:extLst>
          </p:cNvPr>
          <p:cNvSpPr>
            <a:spLocks noGrp="1"/>
          </p:cNvSpPr>
          <p:nvPr>
            <p:ph type="body" sz="quarter" idx="20" hasCustomPrompt="1"/>
          </p:nvPr>
        </p:nvSpPr>
        <p:spPr>
          <a:xfrm>
            <a:off x="576000" y="2527200"/>
            <a:ext cx="3161113" cy="360045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19" name="Platshållare för datum 3">
            <a:extLst>
              <a:ext uri="{FF2B5EF4-FFF2-40B4-BE49-F238E27FC236}">
                <a16:creationId xmlns:a16="http://schemas.microsoft.com/office/drawing/2014/main" id="{24DA0736-8844-004C-85CF-354AAE794A4C}"/>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2"/>
                </a:solidFill>
              </a:defRPr>
            </a:lvl1pPr>
          </a:lstStyle>
          <a:p>
            <a:fld id="{B96DB8AD-BB53-4170-92CC-55DB71FD8D17}" type="datetime1">
              <a:rPr lang="en-US" smtClean="0"/>
              <a:t>11/7/2025</a:t>
            </a:fld>
            <a:endParaRPr lang="en-US"/>
          </a:p>
        </p:txBody>
      </p:sp>
      <p:sp>
        <p:nvSpPr>
          <p:cNvPr id="20" name="Platshållare för sidfot 4">
            <a:extLst>
              <a:ext uri="{FF2B5EF4-FFF2-40B4-BE49-F238E27FC236}">
                <a16:creationId xmlns:a16="http://schemas.microsoft.com/office/drawing/2014/main" id="{4769CEE5-AF3E-524B-8F09-C312FCBEAABB}"/>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1"/>
                </a:solidFill>
              </a:defRPr>
            </a:lvl1pPr>
          </a:lstStyle>
          <a:p>
            <a:r>
              <a:rPr lang="nb-NO"/>
              <a:t>Skanska Norge Hovedpresentasjon - desember 2022</a:t>
            </a:r>
            <a:endParaRPr lang="en-US"/>
          </a:p>
        </p:txBody>
      </p:sp>
      <p:sp>
        <p:nvSpPr>
          <p:cNvPr id="26" name="Platshållare för bildnummer 5">
            <a:extLst>
              <a:ext uri="{FF2B5EF4-FFF2-40B4-BE49-F238E27FC236}">
                <a16:creationId xmlns:a16="http://schemas.microsoft.com/office/drawing/2014/main" id="{B67366FE-B59B-EF4A-988D-55E8E992C22C}"/>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1"/>
                </a:solidFill>
              </a:defRPr>
            </a:lvl1pPr>
          </a:lstStyle>
          <a:p>
            <a:fld id="{EF8DBD5B-30F9-4F9C-AE39-E065C1AC514D}" type="slidenum">
              <a:rPr lang="en-US" smtClean="0"/>
              <a:pPr/>
              <a:t>‹#›</a:t>
            </a:fld>
            <a:endParaRPr lang="en-US"/>
          </a:p>
        </p:txBody>
      </p:sp>
      <p:sp>
        <p:nvSpPr>
          <p:cNvPr id="28" name="Text Placeholder 4">
            <a:extLst>
              <a:ext uri="{FF2B5EF4-FFF2-40B4-BE49-F238E27FC236}">
                <a16:creationId xmlns:a16="http://schemas.microsoft.com/office/drawing/2014/main" id="{0D80328E-BBEF-7140-A6A4-DD724D95A068}"/>
              </a:ext>
            </a:extLst>
          </p:cNvPr>
          <p:cNvSpPr>
            <a:spLocks noGrp="1"/>
          </p:cNvSpPr>
          <p:nvPr>
            <p:ph type="body" sz="quarter" idx="34"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tx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190422431"/>
      </p:ext>
    </p:extLst>
  </p:cSld>
  <p:clrMapOvr>
    <a:overrideClrMapping bg1="dk1" tx1="lt1" bg2="dk2" tx2="lt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7 Text Chart Image Three Columns ">
    <p:bg>
      <p:bgPr>
        <a:solidFill>
          <a:schemeClr val="tx1"/>
        </a:solidFill>
        <a:effectLst/>
      </p:bgPr>
    </p:bg>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D45A29B0-4F3D-6744-8612-D07AA5FC7EB7}"/>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bg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9" name="Chart Placeholder 8">
            <a:extLst>
              <a:ext uri="{FF2B5EF4-FFF2-40B4-BE49-F238E27FC236}">
                <a16:creationId xmlns:a16="http://schemas.microsoft.com/office/drawing/2014/main" id="{24D8D89D-9C5F-BF4B-912F-76A7A44AB335}"/>
              </a:ext>
            </a:extLst>
          </p:cNvPr>
          <p:cNvSpPr>
            <a:spLocks noGrp="1"/>
          </p:cNvSpPr>
          <p:nvPr>
            <p:ph type="chart" sz="quarter" idx="33" hasCustomPrompt="1"/>
          </p:nvPr>
        </p:nvSpPr>
        <p:spPr>
          <a:xfrm>
            <a:off x="576263" y="1744190"/>
            <a:ext cx="3481387" cy="2627962"/>
          </a:xfrm>
        </p:spPr>
        <p:txBody>
          <a:bodyPr/>
          <a:lstStyle>
            <a:lvl1pPr marL="12700" indent="0" algn="ctr">
              <a:buNone/>
              <a:defRPr sz="1300">
                <a:solidFill>
                  <a:schemeClr val="bg2"/>
                </a:solidFill>
              </a:defRPr>
            </a:lvl1pPr>
          </a:lstStyle>
          <a:p>
            <a:r>
              <a:rPr lang="en-US" noProof="0"/>
              <a:t>Click to add chart</a:t>
            </a: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31027"/>
            <a:ext cx="11039738" cy="421117"/>
          </a:xfrm>
          <a:prstGeom prst="rect">
            <a:avLst/>
          </a:prstGeom>
        </p:spPr>
        <p:txBody>
          <a:bodyPr anchor="t">
            <a:noAutofit/>
          </a:bodyPr>
          <a:lstStyle>
            <a:lvl1pPr marL="0" indent="0">
              <a:lnSpc>
                <a:spcPct val="85000"/>
              </a:lnSpc>
              <a:spcBef>
                <a:spcPts val="0"/>
              </a:spcBef>
              <a:buNone/>
              <a:defRPr sz="3600" spc="40" baseline="0">
                <a:solidFill>
                  <a:schemeClr val="tx1"/>
                </a:solidFill>
              </a:defRPr>
            </a:lvl1pPr>
          </a:lstStyle>
          <a:p>
            <a:pPr lvl="0"/>
            <a:r>
              <a:rPr lang="en-US" noProof="0"/>
              <a:t>Click for a short headline of one line</a:t>
            </a:r>
          </a:p>
        </p:txBody>
      </p:sp>
      <p:sp>
        <p:nvSpPr>
          <p:cNvPr id="28" name="Text Placeholder 7">
            <a:extLst>
              <a:ext uri="{FF2B5EF4-FFF2-40B4-BE49-F238E27FC236}">
                <a16:creationId xmlns:a16="http://schemas.microsoft.com/office/drawing/2014/main" id="{9AFC5A01-2CE1-3843-B90A-FAF0804C9EB4}"/>
              </a:ext>
            </a:extLst>
          </p:cNvPr>
          <p:cNvSpPr>
            <a:spLocks noGrp="1"/>
          </p:cNvSpPr>
          <p:nvPr>
            <p:ph type="body" sz="quarter" idx="32" hasCustomPrompt="1"/>
          </p:nvPr>
        </p:nvSpPr>
        <p:spPr>
          <a:xfrm>
            <a:off x="576000" y="4546800"/>
            <a:ext cx="3481650" cy="844550"/>
          </a:xfrm>
        </p:spPr>
        <p:txBody>
          <a:bodyPr/>
          <a:lstStyle>
            <a:lvl1pPr marL="0" indent="0" algn="ctr">
              <a:lnSpc>
                <a:spcPct val="100000"/>
              </a:lnSpc>
              <a:spcBef>
                <a:spcPts val="0"/>
              </a:spcBef>
              <a:spcAft>
                <a:spcPts val="800"/>
              </a:spcAft>
              <a:buNone/>
              <a:defRPr sz="1800" b="1" spc="40" baseline="0">
                <a:solidFill>
                  <a:schemeClr val="tx1"/>
                </a:solidFill>
              </a:defRPr>
            </a:lvl1pPr>
            <a:lvl2pPr marL="0" indent="0" algn="ctr">
              <a:lnSpc>
                <a:spcPct val="100000"/>
              </a:lnSpc>
              <a:spcBef>
                <a:spcPts val="0"/>
              </a:spcBef>
              <a:spcAft>
                <a:spcPts val="600"/>
              </a:spcAft>
              <a:buNone/>
              <a:defRPr sz="1600" spc="40" baseline="0">
                <a:solidFill>
                  <a:schemeClr val="tx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29" name="Chart Placeholder 8">
            <a:extLst>
              <a:ext uri="{FF2B5EF4-FFF2-40B4-BE49-F238E27FC236}">
                <a16:creationId xmlns:a16="http://schemas.microsoft.com/office/drawing/2014/main" id="{72F43D24-E411-A945-9505-57F5F3934E9B}"/>
              </a:ext>
            </a:extLst>
          </p:cNvPr>
          <p:cNvSpPr>
            <a:spLocks noGrp="1"/>
          </p:cNvSpPr>
          <p:nvPr>
            <p:ph type="chart" sz="quarter" idx="34" hasCustomPrompt="1"/>
          </p:nvPr>
        </p:nvSpPr>
        <p:spPr>
          <a:xfrm>
            <a:off x="4353132" y="1744190"/>
            <a:ext cx="3481387" cy="2627962"/>
          </a:xfrm>
        </p:spPr>
        <p:txBody>
          <a:bodyPr/>
          <a:lstStyle>
            <a:lvl1pPr marL="12700" indent="0" algn="ctr">
              <a:buNone/>
              <a:defRPr sz="1300">
                <a:solidFill>
                  <a:schemeClr val="bg2"/>
                </a:solidFill>
              </a:defRPr>
            </a:lvl1pPr>
          </a:lstStyle>
          <a:p>
            <a:r>
              <a:rPr lang="en-US" noProof="0"/>
              <a:t>Click to add chart</a:t>
            </a:r>
          </a:p>
        </p:txBody>
      </p:sp>
      <p:sp>
        <p:nvSpPr>
          <p:cNvPr id="30" name="Text Placeholder 7">
            <a:extLst>
              <a:ext uri="{FF2B5EF4-FFF2-40B4-BE49-F238E27FC236}">
                <a16:creationId xmlns:a16="http://schemas.microsoft.com/office/drawing/2014/main" id="{14E86413-0724-2540-BCE2-3995B7047F65}"/>
              </a:ext>
            </a:extLst>
          </p:cNvPr>
          <p:cNvSpPr>
            <a:spLocks noGrp="1"/>
          </p:cNvSpPr>
          <p:nvPr>
            <p:ph type="body" sz="quarter" idx="35" hasCustomPrompt="1"/>
          </p:nvPr>
        </p:nvSpPr>
        <p:spPr>
          <a:xfrm>
            <a:off x="4352869" y="4546800"/>
            <a:ext cx="3481650" cy="844550"/>
          </a:xfrm>
        </p:spPr>
        <p:txBody>
          <a:bodyPr/>
          <a:lstStyle>
            <a:lvl1pPr marL="0" indent="0" algn="ctr">
              <a:lnSpc>
                <a:spcPct val="100000"/>
              </a:lnSpc>
              <a:spcBef>
                <a:spcPts val="0"/>
              </a:spcBef>
              <a:spcAft>
                <a:spcPts val="800"/>
              </a:spcAft>
              <a:buNone/>
              <a:defRPr sz="1800" b="1" spc="40" baseline="0">
                <a:solidFill>
                  <a:schemeClr val="tx1"/>
                </a:solidFill>
              </a:defRPr>
            </a:lvl1pPr>
            <a:lvl2pPr marL="0" indent="0" algn="ctr">
              <a:lnSpc>
                <a:spcPct val="100000"/>
              </a:lnSpc>
              <a:spcBef>
                <a:spcPts val="0"/>
              </a:spcBef>
              <a:spcAft>
                <a:spcPts val="600"/>
              </a:spcAft>
              <a:buNone/>
              <a:defRPr sz="1600" spc="40" baseline="0">
                <a:solidFill>
                  <a:schemeClr val="tx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31" name="Chart Placeholder 8">
            <a:extLst>
              <a:ext uri="{FF2B5EF4-FFF2-40B4-BE49-F238E27FC236}">
                <a16:creationId xmlns:a16="http://schemas.microsoft.com/office/drawing/2014/main" id="{5CCBAE0B-F5C6-B440-9BC0-04285EBC38D9}"/>
              </a:ext>
            </a:extLst>
          </p:cNvPr>
          <p:cNvSpPr>
            <a:spLocks noGrp="1"/>
          </p:cNvSpPr>
          <p:nvPr>
            <p:ph type="chart" sz="quarter" idx="36" hasCustomPrompt="1"/>
          </p:nvPr>
        </p:nvSpPr>
        <p:spPr>
          <a:xfrm>
            <a:off x="8143254" y="1744190"/>
            <a:ext cx="3481387" cy="2627962"/>
          </a:xfrm>
        </p:spPr>
        <p:txBody>
          <a:bodyPr/>
          <a:lstStyle>
            <a:lvl1pPr marL="12700" indent="0" algn="ctr">
              <a:buNone/>
              <a:defRPr sz="1300">
                <a:solidFill>
                  <a:schemeClr val="bg2"/>
                </a:solidFill>
              </a:defRPr>
            </a:lvl1pPr>
          </a:lstStyle>
          <a:p>
            <a:r>
              <a:rPr lang="en-US" noProof="0"/>
              <a:t>Click to add chart</a:t>
            </a:r>
          </a:p>
        </p:txBody>
      </p:sp>
      <p:sp>
        <p:nvSpPr>
          <p:cNvPr id="32" name="Text Placeholder 7">
            <a:extLst>
              <a:ext uri="{FF2B5EF4-FFF2-40B4-BE49-F238E27FC236}">
                <a16:creationId xmlns:a16="http://schemas.microsoft.com/office/drawing/2014/main" id="{A435FA06-C1B7-554E-B0E3-F6B929DF3951}"/>
              </a:ext>
            </a:extLst>
          </p:cNvPr>
          <p:cNvSpPr>
            <a:spLocks noGrp="1"/>
          </p:cNvSpPr>
          <p:nvPr>
            <p:ph type="body" sz="quarter" idx="37" hasCustomPrompt="1"/>
          </p:nvPr>
        </p:nvSpPr>
        <p:spPr>
          <a:xfrm>
            <a:off x="8142991" y="4546800"/>
            <a:ext cx="3481650" cy="844550"/>
          </a:xfrm>
        </p:spPr>
        <p:txBody>
          <a:bodyPr/>
          <a:lstStyle>
            <a:lvl1pPr marL="0" indent="0" algn="ctr">
              <a:lnSpc>
                <a:spcPct val="100000"/>
              </a:lnSpc>
              <a:spcBef>
                <a:spcPts val="0"/>
              </a:spcBef>
              <a:spcAft>
                <a:spcPts val="800"/>
              </a:spcAft>
              <a:buNone/>
              <a:defRPr sz="1800" b="1" spc="40" baseline="0">
                <a:solidFill>
                  <a:schemeClr val="tx1"/>
                </a:solidFill>
              </a:defRPr>
            </a:lvl1pPr>
            <a:lvl2pPr marL="0" indent="0" algn="ctr">
              <a:lnSpc>
                <a:spcPct val="100000"/>
              </a:lnSpc>
              <a:spcBef>
                <a:spcPts val="0"/>
              </a:spcBef>
              <a:spcAft>
                <a:spcPts val="600"/>
              </a:spcAft>
              <a:buNone/>
              <a:defRPr sz="1600" spc="40" baseline="0">
                <a:solidFill>
                  <a:schemeClr val="tx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13" name="textruta 12">
            <a:extLst>
              <a:ext uri="{FF2B5EF4-FFF2-40B4-BE49-F238E27FC236}">
                <a16:creationId xmlns:a16="http://schemas.microsoft.com/office/drawing/2014/main" id="{63744D4E-7A14-FF4F-97C0-C9226745D29A}"/>
              </a:ext>
            </a:extLst>
          </p:cNvPr>
          <p:cNvSpPr txBox="1"/>
          <p:nvPr userDrawn="1"/>
        </p:nvSpPr>
        <p:spPr>
          <a:xfrm>
            <a:off x="12395260" y="4546800"/>
            <a:ext cx="1681523" cy="1754326"/>
          </a:xfrm>
          <a:prstGeom prst="rect">
            <a:avLst/>
          </a:prstGeom>
          <a:solidFill>
            <a:schemeClr val="tx1"/>
          </a:solidFill>
          <a:effectLst/>
        </p:spPr>
        <p:txBody>
          <a:bodyPr wrap="square" rtlCol="0" anchor="ctr" anchorCtr="0">
            <a:spAutoFit/>
          </a:bodyPr>
          <a:lstStyle/>
          <a:p>
            <a:pPr algn="ctr"/>
            <a:r>
              <a:rPr lang="en-US" sz="900" baseline="0" noProof="0">
                <a:solidFill>
                  <a:schemeClr val="bg1">
                    <a:lumMod val="65000"/>
                    <a:lumOff val="35000"/>
                  </a:schemeClr>
                </a:solidFill>
                <a:latin typeface="+mn-lt"/>
                <a:cs typeface="Arial" panose="020B0604020202020204" pitchFamily="34" charset="0"/>
              </a:rPr>
              <a:t>To change from </a:t>
            </a:r>
            <a:r>
              <a:rPr lang="en-US" sz="900" b="1" baseline="0" noProof="0">
                <a:solidFill>
                  <a:schemeClr val="bg1">
                    <a:lumMod val="65000"/>
                    <a:lumOff val="35000"/>
                  </a:schemeClr>
                </a:solidFill>
                <a:latin typeface="+mn-lt"/>
                <a:cs typeface="Arial" panose="020B0604020202020204" pitchFamily="34" charset="0"/>
              </a:rPr>
              <a:t>headline</a:t>
            </a:r>
            <a:r>
              <a:rPr lang="en-US" sz="900" baseline="0" noProof="0">
                <a:solidFill>
                  <a:schemeClr val="bg1">
                    <a:lumMod val="65000"/>
                    <a:lumOff val="35000"/>
                  </a:schemeClr>
                </a:solidFill>
                <a:latin typeface="+mn-lt"/>
                <a:cs typeface="Arial" panose="020B0604020202020204" pitchFamily="34" charset="0"/>
              </a:rPr>
              <a:t> to </a:t>
            </a:r>
            <a:r>
              <a:rPr lang="en-US" sz="900" b="1" baseline="0" noProof="0">
                <a:solidFill>
                  <a:schemeClr val="bg1">
                    <a:lumMod val="65000"/>
                    <a:lumOff val="35000"/>
                  </a:schemeClr>
                </a:solidFill>
                <a:latin typeface="+mn-lt"/>
                <a:cs typeface="Arial" panose="020B0604020202020204" pitchFamily="34" charset="0"/>
              </a:rPr>
              <a:t>body text </a:t>
            </a:r>
            <a:r>
              <a:rPr lang="en-US" sz="900" baseline="0" noProof="0">
                <a:solidFill>
                  <a:schemeClr val="bg1">
                    <a:lumMod val="65000"/>
                    <a:lumOff val="35000"/>
                  </a:schemeClr>
                </a:solidFill>
                <a:latin typeface="+mn-lt"/>
                <a:cs typeface="Arial" panose="020B0604020202020204" pitchFamily="34" charset="0"/>
              </a:rPr>
              <a:t>or to </a:t>
            </a:r>
            <a:r>
              <a:rPr lang="en-US" sz="900" b="1" baseline="0" noProof="0">
                <a:solidFill>
                  <a:schemeClr val="bg1">
                    <a:lumMod val="65000"/>
                    <a:lumOff val="35000"/>
                  </a:schemeClr>
                </a:solidFill>
                <a:latin typeface="+mn-lt"/>
                <a:cs typeface="Arial" panose="020B0604020202020204" pitchFamily="34" charset="0"/>
              </a:rPr>
              <a:t>use bullets</a:t>
            </a:r>
            <a:r>
              <a:rPr lang="en-US" sz="900" baseline="0" noProof="0">
                <a:solidFill>
                  <a:schemeClr val="bg1">
                    <a:lumMod val="65000"/>
                    <a:lumOff val="35000"/>
                  </a:schemeClr>
                </a:solidFill>
                <a:latin typeface="+mn-lt"/>
                <a:cs typeface="Arial" panose="020B0604020202020204" pitchFamily="34" charset="0"/>
              </a:rPr>
              <a:t>, press </a:t>
            </a:r>
            <a:r>
              <a:rPr lang="en-US" sz="900" b="1" baseline="0" noProof="0">
                <a:solidFill>
                  <a:schemeClr val="bg1">
                    <a:lumMod val="65000"/>
                    <a:lumOff val="35000"/>
                  </a:schemeClr>
                </a:solidFill>
                <a:latin typeface="+mn-lt"/>
                <a:cs typeface="Arial" panose="020B0604020202020204" pitchFamily="34" charset="0"/>
              </a:rPr>
              <a:t>enter/return </a:t>
            </a:r>
            <a:r>
              <a:rPr lang="en-US" sz="900" baseline="0" noProof="0">
                <a:solidFill>
                  <a:schemeClr val="bg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p:txBody>
      </p:sp>
      <p:pic>
        <p:nvPicPr>
          <p:cNvPr id="14" name="Picture 9">
            <a:extLst>
              <a:ext uri="{FF2B5EF4-FFF2-40B4-BE49-F238E27FC236}">
                <a16:creationId xmlns:a16="http://schemas.microsoft.com/office/drawing/2014/main" id="{3F3058FB-111D-F94F-98E7-6D40438483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5451009"/>
            <a:ext cx="1422121" cy="721417"/>
          </a:xfrm>
          <a:prstGeom prst="rect">
            <a:avLst/>
          </a:prstGeom>
          <a:ln w="9525">
            <a:solidFill>
              <a:schemeClr val="tx2"/>
            </a:solidFill>
          </a:ln>
        </p:spPr>
      </p:pic>
      <p:sp>
        <p:nvSpPr>
          <p:cNvPr id="15" name="Oval 4">
            <a:extLst>
              <a:ext uri="{FF2B5EF4-FFF2-40B4-BE49-F238E27FC236}">
                <a16:creationId xmlns:a16="http://schemas.microsoft.com/office/drawing/2014/main" id="{1FC2FDB8-C7B2-5948-88E5-7395C14F114A}"/>
              </a:ext>
            </a:extLst>
          </p:cNvPr>
          <p:cNvSpPr/>
          <p:nvPr userDrawn="1"/>
        </p:nvSpPr>
        <p:spPr>
          <a:xfrm>
            <a:off x="13194299" y="56743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16" name="Connector: Elbow 131">
            <a:extLst>
              <a:ext uri="{FF2B5EF4-FFF2-40B4-BE49-F238E27FC236}">
                <a16:creationId xmlns:a16="http://schemas.microsoft.com/office/drawing/2014/main" id="{4D094D2D-E3E2-8541-9B95-68913F6FD08E}"/>
              </a:ext>
            </a:extLst>
          </p:cNvPr>
          <p:cNvCxnSpPr>
            <a:cxnSpLocks/>
            <a:endCxn id="15" idx="0"/>
          </p:cNvCxnSpPr>
          <p:nvPr userDrawn="1"/>
        </p:nvCxnSpPr>
        <p:spPr>
          <a:xfrm rot="5400000">
            <a:off x="13324711" y="54024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ruta 5">
            <a:extLst>
              <a:ext uri="{FF2B5EF4-FFF2-40B4-BE49-F238E27FC236}">
                <a16:creationId xmlns:a16="http://schemas.microsoft.com/office/drawing/2014/main" id="{41A9DA98-B5D5-0648-9A5D-6CF702CA3812}"/>
              </a:ext>
            </a:extLst>
          </p:cNvPr>
          <p:cNvSpPr txBox="1"/>
          <p:nvPr userDrawn="1"/>
        </p:nvSpPr>
        <p:spPr>
          <a:xfrm>
            <a:off x="12395260" y="1453483"/>
            <a:ext cx="1681523" cy="646331"/>
          </a:xfrm>
          <a:prstGeom prst="rect">
            <a:avLst/>
          </a:prstGeom>
          <a:solidFill>
            <a:schemeClr val="tx1"/>
          </a:solidFill>
          <a:effectLst/>
        </p:spPr>
        <p:txBody>
          <a:bodyPr wrap="square" rtlCol="0" anchor="ctr" anchorCtr="0">
            <a:spAutoFit/>
          </a:bodyPr>
          <a:lstStyle/>
          <a:p>
            <a:pPr algn="ctr"/>
            <a:r>
              <a:rPr lang="en-US" sz="900" baseline="0" noProof="0">
                <a:solidFill>
                  <a:schemeClr val="bg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bg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bg1">
                    <a:lumMod val="65000"/>
                    <a:lumOff val="35000"/>
                  </a:schemeClr>
                </a:solidFill>
                <a:latin typeface="Arial" panose="020B0604020202020204" pitchFamily="34" charset="0"/>
                <a:cs typeface="Arial" panose="020B0604020202020204" pitchFamily="34" charset="0"/>
              </a:rPr>
              <a:t>and use – </a:t>
            </a:r>
            <a:r>
              <a:rPr lang="en-US" sz="900" b="1" noProof="0">
                <a:solidFill>
                  <a:schemeClr val="bg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bg1">
                    <a:lumMod val="65000"/>
                    <a:lumOff val="35000"/>
                  </a:schemeClr>
                </a:solidFill>
                <a:latin typeface="Arial" panose="020B0604020202020204" pitchFamily="34" charset="0"/>
                <a:cs typeface="Arial" panose="020B0604020202020204" pitchFamily="34" charset="0"/>
              </a:rPr>
              <a:t>end to back</a:t>
            </a:r>
          </a:p>
        </p:txBody>
      </p:sp>
      <p:sp>
        <p:nvSpPr>
          <p:cNvPr id="20" name="textruta 19">
            <a:extLst>
              <a:ext uri="{FF2B5EF4-FFF2-40B4-BE49-F238E27FC236}">
                <a16:creationId xmlns:a16="http://schemas.microsoft.com/office/drawing/2014/main" id="{52CE317C-77EC-F049-9E9A-98EBFC8D922D}"/>
              </a:ext>
            </a:extLst>
          </p:cNvPr>
          <p:cNvSpPr txBox="1"/>
          <p:nvPr userDrawn="1"/>
        </p:nvSpPr>
        <p:spPr>
          <a:xfrm>
            <a:off x="12395260" y="-12189"/>
            <a:ext cx="1681523" cy="1338828"/>
          </a:xfrm>
          <a:prstGeom prst="rect">
            <a:avLst/>
          </a:prstGeom>
          <a:solidFill>
            <a:schemeClr val="tx1"/>
          </a:solidFill>
          <a:effectLst/>
        </p:spPr>
        <p:txBody>
          <a:bodyPr wrap="square" rtlCol="0" anchor="ctr" anchorCtr="0">
            <a:spAutoFit/>
          </a:bodyPr>
          <a:lstStyle/>
          <a:p>
            <a:pPr algn="ctr"/>
            <a:r>
              <a:rPr lang="en-US" sz="900" baseline="0" noProof="0">
                <a:solidFill>
                  <a:schemeClr val="bg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bg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bg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bg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bg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bg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bg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bg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bg1">
                  <a:lumMod val="65000"/>
                  <a:lumOff val="35000"/>
                </a:schemeClr>
              </a:solidFill>
              <a:latin typeface="Arial" panose="020B0604020202020204" pitchFamily="34" charset="0"/>
              <a:cs typeface="Arial" panose="020B0604020202020204" pitchFamily="34" charset="0"/>
            </a:endParaRPr>
          </a:p>
        </p:txBody>
      </p:sp>
      <p:sp>
        <p:nvSpPr>
          <p:cNvPr id="21" name="Rektangel 20">
            <a:extLst>
              <a:ext uri="{FF2B5EF4-FFF2-40B4-BE49-F238E27FC236}">
                <a16:creationId xmlns:a16="http://schemas.microsoft.com/office/drawing/2014/main" id="{38DDAB0F-E6C9-D640-856D-C484C7777781}"/>
              </a:ext>
            </a:extLst>
          </p:cNvPr>
          <p:cNvSpPr/>
          <p:nvPr userDrawn="1"/>
        </p:nvSpPr>
        <p:spPr>
          <a:xfrm>
            <a:off x="13255337" y="926211"/>
            <a:ext cx="341194" cy="3059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ktangel 21">
            <a:extLst>
              <a:ext uri="{FF2B5EF4-FFF2-40B4-BE49-F238E27FC236}">
                <a16:creationId xmlns:a16="http://schemas.microsoft.com/office/drawing/2014/main" id="{485A4234-7053-054A-A6BF-061561FBBB87}"/>
              </a:ext>
            </a:extLst>
          </p:cNvPr>
          <p:cNvSpPr/>
          <p:nvPr userDrawn="1"/>
        </p:nvSpPr>
        <p:spPr>
          <a:xfrm>
            <a:off x="12833410" y="926211"/>
            <a:ext cx="341194" cy="305904"/>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3" name="Platshållare för datum 3">
            <a:extLst>
              <a:ext uri="{FF2B5EF4-FFF2-40B4-BE49-F238E27FC236}">
                <a16:creationId xmlns:a16="http://schemas.microsoft.com/office/drawing/2014/main" id="{AF83C049-500D-814C-8644-19FD6F50A73B}"/>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A9E7F825-C3C4-4B25-AD92-A7ED11DBBE48}" type="datetime1">
              <a:rPr lang="en-US" noProof="0" smtClean="0"/>
              <a:t>11/7/2025</a:t>
            </a:fld>
            <a:endParaRPr lang="en-US" noProof="0"/>
          </a:p>
        </p:txBody>
      </p:sp>
      <p:sp>
        <p:nvSpPr>
          <p:cNvPr id="24" name="Platshållare för sidfot 4">
            <a:extLst>
              <a:ext uri="{FF2B5EF4-FFF2-40B4-BE49-F238E27FC236}">
                <a16:creationId xmlns:a16="http://schemas.microsoft.com/office/drawing/2014/main" id="{666E57CC-AB24-3E4D-8A37-80E672D3ACE9}"/>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nb-NO" noProof="0"/>
              <a:t>Skanska Norge Hovedpresentasjon - desember 2022</a:t>
            </a:r>
            <a:endParaRPr lang="en-US" noProof="0"/>
          </a:p>
        </p:txBody>
      </p:sp>
      <p:sp>
        <p:nvSpPr>
          <p:cNvPr id="25" name="Platshållare för bildnummer 5">
            <a:extLst>
              <a:ext uri="{FF2B5EF4-FFF2-40B4-BE49-F238E27FC236}">
                <a16:creationId xmlns:a16="http://schemas.microsoft.com/office/drawing/2014/main" id="{3494CCD3-1EDC-7444-A47F-9ABE059A0A5D}"/>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3513581010"/>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Kapittelslide - Bilde">
    <p:bg>
      <p:bgPr>
        <a:solidFill>
          <a:schemeClr val="bg1"/>
        </a:solidFill>
        <a:effectLst/>
      </p:bgPr>
    </p:bg>
    <p:spTree>
      <p:nvGrpSpPr>
        <p:cNvPr id="1" name=""/>
        <p:cNvGrpSpPr/>
        <p:nvPr/>
      </p:nvGrpSpPr>
      <p:grpSpPr>
        <a:xfrm>
          <a:off x="0" y="0"/>
          <a:ext cx="0" cy="0"/>
          <a:chOff x="0" y="0"/>
          <a:chExt cx="0" cy="0"/>
        </a:xfrm>
      </p:grpSpPr>
      <p:sp>
        <p:nvSpPr>
          <p:cNvPr id="8" name="Picture Placeholder 1">
            <a:extLst>
              <a:ext uri="{FF2B5EF4-FFF2-40B4-BE49-F238E27FC236}">
                <a16:creationId xmlns:a16="http://schemas.microsoft.com/office/drawing/2014/main" id="{3CBA7EE4-EB8C-8F45-95DB-49CBDE2D978D}"/>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nb-NO" noProof="0" dirty="0"/>
              <a:t>Hvis bildeplassholderikonet er under tekstboksen, velger du den grå plassholderboksen og går deretter til «sett inn» i toppmenyen og legger til bilde. IKKE flytt tekstboksen!</a:t>
            </a:r>
            <a:endParaRPr lang="en-US" noProof="0" dirty="0"/>
          </a:p>
        </p:txBody>
      </p:sp>
      <p:sp>
        <p:nvSpPr>
          <p:cNvPr id="6" name="Title 2">
            <a:extLst>
              <a:ext uri="{FF2B5EF4-FFF2-40B4-BE49-F238E27FC236}">
                <a16:creationId xmlns:a16="http://schemas.microsoft.com/office/drawing/2014/main" id="{9D67CEA7-BD95-96B5-29B3-49D63BB8257A}"/>
              </a:ext>
            </a:extLst>
          </p:cNvPr>
          <p:cNvSpPr>
            <a:spLocks noGrp="1"/>
          </p:cNvSpPr>
          <p:nvPr>
            <p:ph type="title" hasCustomPrompt="1"/>
          </p:nvPr>
        </p:nvSpPr>
        <p:spPr>
          <a:xfrm>
            <a:off x="576000" y="2635861"/>
            <a:ext cx="5520000" cy="1008135"/>
          </a:xfrm>
        </p:spPr>
        <p:txBody>
          <a:bodyPr anchor="b"/>
          <a:lstStyle>
            <a:lvl1pPr>
              <a:lnSpc>
                <a:spcPct val="85000"/>
              </a:lnSpc>
              <a:defRPr sz="3200" spc="40" baseline="0">
                <a:solidFill>
                  <a:schemeClr val="bg1"/>
                </a:solidFill>
              </a:defRPr>
            </a:lvl1pPr>
          </a:lstStyle>
          <a:p>
            <a:r>
              <a:rPr lang="nb-NO" dirty="0"/>
              <a:t>Klikk for å legge til en overskrift på maksimalt to linjer</a:t>
            </a:r>
            <a:endParaRPr lang="en-US" dirty="0"/>
          </a:p>
        </p:txBody>
      </p:sp>
      <p:sp>
        <p:nvSpPr>
          <p:cNvPr id="5" name="Text Placeholder 3">
            <a:extLst>
              <a:ext uri="{FF2B5EF4-FFF2-40B4-BE49-F238E27FC236}">
                <a16:creationId xmlns:a16="http://schemas.microsoft.com/office/drawing/2014/main" id="{0B6D2844-5849-4E01-0289-BB70BC1EDBB3}"/>
              </a:ext>
            </a:extLst>
          </p:cNvPr>
          <p:cNvSpPr>
            <a:spLocks noGrp="1"/>
          </p:cNvSpPr>
          <p:nvPr>
            <p:ph type="body" sz="quarter" idx="19" hasCustomPrompt="1"/>
          </p:nvPr>
        </p:nvSpPr>
        <p:spPr>
          <a:xfrm>
            <a:off x="576000" y="3801285"/>
            <a:ext cx="3772163" cy="646331"/>
          </a:xfrm>
          <a:prstGeom prst="rect">
            <a:avLst/>
          </a:prstGeom>
        </p:spPr>
        <p:txBody>
          <a:bodyPr anchor="t">
            <a:noAutofit/>
          </a:bodyPr>
          <a:lstStyle>
            <a:lvl1pPr marL="0" indent="0">
              <a:lnSpc>
                <a:spcPct val="100000"/>
              </a:lnSpc>
              <a:spcBef>
                <a:spcPts val="0"/>
              </a:spcBef>
              <a:buNone/>
              <a:defRPr sz="1400" spc="70" baseline="0">
                <a:solidFill>
                  <a:schemeClr val="bg1"/>
                </a:solidFill>
              </a:defRPr>
            </a:lvl1pPr>
          </a:lstStyle>
          <a:p>
            <a:pPr lvl="0"/>
            <a:r>
              <a:rPr lang="nb-NO" noProof="0" dirty="0"/>
              <a:t>Klikk for å legge til navn eller kort informasjon</a:t>
            </a:r>
            <a:endParaRPr lang="en-US" noProof="0" dirty="0"/>
          </a:p>
        </p:txBody>
      </p:sp>
      <p:sp>
        <p:nvSpPr>
          <p:cNvPr id="18" name="Project Text Placeholder 3">
            <a:extLst>
              <a:ext uri="{FF2B5EF4-FFF2-40B4-BE49-F238E27FC236}">
                <a16:creationId xmlns:a16="http://schemas.microsoft.com/office/drawing/2014/main" id="{A821A6FF-8152-7648-AA0D-49C723505D2B}"/>
              </a:ext>
            </a:extLst>
          </p:cNvPr>
          <p:cNvSpPr>
            <a:spLocks noGrp="1"/>
          </p:cNvSpPr>
          <p:nvPr>
            <p:ph type="body" sz="quarter" idx="15" hasCustomPrompt="1"/>
          </p:nvPr>
        </p:nvSpPr>
        <p:spPr>
          <a:xfrm rot="5400000">
            <a:off x="9788686" y="1916687"/>
            <a:ext cx="4320000"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grpSp>
        <p:nvGrpSpPr>
          <p:cNvPr id="7" name="Instructions">
            <a:extLst>
              <a:ext uri="{FF2B5EF4-FFF2-40B4-BE49-F238E27FC236}">
                <a16:creationId xmlns:a16="http://schemas.microsoft.com/office/drawing/2014/main" id="{C058BDA4-8085-9A89-325F-F1BCC4D99158}"/>
              </a:ext>
            </a:extLst>
          </p:cNvPr>
          <p:cNvGrpSpPr/>
          <p:nvPr userDrawn="1"/>
        </p:nvGrpSpPr>
        <p:grpSpPr>
          <a:xfrm>
            <a:off x="12395260" y="-12189"/>
            <a:ext cx="1681523" cy="2112003"/>
            <a:chOff x="12395260" y="-12189"/>
            <a:chExt cx="1681523" cy="2112003"/>
          </a:xfrm>
        </p:grpSpPr>
        <p:sp>
          <p:nvSpPr>
            <p:cNvPr id="9" name="textruta 5">
              <a:extLst>
                <a:ext uri="{FF2B5EF4-FFF2-40B4-BE49-F238E27FC236}">
                  <a16:creationId xmlns:a16="http://schemas.microsoft.com/office/drawing/2014/main" id="{FC83AE35-878B-F54A-AFFF-15CF59CCA970}"/>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0" name="textruta 9">
              <a:extLst>
                <a:ext uri="{FF2B5EF4-FFF2-40B4-BE49-F238E27FC236}">
                  <a16:creationId xmlns:a16="http://schemas.microsoft.com/office/drawing/2014/main" id="{8847623D-7CF8-354F-90BA-8A886C948F9B}"/>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2" name="Rektangel 11">
              <a:extLst>
                <a:ext uri="{FF2B5EF4-FFF2-40B4-BE49-F238E27FC236}">
                  <a16:creationId xmlns:a16="http://schemas.microsoft.com/office/drawing/2014/main" id="{3B9D092F-3826-0D44-BE12-8BDC39E229EF}"/>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Rektangel 12">
              <a:extLst>
                <a:ext uri="{FF2B5EF4-FFF2-40B4-BE49-F238E27FC236}">
                  <a16:creationId xmlns:a16="http://schemas.microsoft.com/office/drawing/2014/main" id="{EAF63052-34D6-4B45-BFD9-6062FD759EA4}"/>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Tree>
    <p:extLst>
      <p:ext uri="{BB962C8B-B14F-4D97-AF65-F5344CB8AC3E}">
        <p14:creationId xmlns:p14="http://schemas.microsoft.com/office/powerpoint/2010/main" val="151555052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7 Text Image Chart Grey">
    <p:bg>
      <p:bgPr>
        <a:solidFill>
          <a:schemeClr val="tx2"/>
        </a:solidFill>
        <a:effectLst/>
      </p:bgPr>
    </p:bg>
    <p:spTree>
      <p:nvGrpSpPr>
        <p:cNvPr id="1" name=""/>
        <p:cNvGrpSpPr/>
        <p:nvPr/>
      </p:nvGrpSpPr>
      <p:grpSpPr>
        <a:xfrm>
          <a:off x="0" y="0"/>
          <a:ext cx="0" cy="0"/>
          <a:chOff x="0" y="0"/>
          <a:chExt cx="0" cy="0"/>
        </a:xfrm>
      </p:grpSpPr>
      <p:sp>
        <p:nvSpPr>
          <p:cNvPr id="11" name="Rektangel 33">
            <a:extLst>
              <a:ext uri="{FF2B5EF4-FFF2-40B4-BE49-F238E27FC236}">
                <a16:creationId xmlns:a16="http://schemas.microsoft.com/office/drawing/2014/main" id="{2F19A064-1249-6F46-8F80-C6115CCF13F7}"/>
              </a:ext>
            </a:extLst>
          </p:cNvPr>
          <p:cNvSpPr/>
          <p:nvPr userDrawn="1"/>
        </p:nvSpPr>
        <p:spPr>
          <a:xfrm>
            <a:off x="7829550" y="0"/>
            <a:ext cx="436245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Picture Placeholder 14">
            <a:extLst>
              <a:ext uri="{FF2B5EF4-FFF2-40B4-BE49-F238E27FC236}">
                <a16:creationId xmlns:a16="http://schemas.microsoft.com/office/drawing/2014/main" id="{27EFD137-4B99-8842-A5F6-821FCB02CC2F}"/>
              </a:ext>
            </a:extLst>
          </p:cNvPr>
          <p:cNvSpPr>
            <a:spLocks noGrp="1"/>
          </p:cNvSpPr>
          <p:nvPr>
            <p:ph type="pic" sz="quarter" idx="13" hasCustomPrompt="1"/>
          </p:nvPr>
        </p:nvSpPr>
        <p:spPr>
          <a:xfrm>
            <a:off x="5" y="5"/>
            <a:ext cx="7838843" cy="6857997"/>
          </a:xfrm>
          <a:custGeom>
            <a:avLst/>
            <a:gdLst>
              <a:gd name="connsiteX0" fmla="*/ 1146049 w 7838843"/>
              <a:gd name="connsiteY0" fmla="*/ 6470534 h 6857997"/>
              <a:gd name="connsiteX1" fmla="*/ 1157832 w 7838843"/>
              <a:gd name="connsiteY1" fmla="*/ 6505507 h 6857997"/>
              <a:gd name="connsiteX2" fmla="*/ 1134642 w 7838843"/>
              <a:gd name="connsiteY2" fmla="*/ 6505507 h 6857997"/>
              <a:gd name="connsiteX3" fmla="*/ 788170 w 7838843"/>
              <a:gd name="connsiteY3" fmla="*/ 6470534 h 6857997"/>
              <a:gd name="connsiteX4" fmla="*/ 799953 w 7838843"/>
              <a:gd name="connsiteY4" fmla="*/ 6505507 h 6857997"/>
              <a:gd name="connsiteX5" fmla="*/ 776763 w 7838843"/>
              <a:gd name="connsiteY5" fmla="*/ 6505507 h 6857997"/>
              <a:gd name="connsiteX6" fmla="*/ 1132323 w 7838843"/>
              <a:gd name="connsiteY6" fmla="*/ 6451543 h 6857997"/>
              <a:gd name="connsiteX7" fmla="*/ 1100860 w 7838843"/>
              <a:gd name="connsiteY7" fmla="*/ 6542674 h 6857997"/>
              <a:gd name="connsiteX8" fmla="*/ 1123110 w 7838843"/>
              <a:gd name="connsiteY8" fmla="*/ 6542674 h 6857997"/>
              <a:gd name="connsiteX9" fmla="*/ 1128876 w 7838843"/>
              <a:gd name="connsiteY9" fmla="*/ 6524060 h 6857997"/>
              <a:gd name="connsiteX10" fmla="*/ 1163786 w 7838843"/>
              <a:gd name="connsiteY10" fmla="*/ 6524060 h 6857997"/>
              <a:gd name="connsiteX11" fmla="*/ 1169741 w 7838843"/>
              <a:gd name="connsiteY11" fmla="*/ 6542674 h 6857997"/>
              <a:gd name="connsiteX12" fmla="*/ 1191615 w 7838843"/>
              <a:gd name="connsiteY12" fmla="*/ 6542674 h 6857997"/>
              <a:gd name="connsiteX13" fmla="*/ 1159148 w 7838843"/>
              <a:gd name="connsiteY13" fmla="*/ 6451543 h 6857997"/>
              <a:gd name="connsiteX14" fmla="*/ 961907 w 7838843"/>
              <a:gd name="connsiteY14" fmla="*/ 6451543 h 6857997"/>
              <a:gd name="connsiteX15" fmla="*/ 933640 w 7838843"/>
              <a:gd name="connsiteY15" fmla="*/ 6479246 h 6857997"/>
              <a:gd name="connsiteX16" fmla="*/ 961907 w 7838843"/>
              <a:gd name="connsiteY16" fmla="*/ 6505821 h 6857997"/>
              <a:gd name="connsiteX17" fmla="*/ 983468 w 7838843"/>
              <a:gd name="connsiteY17" fmla="*/ 6505821 h 6857997"/>
              <a:gd name="connsiteX18" fmla="*/ 991678 w 7838843"/>
              <a:gd name="connsiteY18" fmla="*/ 6514282 h 6857997"/>
              <a:gd name="connsiteX19" fmla="*/ 983468 w 7838843"/>
              <a:gd name="connsiteY19" fmla="*/ 6522743 h 6857997"/>
              <a:gd name="connsiteX20" fmla="*/ 937338 w 7838843"/>
              <a:gd name="connsiteY20" fmla="*/ 6522743 h 6857997"/>
              <a:gd name="connsiteX21" fmla="*/ 937338 w 7838843"/>
              <a:gd name="connsiteY21" fmla="*/ 6542674 h 6857997"/>
              <a:gd name="connsiteX22" fmla="*/ 982716 w 7838843"/>
              <a:gd name="connsiteY22" fmla="*/ 6542674 h 6857997"/>
              <a:gd name="connsiteX23" fmla="*/ 1011358 w 7838843"/>
              <a:gd name="connsiteY23" fmla="*/ 6514282 h 6857997"/>
              <a:gd name="connsiteX24" fmla="*/ 986727 w 7838843"/>
              <a:gd name="connsiteY24" fmla="*/ 6487707 h 6857997"/>
              <a:gd name="connsiteX25" fmla="*/ 961907 w 7838843"/>
              <a:gd name="connsiteY25" fmla="*/ 6487707 h 6857997"/>
              <a:gd name="connsiteX26" fmla="*/ 953321 w 7838843"/>
              <a:gd name="connsiteY26" fmla="*/ 6479246 h 6857997"/>
              <a:gd name="connsiteX27" fmla="*/ 961907 w 7838843"/>
              <a:gd name="connsiteY27" fmla="*/ 6470785 h 6857997"/>
              <a:gd name="connsiteX28" fmla="*/ 1004965 w 7838843"/>
              <a:gd name="connsiteY28" fmla="*/ 6470785 h 6857997"/>
              <a:gd name="connsiteX29" fmla="*/ 1004965 w 7838843"/>
              <a:gd name="connsiteY29" fmla="*/ 6451543 h 6857997"/>
              <a:gd name="connsiteX30" fmla="*/ 841570 w 7838843"/>
              <a:gd name="connsiteY30" fmla="*/ 6451543 h 6857997"/>
              <a:gd name="connsiteX31" fmla="*/ 841570 w 7838843"/>
              <a:gd name="connsiteY31" fmla="*/ 6542674 h 6857997"/>
              <a:gd name="connsiteX32" fmla="*/ 862692 w 7838843"/>
              <a:gd name="connsiteY32" fmla="*/ 6542674 h 6857997"/>
              <a:gd name="connsiteX33" fmla="*/ 862692 w 7838843"/>
              <a:gd name="connsiteY33" fmla="*/ 6486454 h 6857997"/>
              <a:gd name="connsiteX34" fmla="*/ 898981 w 7838843"/>
              <a:gd name="connsiteY34" fmla="*/ 6542486 h 6857997"/>
              <a:gd name="connsiteX35" fmla="*/ 898981 w 7838843"/>
              <a:gd name="connsiteY35" fmla="*/ 6542674 h 6857997"/>
              <a:gd name="connsiteX36" fmla="*/ 920855 w 7838843"/>
              <a:gd name="connsiteY36" fmla="*/ 6542674 h 6857997"/>
              <a:gd name="connsiteX37" fmla="*/ 920793 w 7838843"/>
              <a:gd name="connsiteY37" fmla="*/ 6522994 h 6857997"/>
              <a:gd name="connsiteX38" fmla="*/ 920667 w 7838843"/>
              <a:gd name="connsiteY38" fmla="*/ 6451543 h 6857997"/>
              <a:gd name="connsiteX39" fmla="*/ 899671 w 7838843"/>
              <a:gd name="connsiteY39" fmla="*/ 6451543 h 6857997"/>
              <a:gd name="connsiteX40" fmla="*/ 899671 w 7838843"/>
              <a:gd name="connsiteY40" fmla="*/ 6508829 h 6857997"/>
              <a:gd name="connsiteX41" fmla="*/ 863068 w 7838843"/>
              <a:gd name="connsiteY41" fmla="*/ 6451543 h 6857997"/>
              <a:gd name="connsiteX42" fmla="*/ 774444 w 7838843"/>
              <a:gd name="connsiteY42" fmla="*/ 6451543 h 6857997"/>
              <a:gd name="connsiteX43" fmla="*/ 742918 w 7838843"/>
              <a:gd name="connsiteY43" fmla="*/ 6542674 h 6857997"/>
              <a:gd name="connsiteX44" fmla="*/ 765168 w 7838843"/>
              <a:gd name="connsiteY44" fmla="*/ 6542674 h 6857997"/>
              <a:gd name="connsiteX45" fmla="*/ 770934 w 7838843"/>
              <a:gd name="connsiteY45" fmla="*/ 6524060 h 6857997"/>
              <a:gd name="connsiteX46" fmla="*/ 805845 w 7838843"/>
              <a:gd name="connsiteY46" fmla="*/ 6524060 h 6857997"/>
              <a:gd name="connsiteX47" fmla="*/ 811799 w 7838843"/>
              <a:gd name="connsiteY47" fmla="*/ 6542674 h 6857997"/>
              <a:gd name="connsiteX48" fmla="*/ 833735 w 7838843"/>
              <a:gd name="connsiteY48" fmla="*/ 6542674 h 6857997"/>
              <a:gd name="connsiteX49" fmla="*/ 801269 w 7838843"/>
              <a:gd name="connsiteY49" fmla="*/ 6451543 h 6857997"/>
              <a:gd name="connsiteX50" fmla="*/ 604404 w 7838843"/>
              <a:gd name="connsiteY50" fmla="*/ 6451543 h 6857997"/>
              <a:gd name="connsiteX51" fmla="*/ 576137 w 7838843"/>
              <a:gd name="connsiteY51" fmla="*/ 6479246 h 6857997"/>
              <a:gd name="connsiteX52" fmla="*/ 604404 w 7838843"/>
              <a:gd name="connsiteY52" fmla="*/ 6505821 h 6857997"/>
              <a:gd name="connsiteX53" fmla="*/ 625964 w 7838843"/>
              <a:gd name="connsiteY53" fmla="*/ 6505821 h 6857997"/>
              <a:gd name="connsiteX54" fmla="*/ 634174 w 7838843"/>
              <a:gd name="connsiteY54" fmla="*/ 6514282 h 6857997"/>
              <a:gd name="connsiteX55" fmla="*/ 625964 w 7838843"/>
              <a:gd name="connsiteY55" fmla="*/ 6522743 h 6857997"/>
              <a:gd name="connsiteX56" fmla="*/ 579772 w 7838843"/>
              <a:gd name="connsiteY56" fmla="*/ 6522743 h 6857997"/>
              <a:gd name="connsiteX57" fmla="*/ 579772 w 7838843"/>
              <a:gd name="connsiteY57" fmla="*/ 6542674 h 6857997"/>
              <a:gd name="connsiteX58" fmla="*/ 625149 w 7838843"/>
              <a:gd name="connsiteY58" fmla="*/ 6542674 h 6857997"/>
              <a:gd name="connsiteX59" fmla="*/ 653792 w 7838843"/>
              <a:gd name="connsiteY59" fmla="*/ 6514282 h 6857997"/>
              <a:gd name="connsiteX60" fmla="*/ 629223 w 7838843"/>
              <a:gd name="connsiteY60" fmla="*/ 6487707 h 6857997"/>
              <a:gd name="connsiteX61" fmla="*/ 604404 w 7838843"/>
              <a:gd name="connsiteY61" fmla="*/ 6487707 h 6857997"/>
              <a:gd name="connsiteX62" fmla="*/ 595817 w 7838843"/>
              <a:gd name="connsiteY62" fmla="*/ 6479246 h 6857997"/>
              <a:gd name="connsiteX63" fmla="*/ 604404 w 7838843"/>
              <a:gd name="connsiteY63" fmla="*/ 6470785 h 6857997"/>
              <a:gd name="connsiteX64" fmla="*/ 647462 w 7838843"/>
              <a:gd name="connsiteY64" fmla="*/ 6470785 h 6857997"/>
              <a:gd name="connsiteX65" fmla="*/ 647462 w 7838843"/>
              <a:gd name="connsiteY65" fmla="*/ 6451543 h 6857997"/>
              <a:gd name="connsiteX66" fmla="*/ 1023956 w 7838843"/>
              <a:gd name="connsiteY66" fmla="*/ 6451480 h 6857997"/>
              <a:gd name="connsiteX67" fmla="*/ 1023956 w 7838843"/>
              <a:gd name="connsiteY67" fmla="*/ 6542674 h 6857997"/>
              <a:gd name="connsiteX68" fmla="*/ 1045016 w 7838843"/>
              <a:gd name="connsiteY68" fmla="*/ 6542674 h 6857997"/>
              <a:gd name="connsiteX69" fmla="*/ 1045016 w 7838843"/>
              <a:gd name="connsiteY69" fmla="*/ 6504191 h 6857997"/>
              <a:gd name="connsiteX70" fmla="*/ 1074975 w 7838843"/>
              <a:gd name="connsiteY70" fmla="*/ 6542674 h 6857997"/>
              <a:gd name="connsiteX71" fmla="*/ 1099481 w 7838843"/>
              <a:gd name="connsiteY71" fmla="*/ 6542674 h 6857997"/>
              <a:gd name="connsiteX72" fmla="*/ 1065009 w 7838843"/>
              <a:gd name="connsiteY72" fmla="*/ 6497109 h 6857997"/>
              <a:gd name="connsiteX73" fmla="*/ 1099481 w 7838843"/>
              <a:gd name="connsiteY73" fmla="*/ 6451480 h 6857997"/>
              <a:gd name="connsiteX74" fmla="*/ 1074975 w 7838843"/>
              <a:gd name="connsiteY74" fmla="*/ 6451480 h 6857997"/>
              <a:gd name="connsiteX75" fmla="*/ 1045016 w 7838843"/>
              <a:gd name="connsiteY75" fmla="*/ 6489963 h 6857997"/>
              <a:gd name="connsiteX76" fmla="*/ 1045016 w 7838843"/>
              <a:gd name="connsiteY76" fmla="*/ 6451480 h 6857997"/>
              <a:gd name="connsiteX77" fmla="*/ 666077 w 7838843"/>
              <a:gd name="connsiteY77" fmla="*/ 6451480 h 6857997"/>
              <a:gd name="connsiteX78" fmla="*/ 666077 w 7838843"/>
              <a:gd name="connsiteY78" fmla="*/ 6542674 h 6857997"/>
              <a:gd name="connsiteX79" fmla="*/ 687073 w 7838843"/>
              <a:gd name="connsiteY79" fmla="*/ 6542674 h 6857997"/>
              <a:gd name="connsiteX80" fmla="*/ 687073 w 7838843"/>
              <a:gd name="connsiteY80" fmla="*/ 6504191 h 6857997"/>
              <a:gd name="connsiteX81" fmla="*/ 717033 w 7838843"/>
              <a:gd name="connsiteY81" fmla="*/ 6542674 h 6857997"/>
              <a:gd name="connsiteX82" fmla="*/ 741602 w 7838843"/>
              <a:gd name="connsiteY82" fmla="*/ 6542674 h 6857997"/>
              <a:gd name="connsiteX83" fmla="*/ 707067 w 7838843"/>
              <a:gd name="connsiteY83" fmla="*/ 6497109 h 6857997"/>
              <a:gd name="connsiteX84" fmla="*/ 741602 w 7838843"/>
              <a:gd name="connsiteY84" fmla="*/ 6451480 h 6857997"/>
              <a:gd name="connsiteX85" fmla="*/ 717033 w 7838843"/>
              <a:gd name="connsiteY85" fmla="*/ 6451480 h 6857997"/>
              <a:gd name="connsiteX86" fmla="*/ 687073 w 7838843"/>
              <a:gd name="connsiteY86" fmla="*/ 6489963 h 6857997"/>
              <a:gd name="connsiteX87" fmla="*/ 687073 w 7838843"/>
              <a:gd name="connsiteY87" fmla="*/ 6451480 h 6857997"/>
              <a:gd name="connsiteX88" fmla="*/ 0 w 7838843"/>
              <a:gd name="connsiteY88" fmla="*/ 0 h 6857997"/>
              <a:gd name="connsiteX89" fmla="*/ 7838843 w 7838843"/>
              <a:gd name="connsiteY89" fmla="*/ 0 h 6857997"/>
              <a:gd name="connsiteX90" fmla="*/ 7838843 w 7838843"/>
              <a:gd name="connsiteY90" fmla="*/ 6857997 h 6857997"/>
              <a:gd name="connsiteX91" fmla="*/ 0 w 7838843"/>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7838843"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7838843" y="0"/>
                </a:lnTo>
                <a:lnTo>
                  <a:pt x="7838843" y="6857997"/>
                </a:lnTo>
                <a:lnTo>
                  <a:pt x="0" y="6857997"/>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31027"/>
            <a:ext cx="6975737" cy="1365942"/>
          </a:xfrm>
          <a:prstGeom prst="rect">
            <a:avLst/>
          </a:prstGeom>
        </p:spPr>
        <p:txBody>
          <a:bodyPr anchor="t">
            <a:noAutofit/>
          </a:bodyPr>
          <a:lstStyle>
            <a:lvl1pPr marL="0" indent="0">
              <a:lnSpc>
                <a:spcPct val="85000"/>
              </a:lnSpc>
              <a:spcBef>
                <a:spcPts val="0"/>
              </a:spcBef>
              <a:buNone/>
              <a:defRPr sz="3600" spc="40" baseline="0">
                <a:solidFill>
                  <a:schemeClr val="accent1"/>
                </a:solidFill>
              </a:defRPr>
            </a:lvl1pPr>
          </a:lstStyle>
          <a:p>
            <a:pPr lvl="0"/>
            <a:r>
              <a:rPr lang="en-US" noProof="0"/>
              <a:t>Click to add a headline </a:t>
            </a:r>
            <a:br>
              <a:rPr lang="en-US" noProof="0"/>
            </a:br>
            <a:r>
              <a:rPr lang="en-US" noProof="0"/>
              <a:t>of maximum three lines</a:t>
            </a:r>
          </a:p>
          <a:p>
            <a:pPr lvl="0"/>
            <a:endParaRPr lang="en-US" noProof="0"/>
          </a:p>
        </p:txBody>
      </p:sp>
      <p:sp>
        <p:nvSpPr>
          <p:cNvPr id="20" name="Chart Placeholder 8">
            <a:extLst>
              <a:ext uri="{FF2B5EF4-FFF2-40B4-BE49-F238E27FC236}">
                <a16:creationId xmlns:a16="http://schemas.microsoft.com/office/drawing/2014/main" id="{BB026610-336B-9444-B5C9-29901CCC0EC0}"/>
              </a:ext>
            </a:extLst>
          </p:cNvPr>
          <p:cNvSpPr>
            <a:spLocks noGrp="1"/>
          </p:cNvSpPr>
          <p:nvPr>
            <p:ph type="chart" sz="quarter" idx="36" hasCustomPrompt="1"/>
          </p:nvPr>
        </p:nvSpPr>
        <p:spPr>
          <a:xfrm>
            <a:off x="8311662" y="1062084"/>
            <a:ext cx="3106615" cy="3054107"/>
          </a:xfrm>
        </p:spPr>
        <p:txBody>
          <a:bodyPr/>
          <a:lstStyle>
            <a:lvl1pPr marL="12700" indent="0" algn="ctr">
              <a:buNone/>
              <a:defRPr sz="1300">
                <a:solidFill>
                  <a:schemeClr val="accent1"/>
                </a:solidFill>
              </a:defRPr>
            </a:lvl1pPr>
          </a:lstStyle>
          <a:p>
            <a:r>
              <a:rPr lang="en-US" noProof="0"/>
              <a:t>Click to add chart</a:t>
            </a:r>
          </a:p>
        </p:txBody>
      </p:sp>
      <p:sp>
        <p:nvSpPr>
          <p:cNvPr id="25" name="Text Placeholder 7">
            <a:extLst>
              <a:ext uri="{FF2B5EF4-FFF2-40B4-BE49-F238E27FC236}">
                <a16:creationId xmlns:a16="http://schemas.microsoft.com/office/drawing/2014/main" id="{B520DA9E-0163-F247-8501-7565F6E8DDA8}"/>
              </a:ext>
            </a:extLst>
          </p:cNvPr>
          <p:cNvSpPr>
            <a:spLocks noGrp="1"/>
          </p:cNvSpPr>
          <p:nvPr>
            <p:ph type="body" sz="quarter" idx="37" hasCustomPrompt="1"/>
          </p:nvPr>
        </p:nvSpPr>
        <p:spPr>
          <a:xfrm>
            <a:off x="8142991" y="4409999"/>
            <a:ext cx="3481650" cy="1727275"/>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12" name="Platshållare för text 11">
            <a:extLst>
              <a:ext uri="{FF2B5EF4-FFF2-40B4-BE49-F238E27FC236}">
                <a16:creationId xmlns:a16="http://schemas.microsoft.com/office/drawing/2014/main" id="{34268D0C-E11B-C642-B393-3C933B403356}"/>
              </a:ext>
            </a:extLst>
          </p:cNvPr>
          <p:cNvSpPr>
            <a:spLocks noGrp="1"/>
          </p:cNvSpPr>
          <p:nvPr>
            <p:ph type="body" sz="quarter" idx="20" hasCustomPrompt="1"/>
          </p:nvPr>
        </p:nvSpPr>
        <p:spPr>
          <a:xfrm>
            <a:off x="576001" y="2527200"/>
            <a:ext cx="3487366" cy="3600450"/>
          </a:xfrm>
        </p:spPr>
        <p:txBody>
          <a:body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18" name="textruta 17">
            <a:extLst>
              <a:ext uri="{FF2B5EF4-FFF2-40B4-BE49-F238E27FC236}">
                <a16:creationId xmlns:a16="http://schemas.microsoft.com/office/drawing/2014/main" id="{8D3FDA7F-FEF7-5A4F-A6E6-FCE9B54715E2}"/>
              </a:ext>
            </a:extLst>
          </p:cNvPr>
          <p:cNvSpPr txBox="1"/>
          <p:nvPr userDrawn="1"/>
        </p:nvSpPr>
        <p:spPr>
          <a:xfrm>
            <a:off x="12395260" y="4409999"/>
            <a:ext cx="1681523" cy="1754326"/>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mn-lt"/>
                <a:cs typeface="Arial" panose="020B0604020202020204" pitchFamily="34" charset="0"/>
              </a:rPr>
              <a:t>To change from </a:t>
            </a:r>
            <a:r>
              <a:rPr lang="en-US" sz="900" b="1" baseline="0" noProof="0">
                <a:solidFill>
                  <a:schemeClr val="tx1">
                    <a:lumMod val="65000"/>
                    <a:lumOff val="35000"/>
                  </a:schemeClr>
                </a:solidFill>
                <a:latin typeface="+mn-lt"/>
                <a:cs typeface="Arial" panose="020B0604020202020204" pitchFamily="34" charset="0"/>
              </a:rPr>
              <a:t>headline</a:t>
            </a:r>
            <a:r>
              <a:rPr lang="en-US" sz="900" baseline="0" noProof="0">
                <a:solidFill>
                  <a:schemeClr val="tx1">
                    <a:lumMod val="65000"/>
                    <a:lumOff val="35000"/>
                  </a:schemeClr>
                </a:solidFill>
                <a:latin typeface="+mn-lt"/>
                <a:cs typeface="Arial" panose="020B0604020202020204" pitchFamily="34" charset="0"/>
              </a:rPr>
              <a:t> to </a:t>
            </a:r>
            <a:r>
              <a:rPr lang="en-US" sz="900" b="1" baseline="0" noProof="0">
                <a:solidFill>
                  <a:schemeClr val="tx1">
                    <a:lumMod val="65000"/>
                    <a:lumOff val="35000"/>
                  </a:schemeClr>
                </a:solidFill>
                <a:latin typeface="+mn-lt"/>
                <a:cs typeface="Arial" panose="020B0604020202020204" pitchFamily="34" charset="0"/>
              </a:rPr>
              <a:t>body text </a:t>
            </a:r>
            <a:r>
              <a:rPr lang="en-US" sz="900" baseline="0" noProof="0">
                <a:solidFill>
                  <a:schemeClr val="tx1">
                    <a:lumMod val="65000"/>
                    <a:lumOff val="35000"/>
                  </a:schemeClr>
                </a:solidFill>
                <a:latin typeface="+mn-lt"/>
                <a:cs typeface="Arial" panose="020B0604020202020204" pitchFamily="34" charset="0"/>
              </a:rPr>
              <a:t>or to </a:t>
            </a:r>
            <a:r>
              <a:rPr lang="en-US" sz="900" b="1" baseline="0" noProof="0">
                <a:solidFill>
                  <a:schemeClr val="tx1">
                    <a:lumMod val="65000"/>
                    <a:lumOff val="35000"/>
                  </a:schemeClr>
                </a:solidFill>
                <a:latin typeface="+mn-lt"/>
                <a:cs typeface="Arial" panose="020B0604020202020204" pitchFamily="34" charset="0"/>
              </a:rPr>
              <a:t>use bullets</a:t>
            </a:r>
            <a:r>
              <a:rPr lang="en-US" sz="900" baseline="0" noProof="0">
                <a:solidFill>
                  <a:schemeClr val="tx1">
                    <a:lumMod val="65000"/>
                    <a:lumOff val="35000"/>
                  </a:schemeClr>
                </a:solidFill>
                <a:latin typeface="+mn-lt"/>
                <a:cs typeface="Arial" panose="020B0604020202020204" pitchFamily="34" charset="0"/>
              </a:rPr>
              <a:t>, press </a:t>
            </a:r>
            <a:r>
              <a:rPr lang="en-US" sz="900" b="1" baseline="0" noProof="0">
                <a:solidFill>
                  <a:schemeClr val="tx1">
                    <a:lumMod val="65000"/>
                    <a:lumOff val="35000"/>
                  </a:schemeClr>
                </a:solidFill>
                <a:latin typeface="+mn-lt"/>
                <a:cs typeface="Arial" panose="020B0604020202020204" pitchFamily="34" charset="0"/>
              </a:rPr>
              <a:t>enter/return </a:t>
            </a:r>
            <a:r>
              <a:rPr lang="en-US" sz="900" baseline="0" noProof="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p:txBody>
      </p:sp>
      <p:pic>
        <p:nvPicPr>
          <p:cNvPr id="21" name="Picture 9">
            <a:extLst>
              <a:ext uri="{FF2B5EF4-FFF2-40B4-BE49-F238E27FC236}">
                <a16:creationId xmlns:a16="http://schemas.microsoft.com/office/drawing/2014/main" id="{8D5D17FA-2B6B-A546-92A1-E3350691318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5314208"/>
            <a:ext cx="1422121" cy="721417"/>
          </a:xfrm>
          <a:prstGeom prst="rect">
            <a:avLst/>
          </a:prstGeom>
          <a:ln w="9525">
            <a:solidFill>
              <a:schemeClr val="tx2"/>
            </a:solidFill>
          </a:ln>
        </p:spPr>
      </p:pic>
      <p:sp>
        <p:nvSpPr>
          <p:cNvPr id="22" name="Oval 4">
            <a:extLst>
              <a:ext uri="{FF2B5EF4-FFF2-40B4-BE49-F238E27FC236}">
                <a16:creationId xmlns:a16="http://schemas.microsoft.com/office/drawing/2014/main" id="{1192E461-E279-7141-82CE-BA8A88897DE1}"/>
              </a:ext>
            </a:extLst>
          </p:cNvPr>
          <p:cNvSpPr/>
          <p:nvPr userDrawn="1"/>
        </p:nvSpPr>
        <p:spPr>
          <a:xfrm>
            <a:off x="13194299" y="5537505"/>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23" name="Connector: Elbow 131">
            <a:extLst>
              <a:ext uri="{FF2B5EF4-FFF2-40B4-BE49-F238E27FC236}">
                <a16:creationId xmlns:a16="http://schemas.microsoft.com/office/drawing/2014/main" id="{7C6A921D-C76D-3D4C-B6A1-49E36AE156AA}"/>
              </a:ext>
            </a:extLst>
          </p:cNvPr>
          <p:cNvCxnSpPr>
            <a:cxnSpLocks/>
            <a:endCxn id="22" idx="0"/>
          </p:cNvCxnSpPr>
          <p:nvPr userDrawn="1"/>
        </p:nvCxnSpPr>
        <p:spPr>
          <a:xfrm rot="5400000">
            <a:off x="13324711" y="5265685"/>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ruta 5">
            <a:extLst>
              <a:ext uri="{FF2B5EF4-FFF2-40B4-BE49-F238E27FC236}">
                <a16:creationId xmlns:a16="http://schemas.microsoft.com/office/drawing/2014/main" id="{A4463C7D-F504-3941-8FDA-E34C13DFC7E5}"/>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26" name="textruta 25">
            <a:extLst>
              <a:ext uri="{FF2B5EF4-FFF2-40B4-BE49-F238E27FC236}">
                <a16:creationId xmlns:a16="http://schemas.microsoft.com/office/drawing/2014/main" id="{EDD868E4-C5F9-F44E-8E83-38E1C61A87CF}"/>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27" name="Rektangel 26">
            <a:extLst>
              <a:ext uri="{FF2B5EF4-FFF2-40B4-BE49-F238E27FC236}">
                <a16:creationId xmlns:a16="http://schemas.microsoft.com/office/drawing/2014/main" id="{34A09CD3-BE5C-4742-A5D0-0770E0DF2B53}"/>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8" name="Rektangel 27">
            <a:extLst>
              <a:ext uri="{FF2B5EF4-FFF2-40B4-BE49-F238E27FC236}">
                <a16:creationId xmlns:a16="http://schemas.microsoft.com/office/drawing/2014/main" id="{D75D8CC9-6E65-624D-95DA-4173446B3AAB}"/>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9" name="Platshållare för datum 3">
            <a:extLst>
              <a:ext uri="{FF2B5EF4-FFF2-40B4-BE49-F238E27FC236}">
                <a16:creationId xmlns:a16="http://schemas.microsoft.com/office/drawing/2014/main" id="{6ED577CA-4918-8542-8E6E-7D394D4010D4}"/>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E48EB987-B219-4440-887F-EFB01EB97012}" type="datetime1">
              <a:rPr lang="en-US" noProof="0" smtClean="0"/>
              <a:t>11/7/2025</a:t>
            </a:fld>
            <a:endParaRPr lang="en-US" noProof="0"/>
          </a:p>
        </p:txBody>
      </p:sp>
      <p:sp>
        <p:nvSpPr>
          <p:cNvPr id="30" name="Platshållare för sidfot 4">
            <a:extLst>
              <a:ext uri="{FF2B5EF4-FFF2-40B4-BE49-F238E27FC236}">
                <a16:creationId xmlns:a16="http://schemas.microsoft.com/office/drawing/2014/main" id="{79B6E22E-6B8C-C24F-B68A-E5A5857D45BA}"/>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nb-NO" noProof="0"/>
              <a:t>Skanska Norge Hovedpresentasjon - desember 2022</a:t>
            </a:r>
            <a:endParaRPr lang="en-US" noProof="0"/>
          </a:p>
        </p:txBody>
      </p:sp>
      <p:sp>
        <p:nvSpPr>
          <p:cNvPr id="31" name="Platshållare för bildnummer 5">
            <a:extLst>
              <a:ext uri="{FF2B5EF4-FFF2-40B4-BE49-F238E27FC236}">
                <a16:creationId xmlns:a16="http://schemas.microsoft.com/office/drawing/2014/main" id="{EAE63384-4E26-1748-83AC-28C58AF22243}"/>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32" name="Text Placeholder 4">
            <a:extLst>
              <a:ext uri="{FF2B5EF4-FFF2-40B4-BE49-F238E27FC236}">
                <a16:creationId xmlns:a16="http://schemas.microsoft.com/office/drawing/2014/main" id="{426CE449-BA7F-F046-9CEA-601C9BFEBFB1}"/>
              </a:ext>
            </a:extLst>
          </p:cNvPr>
          <p:cNvSpPr>
            <a:spLocks noGrp="1"/>
          </p:cNvSpPr>
          <p:nvPr>
            <p:ph type="body" sz="quarter" idx="16" hasCustomPrompt="1"/>
          </p:nvPr>
        </p:nvSpPr>
        <p:spPr>
          <a:xfrm rot="5400000">
            <a:off x="6548578"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328052969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7 Full Table">
    <p:spTree>
      <p:nvGrpSpPr>
        <p:cNvPr id="1" name=""/>
        <p:cNvGrpSpPr/>
        <p:nvPr/>
      </p:nvGrpSpPr>
      <p:grpSpPr>
        <a:xfrm>
          <a:off x="0" y="0"/>
          <a:ext cx="0" cy="0"/>
          <a:chOff x="0" y="0"/>
          <a:chExt cx="0" cy="0"/>
        </a:xfrm>
      </p:grpSpPr>
      <p:sp>
        <p:nvSpPr>
          <p:cNvPr id="14" name="Text Placeholder 18">
            <a:extLst>
              <a:ext uri="{FF2B5EF4-FFF2-40B4-BE49-F238E27FC236}">
                <a16:creationId xmlns:a16="http://schemas.microsoft.com/office/drawing/2014/main" id="{50DAC6A8-070F-A541-973B-11A3E7A90998}"/>
              </a:ext>
            </a:extLst>
          </p:cNvPr>
          <p:cNvSpPr>
            <a:spLocks noGrp="1"/>
          </p:cNvSpPr>
          <p:nvPr>
            <p:ph type="body" sz="quarter" idx="14" hasCustomPrompt="1"/>
          </p:nvPr>
        </p:nvSpPr>
        <p:spPr>
          <a:xfrm>
            <a:off x="576000" y="731027"/>
            <a:ext cx="11039738" cy="421200"/>
          </a:xfrm>
          <a:prstGeom prst="rect">
            <a:avLst/>
          </a:prstGeom>
        </p:spPr>
        <p:txBody>
          <a:bodyPr anchor="t">
            <a:noAutofit/>
          </a:bodyPr>
          <a:lstStyle>
            <a:lvl1pPr marL="0" indent="0">
              <a:lnSpc>
                <a:spcPct val="85000"/>
              </a:lnSpc>
              <a:spcBef>
                <a:spcPts val="0"/>
              </a:spcBef>
              <a:buNone/>
              <a:defRPr sz="3600" spc="40" baseline="0">
                <a:solidFill>
                  <a:schemeClr val="accent1"/>
                </a:solidFill>
              </a:defRPr>
            </a:lvl1pPr>
          </a:lstStyle>
          <a:p>
            <a:pPr lvl="0"/>
            <a:r>
              <a:rPr lang="en-US" noProof="0"/>
              <a:t>Click for a short headline of one line</a:t>
            </a:r>
          </a:p>
        </p:txBody>
      </p:sp>
      <p:grpSp>
        <p:nvGrpSpPr>
          <p:cNvPr id="17" name="Grupp 32">
            <a:extLst>
              <a:ext uri="{FF2B5EF4-FFF2-40B4-BE49-F238E27FC236}">
                <a16:creationId xmlns:a16="http://schemas.microsoft.com/office/drawing/2014/main" id="{06A06E8E-9AC5-474F-9D8F-BE8A4B8DF25A}"/>
              </a:ext>
            </a:extLst>
          </p:cNvPr>
          <p:cNvGrpSpPr/>
          <p:nvPr userDrawn="1"/>
        </p:nvGrpSpPr>
        <p:grpSpPr>
          <a:xfrm>
            <a:off x="576140" y="6451484"/>
            <a:ext cx="615478" cy="91194"/>
            <a:chOff x="576140" y="6451484"/>
            <a:chExt cx="615478" cy="91194"/>
          </a:xfrm>
          <a:solidFill>
            <a:schemeClr val="tx2"/>
          </a:solidFill>
        </p:grpSpPr>
        <p:sp>
          <p:nvSpPr>
            <p:cNvPr id="18" name="Bild 2">
              <a:extLst>
                <a:ext uri="{FF2B5EF4-FFF2-40B4-BE49-F238E27FC236}">
                  <a16:creationId xmlns:a16="http://schemas.microsoft.com/office/drawing/2014/main" id="{75F62DFF-CE28-2847-9178-371361C4B379}"/>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9" name="Bild 2">
              <a:extLst>
                <a:ext uri="{FF2B5EF4-FFF2-40B4-BE49-F238E27FC236}">
                  <a16:creationId xmlns:a16="http://schemas.microsoft.com/office/drawing/2014/main" id="{56F4E682-4CA9-5346-8CD6-98F8EACD6CE7}"/>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0" name="Bild 2">
              <a:extLst>
                <a:ext uri="{FF2B5EF4-FFF2-40B4-BE49-F238E27FC236}">
                  <a16:creationId xmlns:a16="http://schemas.microsoft.com/office/drawing/2014/main" id="{11510029-65DB-F040-9ED5-A182045EEF2B}"/>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1" name="Bild 2">
              <a:extLst>
                <a:ext uri="{FF2B5EF4-FFF2-40B4-BE49-F238E27FC236}">
                  <a16:creationId xmlns:a16="http://schemas.microsoft.com/office/drawing/2014/main" id="{882E3E49-2F44-5445-B3D9-4FA93CE1837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2" name="Bild 2">
              <a:extLst>
                <a:ext uri="{FF2B5EF4-FFF2-40B4-BE49-F238E27FC236}">
                  <a16:creationId xmlns:a16="http://schemas.microsoft.com/office/drawing/2014/main" id="{E77E397B-C384-F949-9F60-67A86BD39DCA}"/>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DBE8665D-1D7B-BC49-9416-388A79FA9660}"/>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E25BD59B-C1DD-BF4D-89DA-D56603C3E329}"/>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6" name="Table Placeholder 5">
            <a:extLst>
              <a:ext uri="{FF2B5EF4-FFF2-40B4-BE49-F238E27FC236}">
                <a16:creationId xmlns:a16="http://schemas.microsoft.com/office/drawing/2014/main" id="{9D72F005-92A7-3E40-AE8B-C0483ED6C406}"/>
              </a:ext>
            </a:extLst>
          </p:cNvPr>
          <p:cNvSpPr>
            <a:spLocks noGrp="1"/>
          </p:cNvSpPr>
          <p:nvPr>
            <p:ph type="tbl" sz="quarter" idx="19" hasCustomPrompt="1"/>
          </p:nvPr>
        </p:nvSpPr>
        <p:spPr>
          <a:xfrm>
            <a:off x="576263" y="2098801"/>
            <a:ext cx="11039475" cy="4037362"/>
          </a:xfrm>
        </p:spPr>
        <p:txBody>
          <a:bodyPr/>
          <a:lstStyle>
            <a:lvl1pPr marL="12700" indent="0">
              <a:buNone/>
              <a:defRPr sz="1300"/>
            </a:lvl1pPr>
          </a:lstStyle>
          <a:p>
            <a:r>
              <a:rPr lang="en-US" noProof="0"/>
              <a:t>Click to add a table</a:t>
            </a:r>
          </a:p>
        </p:txBody>
      </p:sp>
      <p:sp>
        <p:nvSpPr>
          <p:cNvPr id="15" name="Platshållare för datum 3">
            <a:extLst>
              <a:ext uri="{FF2B5EF4-FFF2-40B4-BE49-F238E27FC236}">
                <a16:creationId xmlns:a16="http://schemas.microsoft.com/office/drawing/2014/main" id="{670F8E42-AC0A-404C-9EE4-93B2A912F9BC}"/>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E1114DA8-2EF7-406A-8EF9-4660E7D75AC2}" type="datetime1">
              <a:rPr lang="en-US" noProof="0" smtClean="0"/>
              <a:t>11/7/2025</a:t>
            </a:fld>
            <a:endParaRPr lang="en-US" noProof="0"/>
          </a:p>
        </p:txBody>
      </p:sp>
      <p:sp>
        <p:nvSpPr>
          <p:cNvPr id="16" name="Platshållare för sidfot 4">
            <a:extLst>
              <a:ext uri="{FF2B5EF4-FFF2-40B4-BE49-F238E27FC236}">
                <a16:creationId xmlns:a16="http://schemas.microsoft.com/office/drawing/2014/main" id="{C9470A9D-83E1-E849-966D-5A0EE3A9986B}"/>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nb-NO" noProof="0"/>
              <a:t>Skanska Norge Hovedpresentasjon - desember 2022</a:t>
            </a:r>
            <a:endParaRPr lang="en-US" noProof="0"/>
          </a:p>
        </p:txBody>
      </p:sp>
      <p:sp>
        <p:nvSpPr>
          <p:cNvPr id="25" name="Platshållare för bildnummer 5">
            <a:extLst>
              <a:ext uri="{FF2B5EF4-FFF2-40B4-BE49-F238E27FC236}">
                <a16:creationId xmlns:a16="http://schemas.microsoft.com/office/drawing/2014/main" id="{6248F2C8-CF76-CD47-89F9-148F9C8D7F39}"/>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5982328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7 Icons Text">
    <p:spTree>
      <p:nvGrpSpPr>
        <p:cNvPr id="1" name=""/>
        <p:cNvGrpSpPr/>
        <p:nvPr/>
      </p:nvGrpSpPr>
      <p:grpSpPr>
        <a:xfrm>
          <a:off x="0" y="0"/>
          <a:ext cx="0" cy="0"/>
          <a:chOff x="0" y="0"/>
          <a:chExt cx="0" cy="0"/>
        </a:xfrm>
      </p:grpSpPr>
      <p:sp>
        <p:nvSpPr>
          <p:cNvPr id="11" name="Text Placeholder 7">
            <a:extLst>
              <a:ext uri="{FF2B5EF4-FFF2-40B4-BE49-F238E27FC236}">
                <a16:creationId xmlns:a16="http://schemas.microsoft.com/office/drawing/2014/main" id="{1E8E1731-23EB-0B4A-A05C-05B9BCA19C9C}"/>
              </a:ext>
            </a:extLst>
          </p:cNvPr>
          <p:cNvSpPr>
            <a:spLocks noGrp="1"/>
          </p:cNvSpPr>
          <p:nvPr>
            <p:ph type="body" sz="quarter" idx="32" hasCustomPrompt="1"/>
          </p:nvPr>
        </p:nvSpPr>
        <p:spPr>
          <a:xfrm>
            <a:off x="3416920" y="4154400"/>
            <a:ext cx="2531167" cy="1974938"/>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12" name="Text Placeholder 7">
            <a:extLst>
              <a:ext uri="{FF2B5EF4-FFF2-40B4-BE49-F238E27FC236}">
                <a16:creationId xmlns:a16="http://schemas.microsoft.com/office/drawing/2014/main" id="{2338588B-5749-8548-8A92-845B34954343}"/>
              </a:ext>
            </a:extLst>
          </p:cNvPr>
          <p:cNvSpPr>
            <a:spLocks noGrp="1"/>
          </p:cNvSpPr>
          <p:nvPr>
            <p:ph type="body" sz="quarter" idx="35" hasCustomPrompt="1"/>
          </p:nvPr>
        </p:nvSpPr>
        <p:spPr>
          <a:xfrm>
            <a:off x="6250746" y="4154400"/>
            <a:ext cx="2531167" cy="1974938"/>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13" name="Text Placeholder 7">
            <a:extLst>
              <a:ext uri="{FF2B5EF4-FFF2-40B4-BE49-F238E27FC236}">
                <a16:creationId xmlns:a16="http://schemas.microsoft.com/office/drawing/2014/main" id="{B2D2E607-59C0-854C-9641-8FC1939742CC}"/>
              </a:ext>
            </a:extLst>
          </p:cNvPr>
          <p:cNvSpPr>
            <a:spLocks noGrp="1"/>
          </p:cNvSpPr>
          <p:nvPr>
            <p:ph type="body" sz="quarter" idx="37" hasCustomPrompt="1"/>
          </p:nvPr>
        </p:nvSpPr>
        <p:spPr>
          <a:xfrm>
            <a:off x="9084571" y="4154400"/>
            <a:ext cx="2531167" cy="1974938"/>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14" name="Text Placeholder 18">
            <a:extLst>
              <a:ext uri="{FF2B5EF4-FFF2-40B4-BE49-F238E27FC236}">
                <a16:creationId xmlns:a16="http://schemas.microsoft.com/office/drawing/2014/main" id="{50DAC6A8-070F-A541-973B-11A3E7A90998}"/>
              </a:ext>
            </a:extLst>
          </p:cNvPr>
          <p:cNvSpPr>
            <a:spLocks noGrp="1"/>
          </p:cNvSpPr>
          <p:nvPr>
            <p:ph type="body" sz="quarter" idx="14" hasCustomPrompt="1"/>
          </p:nvPr>
        </p:nvSpPr>
        <p:spPr>
          <a:xfrm>
            <a:off x="576000" y="731027"/>
            <a:ext cx="11039738" cy="421200"/>
          </a:xfrm>
          <a:prstGeom prst="rect">
            <a:avLst/>
          </a:prstGeom>
        </p:spPr>
        <p:txBody>
          <a:bodyPr anchor="t">
            <a:noAutofit/>
          </a:bodyPr>
          <a:lstStyle>
            <a:lvl1pPr marL="0" indent="0">
              <a:lnSpc>
                <a:spcPct val="85000"/>
              </a:lnSpc>
              <a:spcBef>
                <a:spcPts val="0"/>
              </a:spcBef>
              <a:buNone/>
              <a:defRPr sz="3600" spc="40" baseline="0">
                <a:solidFill>
                  <a:schemeClr val="accent1"/>
                </a:solidFill>
              </a:defRPr>
            </a:lvl1pPr>
          </a:lstStyle>
          <a:p>
            <a:pPr lvl="0"/>
            <a:r>
              <a:rPr lang="en-US" noProof="0"/>
              <a:t>Click for a short headline of one line</a:t>
            </a:r>
          </a:p>
        </p:txBody>
      </p:sp>
      <p:sp>
        <p:nvSpPr>
          <p:cNvPr id="15" name="Text Placeholder 7">
            <a:extLst>
              <a:ext uri="{FF2B5EF4-FFF2-40B4-BE49-F238E27FC236}">
                <a16:creationId xmlns:a16="http://schemas.microsoft.com/office/drawing/2014/main" id="{CD04EC2E-C805-E64A-BBA4-8DECB98EE820}"/>
              </a:ext>
            </a:extLst>
          </p:cNvPr>
          <p:cNvSpPr>
            <a:spLocks noGrp="1"/>
          </p:cNvSpPr>
          <p:nvPr>
            <p:ph type="body" sz="quarter" idx="38" hasCustomPrompt="1"/>
          </p:nvPr>
        </p:nvSpPr>
        <p:spPr>
          <a:xfrm>
            <a:off x="583094" y="4154400"/>
            <a:ext cx="2531167" cy="1974938"/>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5" name="Picture Placeholder 4">
            <a:extLst>
              <a:ext uri="{FF2B5EF4-FFF2-40B4-BE49-F238E27FC236}">
                <a16:creationId xmlns:a16="http://schemas.microsoft.com/office/drawing/2014/main" id="{664BB5C8-D6D6-9E45-86B2-CADD71FC5C88}"/>
              </a:ext>
            </a:extLst>
          </p:cNvPr>
          <p:cNvSpPr>
            <a:spLocks noGrp="1"/>
          </p:cNvSpPr>
          <p:nvPr>
            <p:ph type="pic" sz="quarter" idx="39" hasCustomPrompt="1"/>
          </p:nvPr>
        </p:nvSpPr>
        <p:spPr>
          <a:xfrm>
            <a:off x="858744" y="2133600"/>
            <a:ext cx="1979867" cy="1828800"/>
          </a:xfrm>
        </p:spPr>
        <p:txBody>
          <a:bodyPr/>
          <a:lstStyle>
            <a:lvl1pPr marL="12700" indent="0" algn="ctr">
              <a:buNone/>
              <a:defRPr sz="1300">
                <a:solidFill>
                  <a:schemeClr val="accent1"/>
                </a:solidFill>
              </a:defRPr>
            </a:lvl1pPr>
          </a:lstStyle>
          <a:p>
            <a:r>
              <a:rPr lang="en-US" noProof="0"/>
              <a:t>Click to add icon</a:t>
            </a:r>
          </a:p>
        </p:txBody>
      </p:sp>
      <p:sp>
        <p:nvSpPr>
          <p:cNvPr id="30" name="Picture Placeholder 4">
            <a:extLst>
              <a:ext uri="{FF2B5EF4-FFF2-40B4-BE49-F238E27FC236}">
                <a16:creationId xmlns:a16="http://schemas.microsoft.com/office/drawing/2014/main" id="{21B4219E-EAF7-A840-BD4B-30965C2453D6}"/>
              </a:ext>
            </a:extLst>
          </p:cNvPr>
          <p:cNvSpPr>
            <a:spLocks noGrp="1"/>
          </p:cNvSpPr>
          <p:nvPr>
            <p:ph type="pic" sz="quarter" idx="40" hasCustomPrompt="1"/>
          </p:nvPr>
        </p:nvSpPr>
        <p:spPr>
          <a:xfrm>
            <a:off x="3692570" y="2133600"/>
            <a:ext cx="1979867" cy="1828800"/>
          </a:xfrm>
        </p:spPr>
        <p:txBody>
          <a:bodyPr/>
          <a:lstStyle>
            <a:lvl1pPr marL="12700" indent="0" algn="ctr">
              <a:buNone/>
              <a:defRPr sz="1300">
                <a:solidFill>
                  <a:schemeClr val="accent1"/>
                </a:solidFill>
              </a:defRPr>
            </a:lvl1pPr>
          </a:lstStyle>
          <a:p>
            <a:r>
              <a:rPr lang="en-US" noProof="0"/>
              <a:t>Click to add icon</a:t>
            </a:r>
          </a:p>
        </p:txBody>
      </p:sp>
      <p:sp>
        <p:nvSpPr>
          <p:cNvPr id="31" name="Picture Placeholder 4">
            <a:extLst>
              <a:ext uri="{FF2B5EF4-FFF2-40B4-BE49-F238E27FC236}">
                <a16:creationId xmlns:a16="http://schemas.microsoft.com/office/drawing/2014/main" id="{3E3297E1-ECDE-7F49-9333-F2D3B667B9E2}"/>
              </a:ext>
            </a:extLst>
          </p:cNvPr>
          <p:cNvSpPr>
            <a:spLocks noGrp="1"/>
          </p:cNvSpPr>
          <p:nvPr>
            <p:ph type="pic" sz="quarter" idx="41" hasCustomPrompt="1"/>
          </p:nvPr>
        </p:nvSpPr>
        <p:spPr>
          <a:xfrm>
            <a:off x="6526396" y="2133600"/>
            <a:ext cx="1979867" cy="1828800"/>
          </a:xfrm>
        </p:spPr>
        <p:txBody>
          <a:bodyPr/>
          <a:lstStyle>
            <a:lvl1pPr marL="12700" indent="0" algn="ctr">
              <a:buNone/>
              <a:defRPr sz="1300">
                <a:solidFill>
                  <a:schemeClr val="accent1"/>
                </a:solidFill>
              </a:defRPr>
            </a:lvl1pPr>
          </a:lstStyle>
          <a:p>
            <a:r>
              <a:rPr lang="en-US" noProof="0"/>
              <a:t>Click to add icon</a:t>
            </a:r>
          </a:p>
        </p:txBody>
      </p:sp>
      <p:sp>
        <p:nvSpPr>
          <p:cNvPr id="32" name="Picture Placeholder 4">
            <a:extLst>
              <a:ext uri="{FF2B5EF4-FFF2-40B4-BE49-F238E27FC236}">
                <a16:creationId xmlns:a16="http://schemas.microsoft.com/office/drawing/2014/main" id="{791D8F08-C508-FA4F-98BC-992A22771E82}"/>
              </a:ext>
            </a:extLst>
          </p:cNvPr>
          <p:cNvSpPr>
            <a:spLocks noGrp="1"/>
          </p:cNvSpPr>
          <p:nvPr>
            <p:ph type="pic" sz="quarter" idx="42" hasCustomPrompt="1"/>
          </p:nvPr>
        </p:nvSpPr>
        <p:spPr>
          <a:xfrm>
            <a:off x="9360221" y="2133600"/>
            <a:ext cx="1979867" cy="1828800"/>
          </a:xfrm>
        </p:spPr>
        <p:txBody>
          <a:bodyPr/>
          <a:lstStyle>
            <a:lvl1pPr marL="12700" indent="0" algn="ctr">
              <a:buNone/>
              <a:defRPr sz="1300">
                <a:solidFill>
                  <a:schemeClr val="accent1"/>
                </a:solidFill>
              </a:defRPr>
            </a:lvl1pPr>
          </a:lstStyle>
          <a:p>
            <a:r>
              <a:rPr lang="en-US" noProof="0"/>
              <a:t>Click to add icon</a:t>
            </a:r>
          </a:p>
        </p:txBody>
      </p:sp>
      <p:grpSp>
        <p:nvGrpSpPr>
          <p:cNvPr id="17" name="Grupp 32">
            <a:extLst>
              <a:ext uri="{FF2B5EF4-FFF2-40B4-BE49-F238E27FC236}">
                <a16:creationId xmlns:a16="http://schemas.microsoft.com/office/drawing/2014/main" id="{06A06E8E-9AC5-474F-9D8F-BE8A4B8DF25A}"/>
              </a:ext>
            </a:extLst>
          </p:cNvPr>
          <p:cNvGrpSpPr/>
          <p:nvPr userDrawn="1"/>
        </p:nvGrpSpPr>
        <p:grpSpPr>
          <a:xfrm>
            <a:off x="576140" y="6451484"/>
            <a:ext cx="615478" cy="91194"/>
            <a:chOff x="576140" y="6451484"/>
            <a:chExt cx="615478" cy="91194"/>
          </a:xfrm>
          <a:solidFill>
            <a:schemeClr val="tx2"/>
          </a:solidFill>
        </p:grpSpPr>
        <p:sp>
          <p:nvSpPr>
            <p:cNvPr id="18" name="Bild 2">
              <a:extLst>
                <a:ext uri="{FF2B5EF4-FFF2-40B4-BE49-F238E27FC236}">
                  <a16:creationId xmlns:a16="http://schemas.microsoft.com/office/drawing/2014/main" id="{75F62DFF-CE28-2847-9178-371361C4B379}"/>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9" name="Bild 2">
              <a:extLst>
                <a:ext uri="{FF2B5EF4-FFF2-40B4-BE49-F238E27FC236}">
                  <a16:creationId xmlns:a16="http://schemas.microsoft.com/office/drawing/2014/main" id="{56F4E682-4CA9-5346-8CD6-98F8EACD6CE7}"/>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0" name="Bild 2">
              <a:extLst>
                <a:ext uri="{FF2B5EF4-FFF2-40B4-BE49-F238E27FC236}">
                  <a16:creationId xmlns:a16="http://schemas.microsoft.com/office/drawing/2014/main" id="{11510029-65DB-F040-9ED5-A182045EEF2B}"/>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1" name="Bild 2">
              <a:extLst>
                <a:ext uri="{FF2B5EF4-FFF2-40B4-BE49-F238E27FC236}">
                  <a16:creationId xmlns:a16="http://schemas.microsoft.com/office/drawing/2014/main" id="{882E3E49-2F44-5445-B3D9-4FA93CE1837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2" name="Bild 2">
              <a:extLst>
                <a:ext uri="{FF2B5EF4-FFF2-40B4-BE49-F238E27FC236}">
                  <a16:creationId xmlns:a16="http://schemas.microsoft.com/office/drawing/2014/main" id="{E77E397B-C384-F949-9F60-67A86BD39DCA}"/>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DBE8665D-1D7B-BC49-9416-388A79FA9660}"/>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E25BD59B-C1DD-BF4D-89DA-D56603C3E329}"/>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25" name="textruta 24">
            <a:extLst>
              <a:ext uri="{FF2B5EF4-FFF2-40B4-BE49-F238E27FC236}">
                <a16:creationId xmlns:a16="http://schemas.microsoft.com/office/drawing/2014/main" id="{6FF8A552-8B94-0248-98BE-FC41CCC7238C}"/>
              </a:ext>
            </a:extLst>
          </p:cNvPr>
          <p:cNvSpPr txBox="1"/>
          <p:nvPr userDrawn="1"/>
        </p:nvSpPr>
        <p:spPr>
          <a:xfrm>
            <a:off x="12395260" y="4154400"/>
            <a:ext cx="1681523" cy="1754326"/>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mn-lt"/>
                <a:cs typeface="Arial" panose="020B0604020202020204" pitchFamily="34" charset="0"/>
              </a:rPr>
              <a:t>To change from </a:t>
            </a:r>
            <a:r>
              <a:rPr lang="en-US" sz="900" b="1" baseline="0" noProof="0">
                <a:solidFill>
                  <a:schemeClr val="tx1">
                    <a:lumMod val="65000"/>
                    <a:lumOff val="35000"/>
                  </a:schemeClr>
                </a:solidFill>
                <a:latin typeface="+mn-lt"/>
                <a:cs typeface="Arial" panose="020B0604020202020204" pitchFamily="34" charset="0"/>
              </a:rPr>
              <a:t>headline</a:t>
            </a:r>
            <a:r>
              <a:rPr lang="en-US" sz="900" baseline="0" noProof="0">
                <a:solidFill>
                  <a:schemeClr val="tx1">
                    <a:lumMod val="65000"/>
                    <a:lumOff val="35000"/>
                  </a:schemeClr>
                </a:solidFill>
                <a:latin typeface="+mn-lt"/>
                <a:cs typeface="Arial" panose="020B0604020202020204" pitchFamily="34" charset="0"/>
              </a:rPr>
              <a:t> to </a:t>
            </a:r>
            <a:r>
              <a:rPr lang="en-US" sz="900" b="1" baseline="0" noProof="0">
                <a:solidFill>
                  <a:schemeClr val="tx1">
                    <a:lumMod val="65000"/>
                    <a:lumOff val="35000"/>
                  </a:schemeClr>
                </a:solidFill>
                <a:latin typeface="+mn-lt"/>
                <a:cs typeface="Arial" panose="020B0604020202020204" pitchFamily="34" charset="0"/>
              </a:rPr>
              <a:t>body text </a:t>
            </a:r>
            <a:r>
              <a:rPr lang="en-US" sz="900" baseline="0" noProof="0">
                <a:solidFill>
                  <a:schemeClr val="tx1">
                    <a:lumMod val="65000"/>
                    <a:lumOff val="35000"/>
                  </a:schemeClr>
                </a:solidFill>
                <a:latin typeface="+mn-lt"/>
                <a:cs typeface="Arial" panose="020B0604020202020204" pitchFamily="34" charset="0"/>
              </a:rPr>
              <a:t>or to </a:t>
            </a:r>
            <a:r>
              <a:rPr lang="en-US" sz="900" b="1" baseline="0" noProof="0">
                <a:solidFill>
                  <a:schemeClr val="tx1">
                    <a:lumMod val="65000"/>
                    <a:lumOff val="35000"/>
                  </a:schemeClr>
                </a:solidFill>
                <a:latin typeface="+mn-lt"/>
                <a:cs typeface="Arial" panose="020B0604020202020204" pitchFamily="34" charset="0"/>
              </a:rPr>
              <a:t>use bullets</a:t>
            </a:r>
            <a:r>
              <a:rPr lang="en-US" sz="900" baseline="0" noProof="0">
                <a:solidFill>
                  <a:schemeClr val="tx1">
                    <a:lumMod val="65000"/>
                    <a:lumOff val="35000"/>
                  </a:schemeClr>
                </a:solidFill>
                <a:latin typeface="+mn-lt"/>
                <a:cs typeface="Arial" panose="020B0604020202020204" pitchFamily="34" charset="0"/>
              </a:rPr>
              <a:t>, press </a:t>
            </a:r>
            <a:r>
              <a:rPr lang="en-US" sz="900" b="1" baseline="0" noProof="0">
                <a:solidFill>
                  <a:schemeClr val="tx1">
                    <a:lumMod val="65000"/>
                    <a:lumOff val="35000"/>
                  </a:schemeClr>
                </a:solidFill>
                <a:latin typeface="+mn-lt"/>
                <a:cs typeface="Arial" panose="020B0604020202020204" pitchFamily="34" charset="0"/>
              </a:rPr>
              <a:t>enter/return </a:t>
            </a:r>
            <a:r>
              <a:rPr lang="en-US" sz="900" baseline="0" noProof="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p:txBody>
      </p:sp>
      <p:pic>
        <p:nvPicPr>
          <p:cNvPr id="26" name="Picture 9">
            <a:extLst>
              <a:ext uri="{FF2B5EF4-FFF2-40B4-BE49-F238E27FC236}">
                <a16:creationId xmlns:a16="http://schemas.microsoft.com/office/drawing/2014/main" id="{93794F68-FA77-DA48-9A1A-E02A2FFA083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27" name="Oval 4">
            <a:extLst>
              <a:ext uri="{FF2B5EF4-FFF2-40B4-BE49-F238E27FC236}">
                <a16:creationId xmlns:a16="http://schemas.microsoft.com/office/drawing/2014/main" id="{5241205B-C4DB-DD49-956F-BF07FDFE2B88}"/>
              </a:ext>
            </a:extLst>
          </p:cNvPr>
          <p:cNvSpPr/>
          <p:nvPr userDrawn="1"/>
        </p:nvSpPr>
        <p:spPr>
          <a:xfrm>
            <a:off x="13194299" y="52819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28" name="Connector: Elbow 131">
            <a:extLst>
              <a:ext uri="{FF2B5EF4-FFF2-40B4-BE49-F238E27FC236}">
                <a16:creationId xmlns:a16="http://schemas.microsoft.com/office/drawing/2014/main" id="{51B26D0D-F6C6-4746-9A73-F3230C78CC13}"/>
              </a:ext>
            </a:extLst>
          </p:cNvPr>
          <p:cNvCxnSpPr>
            <a:cxnSpLocks/>
            <a:endCxn id="27" idx="0"/>
          </p:cNvCxnSpPr>
          <p:nvPr userDrawn="1"/>
        </p:nvCxnSpPr>
        <p:spPr>
          <a:xfrm rot="5400000">
            <a:off x="13324711" y="50100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Platshållare för datum 3">
            <a:extLst>
              <a:ext uri="{FF2B5EF4-FFF2-40B4-BE49-F238E27FC236}">
                <a16:creationId xmlns:a16="http://schemas.microsoft.com/office/drawing/2014/main" id="{F108AD82-72FC-B14A-AB1D-3531EE1EF2A5}"/>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EBBEA185-F8A4-4156-8018-9FF6AB6889EE}" type="datetime1">
              <a:rPr lang="en-US" noProof="0" smtClean="0"/>
              <a:t>11/7/2025</a:t>
            </a:fld>
            <a:endParaRPr lang="en-US" noProof="0"/>
          </a:p>
        </p:txBody>
      </p:sp>
      <p:sp>
        <p:nvSpPr>
          <p:cNvPr id="33" name="Platshållare för sidfot 4">
            <a:extLst>
              <a:ext uri="{FF2B5EF4-FFF2-40B4-BE49-F238E27FC236}">
                <a16:creationId xmlns:a16="http://schemas.microsoft.com/office/drawing/2014/main" id="{C4EB0FB3-7424-E64E-9E1F-C82858E84CA5}"/>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nb-NO" noProof="0"/>
              <a:t>Skanska Norge Hovedpresentasjon - desember 2022</a:t>
            </a:r>
            <a:endParaRPr lang="en-US" noProof="0"/>
          </a:p>
        </p:txBody>
      </p:sp>
      <p:sp>
        <p:nvSpPr>
          <p:cNvPr id="34" name="Platshållare för bildnummer 5">
            <a:extLst>
              <a:ext uri="{FF2B5EF4-FFF2-40B4-BE49-F238E27FC236}">
                <a16:creationId xmlns:a16="http://schemas.microsoft.com/office/drawing/2014/main" id="{F618CE27-EA31-0640-9BB9-B364046C3B39}"/>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216933022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7 Icons Text Image">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CBA7EE4-EB8C-8F45-95DB-49CBDE2D978D}"/>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tx2"/>
                </a:solidFill>
              </a:defRPr>
            </a:lvl1pPr>
          </a:lstStyle>
          <a:p>
            <a:r>
              <a:rPr lang="en-US" noProof="0"/>
              <a:t>Click on the icon to add an image</a:t>
            </a:r>
          </a:p>
        </p:txBody>
      </p:sp>
      <p:sp>
        <p:nvSpPr>
          <p:cNvPr id="11" name="Text Placeholder 7">
            <a:extLst>
              <a:ext uri="{FF2B5EF4-FFF2-40B4-BE49-F238E27FC236}">
                <a16:creationId xmlns:a16="http://schemas.microsoft.com/office/drawing/2014/main" id="{1E8E1731-23EB-0B4A-A05C-05B9BCA19C9C}"/>
              </a:ext>
            </a:extLst>
          </p:cNvPr>
          <p:cNvSpPr>
            <a:spLocks noGrp="1"/>
          </p:cNvSpPr>
          <p:nvPr>
            <p:ph type="body" sz="quarter" idx="32" hasCustomPrompt="1"/>
          </p:nvPr>
        </p:nvSpPr>
        <p:spPr>
          <a:xfrm>
            <a:off x="3416920" y="4154400"/>
            <a:ext cx="2531167" cy="1974938"/>
          </a:xfrm>
        </p:spPr>
        <p:txBody>
          <a:bodyPr/>
          <a:lstStyle>
            <a:lvl1pPr marL="0" indent="0" algn="ctr">
              <a:lnSpc>
                <a:spcPct val="100000"/>
              </a:lnSpc>
              <a:spcBef>
                <a:spcPts val="0"/>
              </a:spcBef>
              <a:spcAft>
                <a:spcPts val="800"/>
              </a:spcAft>
              <a:buNone/>
              <a:defRPr sz="1800" b="1" spc="40" baseline="0">
                <a:solidFill>
                  <a:schemeClr val="bg1"/>
                </a:solidFill>
              </a:defRPr>
            </a:lvl1pPr>
            <a:lvl2pPr marL="0" indent="0" algn="ctr">
              <a:lnSpc>
                <a:spcPct val="100000"/>
              </a:lnSpc>
              <a:spcBef>
                <a:spcPts val="0"/>
              </a:spcBef>
              <a:spcAft>
                <a:spcPts val="600"/>
              </a:spcAft>
              <a:buNone/>
              <a:defRPr sz="1600" spc="40" baseline="0">
                <a:solidFill>
                  <a:schemeClr val="bg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12" name="Text Placeholder 7">
            <a:extLst>
              <a:ext uri="{FF2B5EF4-FFF2-40B4-BE49-F238E27FC236}">
                <a16:creationId xmlns:a16="http://schemas.microsoft.com/office/drawing/2014/main" id="{2338588B-5749-8548-8A92-845B34954343}"/>
              </a:ext>
            </a:extLst>
          </p:cNvPr>
          <p:cNvSpPr>
            <a:spLocks noGrp="1"/>
          </p:cNvSpPr>
          <p:nvPr>
            <p:ph type="body" sz="quarter" idx="35" hasCustomPrompt="1"/>
          </p:nvPr>
        </p:nvSpPr>
        <p:spPr>
          <a:xfrm>
            <a:off x="6250746" y="4154400"/>
            <a:ext cx="2531167" cy="1974938"/>
          </a:xfrm>
        </p:spPr>
        <p:txBody>
          <a:bodyPr/>
          <a:lstStyle>
            <a:lvl1pPr marL="0" indent="0" algn="ctr">
              <a:lnSpc>
                <a:spcPct val="100000"/>
              </a:lnSpc>
              <a:spcBef>
                <a:spcPts val="0"/>
              </a:spcBef>
              <a:spcAft>
                <a:spcPts val="800"/>
              </a:spcAft>
              <a:buNone/>
              <a:defRPr sz="1800" b="1" spc="40" baseline="0">
                <a:solidFill>
                  <a:schemeClr val="bg1"/>
                </a:solidFill>
              </a:defRPr>
            </a:lvl1pPr>
            <a:lvl2pPr marL="0" indent="0" algn="ctr">
              <a:lnSpc>
                <a:spcPct val="100000"/>
              </a:lnSpc>
              <a:spcBef>
                <a:spcPts val="0"/>
              </a:spcBef>
              <a:spcAft>
                <a:spcPts val="600"/>
              </a:spcAft>
              <a:buNone/>
              <a:defRPr sz="1600" spc="40" baseline="0">
                <a:solidFill>
                  <a:schemeClr val="bg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13" name="Text Placeholder 7">
            <a:extLst>
              <a:ext uri="{FF2B5EF4-FFF2-40B4-BE49-F238E27FC236}">
                <a16:creationId xmlns:a16="http://schemas.microsoft.com/office/drawing/2014/main" id="{B2D2E607-59C0-854C-9641-8FC1939742CC}"/>
              </a:ext>
            </a:extLst>
          </p:cNvPr>
          <p:cNvSpPr>
            <a:spLocks noGrp="1"/>
          </p:cNvSpPr>
          <p:nvPr>
            <p:ph type="body" sz="quarter" idx="37" hasCustomPrompt="1"/>
          </p:nvPr>
        </p:nvSpPr>
        <p:spPr>
          <a:xfrm>
            <a:off x="9084571" y="4154400"/>
            <a:ext cx="2531167" cy="1974938"/>
          </a:xfrm>
        </p:spPr>
        <p:txBody>
          <a:bodyPr/>
          <a:lstStyle>
            <a:lvl1pPr marL="0" indent="0" algn="ctr">
              <a:lnSpc>
                <a:spcPct val="100000"/>
              </a:lnSpc>
              <a:spcBef>
                <a:spcPts val="0"/>
              </a:spcBef>
              <a:spcAft>
                <a:spcPts val="800"/>
              </a:spcAft>
              <a:buNone/>
              <a:defRPr sz="1800" b="1" spc="40" baseline="0">
                <a:solidFill>
                  <a:schemeClr val="bg1"/>
                </a:solidFill>
              </a:defRPr>
            </a:lvl1pPr>
            <a:lvl2pPr marL="0" indent="0" algn="ctr">
              <a:lnSpc>
                <a:spcPct val="100000"/>
              </a:lnSpc>
              <a:spcBef>
                <a:spcPts val="0"/>
              </a:spcBef>
              <a:spcAft>
                <a:spcPts val="600"/>
              </a:spcAft>
              <a:buNone/>
              <a:defRPr sz="1600" spc="40" baseline="0">
                <a:solidFill>
                  <a:schemeClr val="bg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14" name="Text Placeholder 18">
            <a:extLst>
              <a:ext uri="{FF2B5EF4-FFF2-40B4-BE49-F238E27FC236}">
                <a16:creationId xmlns:a16="http://schemas.microsoft.com/office/drawing/2014/main" id="{50DAC6A8-070F-A541-973B-11A3E7A90998}"/>
              </a:ext>
            </a:extLst>
          </p:cNvPr>
          <p:cNvSpPr>
            <a:spLocks noGrp="1"/>
          </p:cNvSpPr>
          <p:nvPr>
            <p:ph type="body" sz="quarter" idx="14" hasCustomPrompt="1"/>
          </p:nvPr>
        </p:nvSpPr>
        <p:spPr>
          <a:xfrm>
            <a:off x="576000" y="731027"/>
            <a:ext cx="11039738" cy="421200"/>
          </a:xfrm>
          <a:prstGeom prst="rect">
            <a:avLst/>
          </a:prstGeom>
        </p:spPr>
        <p:txBody>
          <a:bodyPr anchor="t">
            <a:noAutofit/>
          </a:bodyPr>
          <a:lstStyle>
            <a:lvl1pPr marL="0" indent="0">
              <a:lnSpc>
                <a:spcPct val="85000"/>
              </a:lnSpc>
              <a:spcBef>
                <a:spcPts val="0"/>
              </a:spcBef>
              <a:buNone/>
              <a:defRPr sz="3600" spc="40" baseline="0">
                <a:solidFill>
                  <a:schemeClr val="bg1"/>
                </a:solidFill>
              </a:defRPr>
            </a:lvl1pPr>
          </a:lstStyle>
          <a:p>
            <a:pPr lvl="0"/>
            <a:r>
              <a:rPr lang="en-US" noProof="0"/>
              <a:t>Click for a short headline of one line</a:t>
            </a:r>
          </a:p>
        </p:txBody>
      </p:sp>
      <p:sp>
        <p:nvSpPr>
          <p:cNvPr id="15" name="Text Placeholder 7">
            <a:extLst>
              <a:ext uri="{FF2B5EF4-FFF2-40B4-BE49-F238E27FC236}">
                <a16:creationId xmlns:a16="http://schemas.microsoft.com/office/drawing/2014/main" id="{CD04EC2E-C805-E64A-BBA4-8DECB98EE820}"/>
              </a:ext>
            </a:extLst>
          </p:cNvPr>
          <p:cNvSpPr>
            <a:spLocks noGrp="1"/>
          </p:cNvSpPr>
          <p:nvPr>
            <p:ph type="body" sz="quarter" idx="38" hasCustomPrompt="1"/>
          </p:nvPr>
        </p:nvSpPr>
        <p:spPr>
          <a:xfrm>
            <a:off x="583094" y="4154400"/>
            <a:ext cx="2531167" cy="1974938"/>
          </a:xfrm>
        </p:spPr>
        <p:txBody>
          <a:bodyPr/>
          <a:lstStyle>
            <a:lvl1pPr marL="0" indent="0" algn="ctr">
              <a:lnSpc>
                <a:spcPct val="100000"/>
              </a:lnSpc>
              <a:spcBef>
                <a:spcPts val="0"/>
              </a:spcBef>
              <a:spcAft>
                <a:spcPts val="800"/>
              </a:spcAft>
              <a:buNone/>
              <a:defRPr sz="1800" b="1" spc="40" baseline="0">
                <a:solidFill>
                  <a:schemeClr val="bg1"/>
                </a:solidFill>
              </a:defRPr>
            </a:lvl1pPr>
            <a:lvl2pPr marL="0" indent="0" algn="ctr">
              <a:lnSpc>
                <a:spcPct val="100000"/>
              </a:lnSpc>
              <a:spcBef>
                <a:spcPts val="0"/>
              </a:spcBef>
              <a:spcAft>
                <a:spcPts val="600"/>
              </a:spcAft>
              <a:buNone/>
              <a:defRPr sz="1600" spc="40" baseline="0">
                <a:solidFill>
                  <a:schemeClr val="bg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16" name="textruta 15">
            <a:extLst>
              <a:ext uri="{FF2B5EF4-FFF2-40B4-BE49-F238E27FC236}">
                <a16:creationId xmlns:a16="http://schemas.microsoft.com/office/drawing/2014/main" id="{5B557DC7-544E-9044-B335-9376734CE4C7}"/>
              </a:ext>
            </a:extLst>
          </p:cNvPr>
          <p:cNvSpPr txBox="1"/>
          <p:nvPr userDrawn="1"/>
        </p:nvSpPr>
        <p:spPr>
          <a:xfrm>
            <a:off x="12395260" y="4154400"/>
            <a:ext cx="1681523" cy="1754326"/>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mn-lt"/>
                <a:cs typeface="Arial" panose="020B0604020202020204" pitchFamily="34" charset="0"/>
              </a:rPr>
              <a:t>To change from </a:t>
            </a:r>
            <a:r>
              <a:rPr lang="en-US" sz="900" b="1" baseline="0" noProof="0">
                <a:solidFill>
                  <a:schemeClr val="tx1">
                    <a:lumMod val="65000"/>
                    <a:lumOff val="35000"/>
                  </a:schemeClr>
                </a:solidFill>
                <a:latin typeface="+mn-lt"/>
                <a:cs typeface="Arial" panose="020B0604020202020204" pitchFamily="34" charset="0"/>
              </a:rPr>
              <a:t>headline</a:t>
            </a:r>
            <a:r>
              <a:rPr lang="en-US" sz="900" baseline="0" noProof="0">
                <a:solidFill>
                  <a:schemeClr val="tx1">
                    <a:lumMod val="65000"/>
                    <a:lumOff val="35000"/>
                  </a:schemeClr>
                </a:solidFill>
                <a:latin typeface="+mn-lt"/>
                <a:cs typeface="Arial" panose="020B0604020202020204" pitchFamily="34" charset="0"/>
              </a:rPr>
              <a:t> to </a:t>
            </a:r>
            <a:r>
              <a:rPr lang="en-US" sz="900" b="1" baseline="0" noProof="0">
                <a:solidFill>
                  <a:schemeClr val="tx1">
                    <a:lumMod val="65000"/>
                    <a:lumOff val="35000"/>
                  </a:schemeClr>
                </a:solidFill>
                <a:latin typeface="+mn-lt"/>
                <a:cs typeface="Arial" panose="020B0604020202020204" pitchFamily="34" charset="0"/>
              </a:rPr>
              <a:t>body text </a:t>
            </a:r>
            <a:r>
              <a:rPr lang="en-US" sz="900" baseline="0" noProof="0">
                <a:solidFill>
                  <a:schemeClr val="tx1">
                    <a:lumMod val="65000"/>
                    <a:lumOff val="35000"/>
                  </a:schemeClr>
                </a:solidFill>
                <a:latin typeface="+mn-lt"/>
                <a:cs typeface="Arial" panose="020B0604020202020204" pitchFamily="34" charset="0"/>
              </a:rPr>
              <a:t>or to </a:t>
            </a:r>
            <a:r>
              <a:rPr lang="en-US" sz="900" b="1" baseline="0" noProof="0">
                <a:solidFill>
                  <a:schemeClr val="tx1">
                    <a:lumMod val="65000"/>
                    <a:lumOff val="35000"/>
                  </a:schemeClr>
                </a:solidFill>
                <a:latin typeface="+mn-lt"/>
                <a:cs typeface="Arial" panose="020B0604020202020204" pitchFamily="34" charset="0"/>
              </a:rPr>
              <a:t>use bullets</a:t>
            </a:r>
            <a:r>
              <a:rPr lang="en-US" sz="900" baseline="0" noProof="0">
                <a:solidFill>
                  <a:schemeClr val="tx1">
                    <a:lumMod val="65000"/>
                    <a:lumOff val="35000"/>
                  </a:schemeClr>
                </a:solidFill>
                <a:latin typeface="+mn-lt"/>
                <a:cs typeface="Arial" panose="020B0604020202020204" pitchFamily="34" charset="0"/>
              </a:rPr>
              <a:t>, press </a:t>
            </a:r>
            <a:r>
              <a:rPr lang="en-US" sz="900" b="1" baseline="0" noProof="0">
                <a:solidFill>
                  <a:schemeClr val="tx1">
                    <a:lumMod val="65000"/>
                    <a:lumOff val="35000"/>
                  </a:schemeClr>
                </a:solidFill>
                <a:latin typeface="+mn-lt"/>
                <a:cs typeface="Arial" panose="020B0604020202020204" pitchFamily="34" charset="0"/>
              </a:rPr>
              <a:t>enter/return </a:t>
            </a:r>
            <a:r>
              <a:rPr lang="en-US" sz="900" baseline="0" noProof="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p:txBody>
      </p:sp>
      <p:pic>
        <p:nvPicPr>
          <p:cNvPr id="20" name="Picture 9">
            <a:extLst>
              <a:ext uri="{FF2B5EF4-FFF2-40B4-BE49-F238E27FC236}">
                <a16:creationId xmlns:a16="http://schemas.microsoft.com/office/drawing/2014/main" id="{5DB31F11-9F44-8645-A844-3ADA59673FA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21" name="Oval 4">
            <a:extLst>
              <a:ext uri="{FF2B5EF4-FFF2-40B4-BE49-F238E27FC236}">
                <a16:creationId xmlns:a16="http://schemas.microsoft.com/office/drawing/2014/main" id="{A5F2B902-2364-FB49-99E0-D370C6CC7FB2}"/>
              </a:ext>
            </a:extLst>
          </p:cNvPr>
          <p:cNvSpPr/>
          <p:nvPr userDrawn="1"/>
        </p:nvSpPr>
        <p:spPr>
          <a:xfrm>
            <a:off x="13194299" y="52819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22" name="Connector: Elbow 131">
            <a:extLst>
              <a:ext uri="{FF2B5EF4-FFF2-40B4-BE49-F238E27FC236}">
                <a16:creationId xmlns:a16="http://schemas.microsoft.com/office/drawing/2014/main" id="{2EF1A2AE-7440-6E41-8D23-42FC41929565}"/>
              </a:ext>
            </a:extLst>
          </p:cNvPr>
          <p:cNvCxnSpPr>
            <a:cxnSpLocks/>
            <a:endCxn id="21" idx="0"/>
          </p:cNvCxnSpPr>
          <p:nvPr userDrawn="1"/>
        </p:nvCxnSpPr>
        <p:spPr>
          <a:xfrm rot="5400000">
            <a:off x="13324711" y="50100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Picture Placeholder 4">
            <a:extLst>
              <a:ext uri="{FF2B5EF4-FFF2-40B4-BE49-F238E27FC236}">
                <a16:creationId xmlns:a16="http://schemas.microsoft.com/office/drawing/2014/main" id="{D0E63235-FEA3-D948-A94A-0578C7768948}"/>
              </a:ext>
            </a:extLst>
          </p:cNvPr>
          <p:cNvSpPr>
            <a:spLocks noGrp="1"/>
          </p:cNvSpPr>
          <p:nvPr>
            <p:ph type="pic" sz="quarter" idx="39" hasCustomPrompt="1"/>
          </p:nvPr>
        </p:nvSpPr>
        <p:spPr>
          <a:xfrm>
            <a:off x="858744" y="2133600"/>
            <a:ext cx="1979867" cy="1828800"/>
          </a:xfrm>
        </p:spPr>
        <p:txBody>
          <a:bodyPr/>
          <a:lstStyle>
            <a:lvl1pPr marL="12700" indent="0" algn="ctr">
              <a:buNone/>
              <a:defRPr sz="1300">
                <a:solidFill>
                  <a:schemeClr val="accent1"/>
                </a:solidFill>
              </a:defRPr>
            </a:lvl1pPr>
          </a:lstStyle>
          <a:p>
            <a:r>
              <a:rPr lang="en-US" noProof="0"/>
              <a:t>Click to add icon</a:t>
            </a:r>
          </a:p>
        </p:txBody>
      </p:sp>
      <p:sp>
        <p:nvSpPr>
          <p:cNvPr id="24" name="Picture Placeholder 4">
            <a:extLst>
              <a:ext uri="{FF2B5EF4-FFF2-40B4-BE49-F238E27FC236}">
                <a16:creationId xmlns:a16="http://schemas.microsoft.com/office/drawing/2014/main" id="{FB7545F6-DD9D-304C-9F71-C8CA7EFDC097}"/>
              </a:ext>
            </a:extLst>
          </p:cNvPr>
          <p:cNvSpPr>
            <a:spLocks noGrp="1"/>
          </p:cNvSpPr>
          <p:nvPr>
            <p:ph type="pic" sz="quarter" idx="40" hasCustomPrompt="1"/>
          </p:nvPr>
        </p:nvSpPr>
        <p:spPr>
          <a:xfrm>
            <a:off x="3692570" y="2133600"/>
            <a:ext cx="1979867" cy="1828800"/>
          </a:xfrm>
        </p:spPr>
        <p:txBody>
          <a:bodyPr/>
          <a:lstStyle>
            <a:lvl1pPr marL="12700" indent="0" algn="ctr">
              <a:buNone/>
              <a:defRPr sz="1300">
                <a:solidFill>
                  <a:schemeClr val="accent1"/>
                </a:solidFill>
              </a:defRPr>
            </a:lvl1pPr>
          </a:lstStyle>
          <a:p>
            <a:r>
              <a:rPr lang="en-US" noProof="0"/>
              <a:t>Click to add icon</a:t>
            </a:r>
          </a:p>
        </p:txBody>
      </p:sp>
      <p:sp>
        <p:nvSpPr>
          <p:cNvPr id="25" name="Picture Placeholder 4">
            <a:extLst>
              <a:ext uri="{FF2B5EF4-FFF2-40B4-BE49-F238E27FC236}">
                <a16:creationId xmlns:a16="http://schemas.microsoft.com/office/drawing/2014/main" id="{A03EE993-57A1-F843-87BE-52AFE8FCB895}"/>
              </a:ext>
            </a:extLst>
          </p:cNvPr>
          <p:cNvSpPr>
            <a:spLocks noGrp="1"/>
          </p:cNvSpPr>
          <p:nvPr>
            <p:ph type="pic" sz="quarter" idx="41" hasCustomPrompt="1"/>
          </p:nvPr>
        </p:nvSpPr>
        <p:spPr>
          <a:xfrm>
            <a:off x="6526396" y="2133600"/>
            <a:ext cx="1979867" cy="1828800"/>
          </a:xfrm>
        </p:spPr>
        <p:txBody>
          <a:bodyPr/>
          <a:lstStyle>
            <a:lvl1pPr marL="12700" indent="0" algn="ctr">
              <a:buNone/>
              <a:defRPr sz="1300">
                <a:solidFill>
                  <a:schemeClr val="accent1"/>
                </a:solidFill>
              </a:defRPr>
            </a:lvl1pPr>
          </a:lstStyle>
          <a:p>
            <a:r>
              <a:rPr lang="en-US" noProof="0"/>
              <a:t>Click to add icon</a:t>
            </a:r>
          </a:p>
        </p:txBody>
      </p:sp>
      <p:sp>
        <p:nvSpPr>
          <p:cNvPr id="26" name="Picture Placeholder 4">
            <a:extLst>
              <a:ext uri="{FF2B5EF4-FFF2-40B4-BE49-F238E27FC236}">
                <a16:creationId xmlns:a16="http://schemas.microsoft.com/office/drawing/2014/main" id="{BFA14DDB-89C6-5E45-A9BC-61F9CE9E1FCA}"/>
              </a:ext>
            </a:extLst>
          </p:cNvPr>
          <p:cNvSpPr>
            <a:spLocks noGrp="1"/>
          </p:cNvSpPr>
          <p:nvPr>
            <p:ph type="pic" sz="quarter" idx="42" hasCustomPrompt="1"/>
          </p:nvPr>
        </p:nvSpPr>
        <p:spPr>
          <a:xfrm>
            <a:off x="9360221" y="2133600"/>
            <a:ext cx="1979867" cy="1828800"/>
          </a:xfrm>
        </p:spPr>
        <p:txBody>
          <a:bodyPr/>
          <a:lstStyle>
            <a:lvl1pPr marL="12700" indent="0" algn="ctr">
              <a:buNone/>
              <a:defRPr sz="1300">
                <a:solidFill>
                  <a:schemeClr val="accent1"/>
                </a:solidFill>
              </a:defRPr>
            </a:lvl1pPr>
          </a:lstStyle>
          <a:p>
            <a:r>
              <a:rPr lang="en-US" noProof="0"/>
              <a:t>Click to add icon</a:t>
            </a:r>
          </a:p>
        </p:txBody>
      </p:sp>
      <p:sp>
        <p:nvSpPr>
          <p:cNvPr id="19" name="Platshållare för datum 3">
            <a:extLst>
              <a:ext uri="{FF2B5EF4-FFF2-40B4-BE49-F238E27FC236}">
                <a16:creationId xmlns:a16="http://schemas.microsoft.com/office/drawing/2014/main" id="{3E533940-02A5-A44C-99C4-528A46A184BF}"/>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D5DA75CF-F7A5-4744-910A-896F37807543}" type="datetime1">
              <a:rPr lang="en-US" smtClean="0"/>
              <a:t>11/7/2025</a:t>
            </a:fld>
            <a:endParaRPr lang="en-US"/>
          </a:p>
        </p:txBody>
      </p:sp>
      <p:sp>
        <p:nvSpPr>
          <p:cNvPr id="27" name="Platshållare för sidfot 4">
            <a:extLst>
              <a:ext uri="{FF2B5EF4-FFF2-40B4-BE49-F238E27FC236}">
                <a16:creationId xmlns:a16="http://schemas.microsoft.com/office/drawing/2014/main" id="{5F5CD060-CDC0-1D48-B04C-8511F91A14EA}"/>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nb-NO"/>
              <a:t>Skanska Norge Hovedpresentasjon - desember 2022</a:t>
            </a:r>
            <a:endParaRPr lang="en-US"/>
          </a:p>
        </p:txBody>
      </p:sp>
      <p:sp>
        <p:nvSpPr>
          <p:cNvPr id="28" name="Platshållare för bildnummer 5">
            <a:extLst>
              <a:ext uri="{FF2B5EF4-FFF2-40B4-BE49-F238E27FC236}">
                <a16:creationId xmlns:a16="http://schemas.microsoft.com/office/drawing/2014/main" id="{85494874-3942-6145-8A0D-2EC0BF3C1B00}"/>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380419234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8 Phone Mockup">
    <p:spTree>
      <p:nvGrpSpPr>
        <p:cNvPr id="1" name=""/>
        <p:cNvGrpSpPr/>
        <p:nvPr/>
      </p:nvGrpSpPr>
      <p:grpSpPr>
        <a:xfrm>
          <a:off x="0" y="0"/>
          <a:ext cx="0" cy="0"/>
          <a:chOff x="0" y="0"/>
          <a:chExt cx="0" cy="0"/>
        </a:xfrm>
      </p:grpSpPr>
      <p:grpSp>
        <p:nvGrpSpPr>
          <p:cNvPr id="17" name="Grupp 32">
            <a:extLst>
              <a:ext uri="{FF2B5EF4-FFF2-40B4-BE49-F238E27FC236}">
                <a16:creationId xmlns:a16="http://schemas.microsoft.com/office/drawing/2014/main" id="{06A06E8E-9AC5-474F-9D8F-BE8A4B8DF25A}"/>
              </a:ext>
            </a:extLst>
          </p:cNvPr>
          <p:cNvGrpSpPr/>
          <p:nvPr userDrawn="1"/>
        </p:nvGrpSpPr>
        <p:grpSpPr>
          <a:xfrm>
            <a:off x="576140" y="6451484"/>
            <a:ext cx="615478" cy="91194"/>
            <a:chOff x="576140" y="6451484"/>
            <a:chExt cx="615478" cy="91194"/>
          </a:xfrm>
          <a:solidFill>
            <a:schemeClr val="tx2"/>
          </a:solidFill>
        </p:grpSpPr>
        <p:sp>
          <p:nvSpPr>
            <p:cNvPr id="18" name="Bild 2">
              <a:extLst>
                <a:ext uri="{FF2B5EF4-FFF2-40B4-BE49-F238E27FC236}">
                  <a16:creationId xmlns:a16="http://schemas.microsoft.com/office/drawing/2014/main" id="{75F62DFF-CE28-2847-9178-371361C4B379}"/>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9" name="Bild 2">
              <a:extLst>
                <a:ext uri="{FF2B5EF4-FFF2-40B4-BE49-F238E27FC236}">
                  <a16:creationId xmlns:a16="http://schemas.microsoft.com/office/drawing/2014/main" id="{56F4E682-4CA9-5346-8CD6-98F8EACD6CE7}"/>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0" name="Bild 2">
              <a:extLst>
                <a:ext uri="{FF2B5EF4-FFF2-40B4-BE49-F238E27FC236}">
                  <a16:creationId xmlns:a16="http://schemas.microsoft.com/office/drawing/2014/main" id="{11510029-65DB-F040-9ED5-A182045EEF2B}"/>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1" name="Bild 2">
              <a:extLst>
                <a:ext uri="{FF2B5EF4-FFF2-40B4-BE49-F238E27FC236}">
                  <a16:creationId xmlns:a16="http://schemas.microsoft.com/office/drawing/2014/main" id="{882E3E49-2F44-5445-B3D9-4FA93CE1837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2" name="Bild 2">
              <a:extLst>
                <a:ext uri="{FF2B5EF4-FFF2-40B4-BE49-F238E27FC236}">
                  <a16:creationId xmlns:a16="http://schemas.microsoft.com/office/drawing/2014/main" id="{E77E397B-C384-F949-9F60-67A86BD39DCA}"/>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DBE8665D-1D7B-BC49-9416-388A79FA9660}"/>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E25BD59B-C1DD-BF4D-89DA-D56603C3E329}"/>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pic>
        <p:nvPicPr>
          <p:cNvPr id="25" name="Bildobjekt 15">
            <a:extLst>
              <a:ext uri="{FF2B5EF4-FFF2-40B4-BE49-F238E27FC236}">
                <a16:creationId xmlns:a16="http://schemas.microsoft.com/office/drawing/2014/main" id="{13ED98E9-C731-A94B-BFD5-2ECE623D380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443227" y="571905"/>
            <a:ext cx="2979174" cy="5704803"/>
          </a:xfrm>
          <a:prstGeom prst="rect">
            <a:avLst/>
          </a:prstGeom>
        </p:spPr>
      </p:pic>
      <p:sp>
        <p:nvSpPr>
          <p:cNvPr id="26" name="Text Placeholder 18">
            <a:extLst>
              <a:ext uri="{FF2B5EF4-FFF2-40B4-BE49-F238E27FC236}">
                <a16:creationId xmlns:a16="http://schemas.microsoft.com/office/drawing/2014/main" id="{A6ED295F-AFF0-3548-BAA8-8DAFA2BDE3F6}"/>
              </a:ext>
            </a:extLst>
          </p:cNvPr>
          <p:cNvSpPr>
            <a:spLocks noGrp="1"/>
          </p:cNvSpPr>
          <p:nvPr>
            <p:ph type="body" sz="quarter" idx="14" hasCustomPrompt="1"/>
          </p:nvPr>
        </p:nvSpPr>
        <p:spPr>
          <a:xfrm>
            <a:off x="576000" y="731027"/>
            <a:ext cx="5367178" cy="1365942"/>
          </a:xfrm>
          <a:prstGeom prst="rect">
            <a:avLst/>
          </a:prstGeom>
        </p:spPr>
        <p:txBody>
          <a:bodyPr anchor="t">
            <a:noAutofit/>
          </a:bodyPr>
          <a:lstStyle>
            <a:lvl1pPr marL="0" indent="0">
              <a:lnSpc>
                <a:spcPct val="85000"/>
              </a:lnSpc>
              <a:spcBef>
                <a:spcPts val="0"/>
              </a:spcBef>
              <a:buNone/>
              <a:defRPr sz="3600" spc="40" baseline="0">
                <a:solidFill>
                  <a:schemeClr val="tx2"/>
                </a:solidFill>
              </a:defRPr>
            </a:lvl1pPr>
          </a:lstStyle>
          <a:p>
            <a:pPr lvl="0"/>
            <a:r>
              <a:rPr lang="en-US" noProof="0"/>
              <a:t>Click to add a headline </a:t>
            </a:r>
            <a:br>
              <a:rPr lang="en-US" noProof="0"/>
            </a:br>
            <a:r>
              <a:rPr lang="en-US" noProof="0"/>
              <a:t>of maximum three lines</a:t>
            </a:r>
          </a:p>
        </p:txBody>
      </p:sp>
      <p:sp>
        <p:nvSpPr>
          <p:cNvPr id="29" name="Picture Placeholder 28">
            <a:extLst>
              <a:ext uri="{FF2B5EF4-FFF2-40B4-BE49-F238E27FC236}">
                <a16:creationId xmlns:a16="http://schemas.microsoft.com/office/drawing/2014/main" id="{A08EABB5-1663-9D44-9EDB-6442B31EC5D9}"/>
              </a:ext>
            </a:extLst>
          </p:cNvPr>
          <p:cNvSpPr>
            <a:spLocks noGrp="1"/>
          </p:cNvSpPr>
          <p:nvPr>
            <p:ph type="pic" sz="quarter" idx="20" hasCustomPrompt="1"/>
          </p:nvPr>
        </p:nvSpPr>
        <p:spPr>
          <a:xfrm>
            <a:off x="7686262" y="874644"/>
            <a:ext cx="2451652" cy="5155096"/>
          </a:xfrm>
          <a:custGeom>
            <a:avLst/>
            <a:gdLst>
              <a:gd name="connsiteX0" fmla="*/ 246293 w 2451652"/>
              <a:gd name="connsiteY0" fmla="*/ 0 h 5155096"/>
              <a:gd name="connsiteX1" fmla="*/ 2205359 w 2451652"/>
              <a:gd name="connsiteY1" fmla="*/ 0 h 5155096"/>
              <a:gd name="connsiteX2" fmla="*/ 2451652 w 2451652"/>
              <a:gd name="connsiteY2" fmla="*/ 246293 h 5155096"/>
              <a:gd name="connsiteX3" fmla="*/ 2451652 w 2451652"/>
              <a:gd name="connsiteY3" fmla="*/ 4908803 h 5155096"/>
              <a:gd name="connsiteX4" fmla="*/ 2205359 w 2451652"/>
              <a:gd name="connsiteY4" fmla="*/ 5155096 h 5155096"/>
              <a:gd name="connsiteX5" fmla="*/ 246293 w 2451652"/>
              <a:gd name="connsiteY5" fmla="*/ 5155096 h 5155096"/>
              <a:gd name="connsiteX6" fmla="*/ 0 w 2451652"/>
              <a:gd name="connsiteY6" fmla="*/ 4908803 h 5155096"/>
              <a:gd name="connsiteX7" fmla="*/ 0 w 2451652"/>
              <a:gd name="connsiteY7" fmla="*/ 246293 h 5155096"/>
              <a:gd name="connsiteX8" fmla="*/ 246293 w 2451652"/>
              <a:gd name="connsiteY8" fmla="*/ 0 h 5155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1652" h="5155096">
                <a:moveTo>
                  <a:pt x="246293" y="0"/>
                </a:moveTo>
                <a:lnTo>
                  <a:pt x="2205359" y="0"/>
                </a:lnTo>
                <a:cubicBezTo>
                  <a:pt x="2341383" y="0"/>
                  <a:pt x="2451652" y="110269"/>
                  <a:pt x="2451652" y="246293"/>
                </a:cubicBezTo>
                <a:lnTo>
                  <a:pt x="2451652" y="4908803"/>
                </a:lnTo>
                <a:cubicBezTo>
                  <a:pt x="2451652" y="5044827"/>
                  <a:pt x="2341383" y="5155096"/>
                  <a:pt x="2205359" y="5155096"/>
                </a:cubicBezTo>
                <a:lnTo>
                  <a:pt x="246293" y="5155096"/>
                </a:lnTo>
                <a:cubicBezTo>
                  <a:pt x="110269" y="5155096"/>
                  <a:pt x="0" y="5044827"/>
                  <a:pt x="0" y="4908803"/>
                </a:cubicBezTo>
                <a:lnTo>
                  <a:pt x="0" y="246293"/>
                </a:lnTo>
                <a:cubicBezTo>
                  <a:pt x="0" y="110269"/>
                  <a:pt x="110269" y="0"/>
                  <a:pt x="246293" y="0"/>
                </a:cubicBezTo>
                <a:close/>
              </a:path>
            </a:pathLst>
          </a:custGeom>
          <a:solidFill>
            <a:schemeClr val="bg1">
              <a:lumMod val="85000"/>
            </a:schemeClr>
          </a:solidFill>
        </p:spPr>
        <p:txBody>
          <a:bodyPr wrap="square" lIns="108000" tIns="108000" rIns="144000">
            <a:noAutofit/>
          </a:bodyPr>
          <a:lstStyle>
            <a:lvl1pPr marL="12700" indent="0" algn="ctr">
              <a:spcBef>
                <a:spcPts val="0"/>
              </a:spcBef>
              <a:buNone/>
              <a:defRPr sz="1300"/>
            </a:lvl1pPr>
          </a:lstStyle>
          <a:p>
            <a:r>
              <a:rPr lang="en-US" noProof="0"/>
              <a:t>Click on the icon to add a print screen or image</a:t>
            </a:r>
          </a:p>
        </p:txBody>
      </p:sp>
      <p:sp>
        <p:nvSpPr>
          <p:cNvPr id="28" name="Platshållare för text 11">
            <a:extLst>
              <a:ext uri="{FF2B5EF4-FFF2-40B4-BE49-F238E27FC236}">
                <a16:creationId xmlns:a16="http://schemas.microsoft.com/office/drawing/2014/main" id="{E31C1F6F-95FC-D448-89F4-1960D28114DB}"/>
              </a:ext>
            </a:extLst>
          </p:cNvPr>
          <p:cNvSpPr>
            <a:spLocks noGrp="1"/>
          </p:cNvSpPr>
          <p:nvPr>
            <p:ph type="body" sz="quarter" idx="21" hasCustomPrompt="1"/>
          </p:nvPr>
        </p:nvSpPr>
        <p:spPr>
          <a:xfrm>
            <a:off x="576000" y="2527200"/>
            <a:ext cx="5377125" cy="3600450"/>
          </a:xfrm>
        </p:spPr>
        <p:txBody>
          <a:body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27" name="Platshållare för datum 3">
            <a:extLst>
              <a:ext uri="{FF2B5EF4-FFF2-40B4-BE49-F238E27FC236}">
                <a16:creationId xmlns:a16="http://schemas.microsoft.com/office/drawing/2014/main" id="{2637DBA1-D261-724E-93F9-5E39FC5E070D}"/>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9DDE8192-8626-4B8A-B447-43328AA30DBC}" type="datetime1">
              <a:rPr lang="en-US" noProof="0" smtClean="0"/>
              <a:t>11/7/2025</a:t>
            </a:fld>
            <a:endParaRPr lang="en-US" noProof="0"/>
          </a:p>
        </p:txBody>
      </p:sp>
      <p:sp>
        <p:nvSpPr>
          <p:cNvPr id="30" name="Platshållare för sidfot 4">
            <a:extLst>
              <a:ext uri="{FF2B5EF4-FFF2-40B4-BE49-F238E27FC236}">
                <a16:creationId xmlns:a16="http://schemas.microsoft.com/office/drawing/2014/main" id="{038997BA-D372-9543-B729-46FF4A74C647}"/>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nb-NO" noProof="0"/>
              <a:t>Skanska Norge Hovedpresentasjon - desember 2022</a:t>
            </a:r>
            <a:endParaRPr lang="en-US" noProof="0"/>
          </a:p>
        </p:txBody>
      </p:sp>
      <p:sp>
        <p:nvSpPr>
          <p:cNvPr id="31" name="Platshållare för bildnummer 5">
            <a:extLst>
              <a:ext uri="{FF2B5EF4-FFF2-40B4-BE49-F238E27FC236}">
                <a16:creationId xmlns:a16="http://schemas.microsoft.com/office/drawing/2014/main" id="{3ECA4266-AEC4-3246-A758-D7CAB8F0A87B}"/>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186150889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8 Tablet Mockup">
    <p:spTree>
      <p:nvGrpSpPr>
        <p:cNvPr id="1" name=""/>
        <p:cNvGrpSpPr/>
        <p:nvPr/>
      </p:nvGrpSpPr>
      <p:grpSpPr>
        <a:xfrm>
          <a:off x="0" y="0"/>
          <a:ext cx="0" cy="0"/>
          <a:chOff x="0" y="0"/>
          <a:chExt cx="0" cy="0"/>
        </a:xfrm>
      </p:grpSpPr>
      <p:pic>
        <p:nvPicPr>
          <p:cNvPr id="30" name="Bildobjekt 14">
            <a:extLst>
              <a:ext uri="{FF2B5EF4-FFF2-40B4-BE49-F238E27FC236}">
                <a16:creationId xmlns:a16="http://schemas.microsoft.com/office/drawing/2014/main" id="{99BEB798-BAD7-994E-B336-1BA64B6632D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689177" y="613726"/>
            <a:ext cx="4325139" cy="5646397"/>
          </a:xfrm>
          <a:prstGeom prst="rect">
            <a:avLst/>
          </a:prstGeom>
        </p:spPr>
      </p:pic>
      <p:sp>
        <p:nvSpPr>
          <p:cNvPr id="32" name="Picture Placeholder 31">
            <a:extLst>
              <a:ext uri="{FF2B5EF4-FFF2-40B4-BE49-F238E27FC236}">
                <a16:creationId xmlns:a16="http://schemas.microsoft.com/office/drawing/2014/main" id="{44B08C3B-79C1-2849-BF8E-3F68C34C99EB}"/>
              </a:ext>
            </a:extLst>
          </p:cNvPr>
          <p:cNvSpPr>
            <a:spLocks noGrp="1"/>
          </p:cNvSpPr>
          <p:nvPr>
            <p:ph type="pic" sz="quarter" idx="20" hasCustomPrompt="1"/>
          </p:nvPr>
        </p:nvSpPr>
        <p:spPr>
          <a:xfrm>
            <a:off x="6936658" y="875071"/>
            <a:ext cx="3854245" cy="5132439"/>
          </a:xfrm>
          <a:custGeom>
            <a:avLst/>
            <a:gdLst>
              <a:gd name="connsiteX0" fmla="*/ 112814 w 3854245"/>
              <a:gd name="connsiteY0" fmla="*/ 0 h 5132439"/>
              <a:gd name="connsiteX1" fmla="*/ 3741431 w 3854245"/>
              <a:gd name="connsiteY1" fmla="*/ 0 h 5132439"/>
              <a:gd name="connsiteX2" fmla="*/ 3854245 w 3854245"/>
              <a:gd name="connsiteY2" fmla="*/ 112814 h 5132439"/>
              <a:gd name="connsiteX3" fmla="*/ 3854245 w 3854245"/>
              <a:gd name="connsiteY3" fmla="*/ 5019625 h 5132439"/>
              <a:gd name="connsiteX4" fmla="*/ 3741431 w 3854245"/>
              <a:gd name="connsiteY4" fmla="*/ 5132439 h 5132439"/>
              <a:gd name="connsiteX5" fmla="*/ 112814 w 3854245"/>
              <a:gd name="connsiteY5" fmla="*/ 5132439 h 5132439"/>
              <a:gd name="connsiteX6" fmla="*/ 0 w 3854245"/>
              <a:gd name="connsiteY6" fmla="*/ 5019625 h 5132439"/>
              <a:gd name="connsiteX7" fmla="*/ 0 w 3854245"/>
              <a:gd name="connsiteY7" fmla="*/ 112814 h 5132439"/>
              <a:gd name="connsiteX8" fmla="*/ 112814 w 3854245"/>
              <a:gd name="connsiteY8" fmla="*/ 0 h 513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54245" h="5132439">
                <a:moveTo>
                  <a:pt x="112814" y="0"/>
                </a:moveTo>
                <a:lnTo>
                  <a:pt x="3741431" y="0"/>
                </a:lnTo>
                <a:cubicBezTo>
                  <a:pt x="3803736" y="0"/>
                  <a:pt x="3854245" y="50509"/>
                  <a:pt x="3854245" y="112814"/>
                </a:cubicBezTo>
                <a:lnTo>
                  <a:pt x="3854245" y="5019625"/>
                </a:lnTo>
                <a:cubicBezTo>
                  <a:pt x="3854245" y="5081930"/>
                  <a:pt x="3803736" y="5132439"/>
                  <a:pt x="3741431" y="5132439"/>
                </a:cubicBezTo>
                <a:lnTo>
                  <a:pt x="112814" y="5132439"/>
                </a:lnTo>
                <a:cubicBezTo>
                  <a:pt x="50509" y="5132439"/>
                  <a:pt x="0" y="5081930"/>
                  <a:pt x="0" y="5019625"/>
                </a:cubicBezTo>
                <a:lnTo>
                  <a:pt x="0" y="112814"/>
                </a:lnTo>
                <a:cubicBezTo>
                  <a:pt x="0" y="50509"/>
                  <a:pt x="50509" y="0"/>
                  <a:pt x="112814" y="0"/>
                </a:cubicBezTo>
                <a:close/>
              </a:path>
            </a:pathLst>
          </a:custGeom>
          <a:solidFill>
            <a:schemeClr val="bg1">
              <a:lumMod val="85000"/>
            </a:schemeClr>
          </a:solidFill>
        </p:spPr>
        <p:txBody>
          <a:bodyPr wrap="square" lIns="108000" tIns="108000" rIns="144000">
            <a:noAutofit/>
          </a:bodyPr>
          <a:lstStyle>
            <a:lvl1pPr marL="12700" indent="0" algn="ctr" fontAlgn="ctr">
              <a:spcBef>
                <a:spcPts val="0"/>
              </a:spcBef>
              <a:buNone/>
              <a:defRPr sz="1300"/>
            </a:lvl1pPr>
          </a:lstStyle>
          <a:p>
            <a:r>
              <a:rPr lang="en-US" noProof="0"/>
              <a:t>Click on the icon to add a print screen </a:t>
            </a:r>
            <a:br>
              <a:rPr lang="en-US" noProof="0"/>
            </a:br>
            <a:r>
              <a:rPr lang="en-US" noProof="0"/>
              <a:t>or image</a:t>
            </a:r>
          </a:p>
        </p:txBody>
      </p:sp>
      <p:grpSp>
        <p:nvGrpSpPr>
          <p:cNvPr id="17" name="Grupp 32">
            <a:extLst>
              <a:ext uri="{FF2B5EF4-FFF2-40B4-BE49-F238E27FC236}">
                <a16:creationId xmlns:a16="http://schemas.microsoft.com/office/drawing/2014/main" id="{06A06E8E-9AC5-474F-9D8F-BE8A4B8DF25A}"/>
              </a:ext>
            </a:extLst>
          </p:cNvPr>
          <p:cNvGrpSpPr/>
          <p:nvPr userDrawn="1"/>
        </p:nvGrpSpPr>
        <p:grpSpPr>
          <a:xfrm>
            <a:off x="576140" y="6451484"/>
            <a:ext cx="615478" cy="91194"/>
            <a:chOff x="576140" y="6451484"/>
            <a:chExt cx="615478" cy="91194"/>
          </a:xfrm>
          <a:solidFill>
            <a:schemeClr val="tx2"/>
          </a:solidFill>
        </p:grpSpPr>
        <p:sp>
          <p:nvSpPr>
            <p:cNvPr id="18" name="Bild 2">
              <a:extLst>
                <a:ext uri="{FF2B5EF4-FFF2-40B4-BE49-F238E27FC236}">
                  <a16:creationId xmlns:a16="http://schemas.microsoft.com/office/drawing/2014/main" id="{75F62DFF-CE28-2847-9178-371361C4B379}"/>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9" name="Bild 2">
              <a:extLst>
                <a:ext uri="{FF2B5EF4-FFF2-40B4-BE49-F238E27FC236}">
                  <a16:creationId xmlns:a16="http://schemas.microsoft.com/office/drawing/2014/main" id="{56F4E682-4CA9-5346-8CD6-98F8EACD6CE7}"/>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0" name="Bild 2">
              <a:extLst>
                <a:ext uri="{FF2B5EF4-FFF2-40B4-BE49-F238E27FC236}">
                  <a16:creationId xmlns:a16="http://schemas.microsoft.com/office/drawing/2014/main" id="{11510029-65DB-F040-9ED5-A182045EEF2B}"/>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1" name="Bild 2">
              <a:extLst>
                <a:ext uri="{FF2B5EF4-FFF2-40B4-BE49-F238E27FC236}">
                  <a16:creationId xmlns:a16="http://schemas.microsoft.com/office/drawing/2014/main" id="{882E3E49-2F44-5445-B3D9-4FA93CE1837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2" name="Bild 2">
              <a:extLst>
                <a:ext uri="{FF2B5EF4-FFF2-40B4-BE49-F238E27FC236}">
                  <a16:creationId xmlns:a16="http://schemas.microsoft.com/office/drawing/2014/main" id="{E77E397B-C384-F949-9F60-67A86BD39DCA}"/>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DBE8665D-1D7B-BC49-9416-388A79FA9660}"/>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E25BD59B-C1DD-BF4D-89DA-D56603C3E329}"/>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33" name="Text Placeholder 18">
            <a:extLst>
              <a:ext uri="{FF2B5EF4-FFF2-40B4-BE49-F238E27FC236}">
                <a16:creationId xmlns:a16="http://schemas.microsoft.com/office/drawing/2014/main" id="{96B2358A-BB39-7B47-9534-6E6E079F5E39}"/>
              </a:ext>
            </a:extLst>
          </p:cNvPr>
          <p:cNvSpPr>
            <a:spLocks noGrp="1"/>
          </p:cNvSpPr>
          <p:nvPr>
            <p:ph type="body" sz="quarter" idx="14" hasCustomPrompt="1"/>
          </p:nvPr>
        </p:nvSpPr>
        <p:spPr>
          <a:xfrm>
            <a:off x="575999" y="731027"/>
            <a:ext cx="5377125" cy="1365942"/>
          </a:xfrm>
          <a:prstGeom prst="rect">
            <a:avLst/>
          </a:prstGeom>
        </p:spPr>
        <p:txBody>
          <a:bodyPr anchor="t">
            <a:noAutofit/>
          </a:bodyPr>
          <a:lstStyle>
            <a:lvl1pPr marL="0" indent="0">
              <a:lnSpc>
                <a:spcPct val="85000"/>
              </a:lnSpc>
              <a:spcBef>
                <a:spcPts val="0"/>
              </a:spcBef>
              <a:buNone/>
              <a:defRPr sz="3600" spc="40" baseline="0">
                <a:solidFill>
                  <a:schemeClr val="tx2"/>
                </a:solidFill>
              </a:defRPr>
            </a:lvl1pPr>
          </a:lstStyle>
          <a:p>
            <a:pPr lvl="0"/>
            <a:r>
              <a:rPr lang="en-US" noProof="0"/>
              <a:t>Click to add a headline </a:t>
            </a:r>
            <a:br>
              <a:rPr lang="en-US" noProof="0"/>
            </a:br>
            <a:r>
              <a:rPr lang="en-US" noProof="0"/>
              <a:t>of maximum three lines</a:t>
            </a:r>
          </a:p>
        </p:txBody>
      </p:sp>
      <p:sp>
        <p:nvSpPr>
          <p:cNvPr id="25" name="Platshållare för text 11">
            <a:extLst>
              <a:ext uri="{FF2B5EF4-FFF2-40B4-BE49-F238E27FC236}">
                <a16:creationId xmlns:a16="http://schemas.microsoft.com/office/drawing/2014/main" id="{15044A8B-EC3C-AC48-809D-139C48BB0CB9}"/>
              </a:ext>
            </a:extLst>
          </p:cNvPr>
          <p:cNvSpPr>
            <a:spLocks noGrp="1"/>
          </p:cNvSpPr>
          <p:nvPr>
            <p:ph type="body" sz="quarter" idx="21" hasCustomPrompt="1"/>
          </p:nvPr>
        </p:nvSpPr>
        <p:spPr>
          <a:xfrm>
            <a:off x="576000" y="2527200"/>
            <a:ext cx="5377125" cy="3600450"/>
          </a:xfrm>
        </p:spPr>
        <p:txBody>
          <a:body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26" name="Platshållare för datum 3">
            <a:extLst>
              <a:ext uri="{FF2B5EF4-FFF2-40B4-BE49-F238E27FC236}">
                <a16:creationId xmlns:a16="http://schemas.microsoft.com/office/drawing/2014/main" id="{FE602DED-DAC5-024B-AE88-9935B5D11D37}"/>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E34F3822-BC1A-4994-93B6-7B30B2FB8510}" type="datetime1">
              <a:rPr lang="en-US" noProof="0" smtClean="0"/>
              <a:t>11/7/2025</a:t>
            </a:fld>
            <a:endParaRPr lang="en-US" noProof="0"/>
          </a:p>
        </p:txBody>
      </p:sp>
      <p:sp>
        <p:nvSpPr>
          <p:cNvPr id="27" name="Platshållare för sidfot 4">
            <a:extLst>
              <a:ext uri="{FF2B5EF4-FFF2-40B4-BE49-F238E27FC236}">
                <a16:creationId xmlns:a16="http://schemas.microsoft.com/office/drawing/2014/main" id="{71479E35-8226-3343-A824-A028DAAD3ACC}"/>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nb-NO" noProof="0"/>
              <a:t>Skanska Norge Hovedpresentasjon - desember 2022</a:t>
            </a:r>
            <a:endParaRPr lang="en-US" noProof="0"/>
          </a:p>
        </p:txBody>
      </p:sp>
      <p:sp>
        <p:nvSpPr>
          <p:cNvPr id="28" name="Platshållare för bildnummer 5">
            <a:extLst>
              <a:ext uri="{FF2B5EF4-FFF2-40B4-BE49-F238E27FC236}">
                <a16:creationId xmlns:a16="http://schemas.microsoft.com/office/drawing/2014/main" id="{F42DCEB3-A3C8-3E41-AC6B-EF5005843077}"/>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334333526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9 End/Thank You Blue with image">
    <p:bg>
      <p:bgPr>
        <a:solidFill>
          <a:schemeClr val="tx2"/>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544DF57-7764-0643-BBD9-8E9A5BB6A5C0}"/>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accent1"/>
                </a:solidFill>
              </a:defRPr>
            </a:lvl1pPr>
          </a:lstStyle>
          <a:p>
            <a:r>
              <a:rPr lang="en-US" noProof="0"/>
              <a:t>Click on the icon to add an image</a:t>
            </a:r>
          </a:p>
        </p:txBody>
      </p:sp>
      <p:sp>
        <p:nvSpPr>
          <p:cNvPr id="25" name="Text Placeholder 7">
            <a:extLst>
              <a:ext uri="{FF2B5EF4-FFF2-40B4-BE49-F238E27FC236}">
                <a16:creationId xmlns:a16="http://schemas.microsoft.com/office/drawing/2014/main" id="{67488718-642D-1C4A-B768-5243ECAAFF54}"/>
              </a:ext>
            </a:extLst>
          </p:cNvPr>
          <p:cNvSpPr>
            <a:spLocks noGrp="1"/>
          </p:cNvSpPr>
          <p:nvPr>
            <p:ph type="body" sz="quarter" idx="38" hasCustomPrompt="1"/>
          </p:nvPr>
        </p:nvSpPr>
        <p:spPr>
          <a:xfrm>
            <a:off x="583093" y="720724"/>
            <a:ext cx="5370031" cy="2600325"/>
          </a:xfrm>
        </p:spPr>
        <p:txBody>
          <a:bodyPr/>
          <a:lstStyle>
            <a:lvl1pPr marL="0" indent="0" algn="l">
              <a:lnSpc>
                <a:spcPct val="100000"/>
              </a:lnSpc>
              <a:spcBef>
                <a:spcPts val="0"/>
              </a:spcBef>
              <a:spcAft>
                <a:spcPts val="850"/>
              </a:spcAft>
              <a:buNone/>
              <a:defRPr sz="3600" b="0" spc="40" baseline="0">
                <a:solidFill>
                  <a:schemeClr val="accent1"/>
                </a:solidFill>
              </a:defRPr>
            </a:lvl1pPr>
            <a:lvl2pPr marL="0" indent="0" algn="l">
              <a:lnSpc>
                <a:spcPct val="100000"/>
              </a:lnSpc>
              <a:spcBef>
                <a:spcPts val="0"/>
              </a:spcBef>
              <a:spcAft>
                <a:spcPts val="600"/>
              </a:spcAft>
              <a:buNone/>
              <a:defRPr sz="14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8" name="textruta 5">
            <a:extLst>
              <a:ext uri="{FF2B5EF4-FFF2-40B4-BE49-F238E27FC236}">
                <a16:creationId xmlns:a16="http://schemas.microsoft.com/office/drawing/2014/main" id="{9CA758BD-5C55-6540-BFC0-18BA5E290BA3}"/>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D6D03EBC-FF28-B246-9262-70768DB96EB3}"/>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4C4F2B59-2BF8-804B-B8CA-05F71E9FA5C2}"/>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483A10B1-05B8-D24F-9FD4-3E109436BAAF}"/>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ruta 11">
            <a:extLst>
              <a:ext uri="{FF2B5EF4-FFF2-40B4-BE49-F238E27FC236}">
                <a16:creationId xmlns:a16="http://schemas.microsoft.com/office/drawing/2014/main" id="{567CC080-E0B4-6645-B343-8E58FF0C1643}"/>
              </a:ext>
            </a:extLst>
          </p:cNvPr>
          <p:cNvSpPr txBox="1"/>
          <p:nvPr userDrawn="1"/>
        </p:nvSpPr>
        <p:spPr>
          <a:xfrm>
            <a:off x="12395260" y="4154400"/>
            <a:ext cx="1681523" cy="1754326"/>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mn-lt"/>
                <a:cs typeface="Arial" panose="020B0604020202020204" pitchFamily="34" charset="0"/>
              </a:rPr>
              <a:t>To change from </a:t>
            </a:r>
            <a:r>
              <a:rPr lang="en-US" sz="900" b="1" baseline="0" noProof="0">
                <a:solidFill>
                  <a:schemeClr val="tx1">
                    <a:lumMod val="65000"/>
                    <a:lumOff val="35000"/>
                  </a:schemeClr>
                </a:solidFill>
                <a:latin typeface="+mn-lt"/>
                <a:cs typeface="Arial" panose="020B0604020202020204" pitchFamily="34" charset="0"/>
              </a:rPr>
              <a:t>headline</a:t>
            </a:r>
            <a:r>
              <a:rPr lang="en-US" sz="900" baseline="0" noProof="0">
                <a:solidFill>
                  <a:schemeClr val="tx1">
                    <a:lumMod val="65000"/>
                    <a:lumOff val="35000"/>
                  </a:schemeClr>
                </a:solidFill>
                <a:latin typeface="+mn-lt"/>
                <a:cs typeface="Arial" panose="020B0604020202020204" pitchFamily="34" charset="0"/>
              </a:rPr>
              <a:t> to </a:t>
            </a:r>
            <a:r>
              <a:rPr lang="en-US" sz="900" b="1" baseline="0" noProof="0">
                <a:solidFill>
                  <a:schemeClr val="tx1">
                    <a:lumMod val="65000"/>
                    <a:lumOff val="35000"/>
                  </a:schemeClr>
                </a:solidFill>
                <a:latin typeface="+mn-lt"/>
                <a:cs typeface="Arial" panose="020B0604020202020204" pitchFamily="34" charset="0"/>
              </a:rPr>
              <a:t>body text </a:t>
            </a:r>
            <a:r>
              <a:rPr lang="en-US" sz="900" baseline="0" noProof="0">
                <a:solidFill>
                  <a:schemeClr val="tx1">
                    <a:lumMod val="65000"/>
                    <a:lumOff val="35000"/>
                  </a:schemeClr>
                </a:solidFill>
                <a:latin typeface="+mn-lt"/>
                <a:cs typeface="Arial" panose="020B0604020202020204" pitchFamily="34" charset="0"/>
              </a:rPr>
              <a:t>or to </a:t>
            </a:r>
            <a:r>
              <a:rPr lang="en-US" sz="900" b="1" baseline="0" noProof="0">
                <a:solidFill>
                  <a:schemeClr val="tx1">
                    <a:lumMod val="65000"/>
                    <a:lumOff val="35000"/>
                  </a:schemeClr>
                </a:solidFill>
                <a:latin typeface="+mn-lt"/>
                <a:cs typeface="Arial" panose="020B0604020202020204" pitchFamily="34" charset="0"/>
              </a:rPr>
              <a:t>use bullets</a:t>
            </a:r>
            <a:r>
              <a:rPr lang="en-US" sz="900" baseline="0" noProof="0">
                <a:solidFill>
                  <a:schemeClr val="tx1">
                    <a:lumMod val="65000"/>
                    <a:lumOff val="35000"/>
                  </a:schemeClr>
                </a:solidFill>
                <a:latin typeface="+mn-lt"/>
                <a:cs typeface="Arial" panose="020B0604020202020204" pitchFamily="34" charset="0"/>
              </a:rPr>
              <a:t>, press </a:t>
            </a:r>
            <a:r>
              <a:rPr lang="en-US" sz="900" b="1" baseline="0" noProof="0">
                <a:solidFill>
                  <a:schemeClr val="tx1">
                    <a:lumMod val="65000"/>
                    <a:lumOff val="35000"/>
                  </a:schemeClr>
                </a:solidFill>
                <a:latin typeface="+mn-lt"/>
                <a:cs typeface="Arial" panose="020B0604020202020204" pitchFamily="34" charset="0"/>
              </a:rPr>
              <a:t>enter/return </a:t>
            </a:r>
            <a:r>
              <a:rPr lang="en-US" sz="900" baseline="0" noProof="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p:txBody>
      </p:sp>
      <p:pic>
        <p:nvPicPr>
          <p:cNvPr id="13" name="Picture 9">
            <a:extLst>
              <a:ext uri="{FF2B5EF4-FFF2-40B4-BE49-F238E27FC236}">
                <a16:creationId xmlns:a16="http://schemas.microsoft.com/office/drawing/2014/main" id="{359C9406-E00B-424F-B110-6C1F4D84288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14" name="Oval 4">
            <a:extLst>
              <a:ext uri="{FF2B5EF4-FFF2-40B4-BE49-F238E27FC236}">
                <a16:creationId xmlns:a16="http://schemas.microsoft.com/office/drawing/2014/main" id="{5C256491-67DF-A248-A90E-627FCDF80B83}"/>
              </a:ext>
            </a:extLst>
          </p:cNvPr>
          <p:cNvSpPr/>
          <p:nvPr userDrawn="1"/>
        </p:nvSpPr>
        <p:spPr>
          <a:xfrm>
            <a:off x="13194299" y="52819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16" name="Connector: Elbow 131">
            <a:extLst>
              <a:ext uri="{FF2B5EF4-FFF2-40B4-BE49-F238E27FC236}">
                <a16:creationId xmlns:a16="http://schemas.microsoft.com/office/drawing/2014/main" id="{5D4FBB2B-EA79-FE42-A088-3353E1F76FB1}"/>
              </a:ext>
            </a:extLst>
          </p:cNvPr>
          <p:cNvCxnSpPr>
            <a:cxnSpLocks/>
            <a:endCxn id="14" idx="0"/>
          </p:cNvCxnSpPr>
          <p:nvPr userDrawn="1"/>
        </p:nvCxnSpPr>
        <p:spPr>
          <a:xfrm rot="5400000">
            <a:off x="13324711" y="50100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Platshållare för datum 3">
            <a:extLst>
              <a:ext uri="{FF2B5EF4-FFF2-40B4-BE49-F238E27FC236}">
                <a16:creationId xmlns:a16="http://schemas.microsoft.com/office/drawing/2014/main" id="{76ED9D30-AAB7-914D-BF46-71D0253AA983}"/>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0074B51D-8774-4BE2-9789-E9B9915151CA}" type="datetime1">
              <a:rPr lang="en-US" noProof="0" smtClean="0"/>
              <a:t>11/7/2025</a:t>
            </a:fld>
            <a:endParaRPr lang="en-US" noProof="0"/>
          </a:p>
        </p:txBody>
      </p:sp>
      <p:sp>
        <p:nvSpPr>
          <p:cNvPr id="18" name="Platshållare för sidfot 4">
            <a:extLst>
              <a:ext uri="{FF2B5EF4-FFF2-40B4-BE49-F238E27FC236}">
                <a16:creationId xmlns:a16="http://schemas.microsoft.com/office/drawing/2014/main" id="{8418F8E0-C9D2-2F42-879F-7EE251517038}"/>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nb-NO" noProof="0"/>
              <a:t>Skanska Norge Hovedpresentasjon - desember 2022</a:t>
            </a:r>
            <a:endParaRPr lang="en-US" noProof="0"/>
          </a:p>
        </p:txBody>
      </p:sp>
      <p:sp>
        <p:nvSpPr>
          <p:cNvPr id="19" name="Platshållare för bildnummer 5">
            <a:extLst>
              <a:ext uri="{FF2B5EF4-FFF2-40B4-BE49-F238E27FC236}">
                <a16:creationId xmlns:a16="http://schemas.microsoft.com/office/drawing/2014/main" id="{309D3567-1851-1C48-B7BA-4F5DC6819349}"/>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21" name="Text Placeholder 4">
            <a:extLst>
              <a:ext uri="{FF2B5EF4-FFF2-40B4-BE49-F238E27FC236}">
                <a16:creationId xmlns:a16="http://schemas.microsoft.com/office/drawing/2014/main" id="{5CE675EA-9466-B54F-B83A-BE1E916021C6}"/>
              </a:ext>
            </a:extLst>
          </p:cNvPr>
          <p:cNvSpPr>
            <a:spLocks noGrp="1"/>
          </p:cNvSpPr>
          <p:nvPr>
            <p:ph type="body" sz="quarter" idx="14"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81852727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9 End Slide/Thank You White with image">
    <p:bg>
      <p:bgPr>
        <a:solidFill>
          <a:schemeClr val="bg1"/>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544DF57-7764-0643-BBD9-8E9A5BB6A5C0}"/>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Click on the icon to add an image</a:t>
            </a:r>
          </a:p>
        </p:txBody>
      </p:sp>
      <p:sp>
        <p:nvSpPr>
          <p:cNvPr id="29" name="Text Placeholder 7">
            <a:extLst>
              <a:ext uri="{FF2B5EF4-FFF2-40B4-BE49-F238E27FC236}">
                <a16:creationId xmlns:a16="http://schemas.microsoft.com/office/drawing/2014/main" id="{0372CC69-D63F-AF4E-915B-F7E58ADA3E2E}"/>
              </a:ext>
            </a:extLst>
          </p:cNvPr>
          <p:cNvSpPr>
            <a:spLocks noGrp="1"/>
          </p:cNvSpPr>
          <p:nvPr>
            <p:ph type="body" sz="quarter" idx="39" hasCustomPrompt="1"/>
          </p:nvPr>
        </p:nvSpPr>
        <p:spPr>
          <a:xfrm>
            <a:off x="583093" y="4183201"/>
            <a:ext cx="5370031" cy="1946137"/>
          </a:xfrm>
        </p:spPr>
        <p:txBody>
          <a:bodyPr/>
          <a:lstStyle>
            <a:lvl1pPr marL="0" indent="0" algn="l">
              <a:lnSpc>
                <a:spcPct val="100000"/>
              </a:lnSpc>
              <a:spcBef>
                <a:spcPts val="0"/>
              </a:spcBef>
              <a:spcAft>
                <a:spcPts val="850"/>
              </a:spcAft>
              <a:buNone/>
              <a:defRPr sz="3600" b="0" spc="40" baseline="0">
                <a:solidFill>
                  <a:schemeClr val="bg1"/>
                </a:solidFill>
              </a:defRPr>
            </a:lvl1pPr>
            <a:lvl2pPr marL="0" indent="0" algn="l">
              <a:lnSpc>
                <a:spcPct val="100000"/>
              </a:lnSpc>
              <a:spcBef>
                <a:spcPts val="0"/>
              </a:spcBef>
              <a:spcAft>
                <a:spcPts val="600"/>
              </a:spcAft>
              <a:buNone/>
              <a:defRPr sz="1400" spc="40" baseline="0">
                <a:solidFill>
                  <a:schemeClr val="bg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8" name="textruta 5">
            <a:extLst>
              <a:ext uri="{FF2B5EF4-FFF2-40B4-BE49-F238E27FC236}">
                <a16:creationId xmlns:a16="http://schemas.microsoft.com/office/drawing/2014/main" id="{07728FC5-8FAF-D948-82AA-B9F786AAEBB7}"/>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D18F62CC-60C1-DB42-9742-4AF366303413}"/>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73C348B4-C0EC-824B-814E-D42C562CBFA8}"/>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1C4A7DAB-0DBB-E649-8262-BE0207487BE8}"/>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ruta 11">
            <a:extLst>
              <a:ext uri="{FF2B5EF4-FFF2-40B4-BE49-F238E27FC236}">
                <a16:creationId xmlns:a16="http://schemas.microsoft.com/office/drawing/2014/main" id="{21862494-F897-CA4F-BE27-9C206870AF17}"/>
              </a:ext>
            </a:extLst>
          </p:cNvPr>
          <p:cNvSpPr txBox="1"/>
          <p:nvPr userDrawn="1"/>
        </p:nvSpPr>
        <p:spPr>
          <a:xfrm>
            <a:off x="12395260" y="4154400"/>
            <a:ext cx="1681523" cy="1754326"/>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mn-lt"/>
                <a:cs typeface="Arial" panose="020B0604020202020204" pitchFamily="34" charset="0"/>
              </a:rPr>
              <a:t>To change from </a:t>
            </a:r>
            <a:r>
              <a:rPr lang="en-US" sz="900" b="1" baseline="0" noProof="0">
                <a:solidFill>
                  <a:schemeClr val="tx1">
                    <a:lumMod val="65000"/>
                    <a:lumOff val="35000"/>
                  </a:schemeClr>
                </a:solidFill>
                <a:latin typeface="+mn-lt"/>
                <a:cs typeface="Arial" panose="020B0604020202020204" pitchFamily="34" charset="0"/>
              </a:rPr>
              <a:t>headline</a:t>
            </a:r>
            <a:r>
              <a:rPr lang="en-US" sz="900" baseline="0" noProof="0">
                <a:solidFill>
                  <a:schemeClr val="tx1">
                    <a:lumMod val="65000"/>
                    <a:lumOff val="35000"/>
                  </a:schemeClr>
                </a:solidFill>
                <a:latin typeface="+mn-lt"/>
                <a:cs typeface="Arial" panose="020B0604020202020204" pitchFamily="34" charset="0"/>
              </a:rPr>
              <a:t> to </a:t>
            </a:r>
            <a:r>
              <a:rPr lang="en-US" sz="900" b="1" baseline="0" noProof="0">
                <a:solidFill>
                  <a:schemeClr val="tx1">
                    <a:lumMod val="65000"/>
                    <a:lumOff val="35000"/>
                  </a:schemeClr>
                </a:solidFill>
                <a:latin typeface="+mn-lt"/>
                <a:cs typeface="Arial" panose="020B0604020202020204" pitchFamily="34" charset="0"/>
              </a:rPr>
              <a:t>body text </a:t>
            </a:r>
            <a:r>
              <a:rPr lang="en-US" sz="900" baseline="0" noProof="0">
                <a:solidFill>
                  <a:schemeClr val="tx1">
                    <a:lumMod val="65000"/>
                    <a:lumOff val="35000"/>
                  </a:schemeClr>
                </a:solidFill>
                <a:latin typeface="+mn-lt"/>
                <a:cs typeface="Arial" panose="020B0604020202020204" pitchFamily="34" charset="0"/>
              </a:rPr>
              <a:t>or to </a:t>
            </a:r>
            <a:r>
              <a:rPr lang="en-US" sz="900" b="1" baseline="0" noProof="0">
                <a:solidFill>
                  <a:schemeClr val="tx1">
                    <a:lumMod val="65000"/>
                    <a:lumOff val="35000"/>
                  </a:schemeClr>
                </a:solidFill>
                <a:latin typeface="+mn-lt"/>
                <a:cs typeface="Arial" panose="020B0604020202020204" pitchFamily="34" charset="0"/>
              </a:rPr>
              <a:t>use bullets</a:t>
            </a:r>
            <a:r>
              <a:rPr lang="en-US" sz="900" baseline="0" noProof="0">
                <a:solidFill>
                  <a:schemeClr val="tx1">
                    <a:lumMod val="65000"/>
                    <a:lumOff val="35000"/>
                  </a:schemeClr>
                </a:solidFill>
                <a:latin typeface="+mn-lt"/>
                <a:cs typeface="Arial" panose="020B0604020202020204" pitchFamily="34" charset="0"/>
              </a:rPr>
              <a:t>, press </a:t>
            </a:r>
            <a:r>
              <a:rPr lang="en-US" sz="900" b="1" baseline="0" noProof="0">
                <a:solidFill>
                  <a:schemeClr val="tx1">
                    <a:lumMod val="65000"/>
                    <a:lumOff val="35000"/>
                  </a:schemeClr>
                </a:solidFill>
                <a:latin typeface="+mn-lt"/>
                <a:cs typeface="Arial" panose="020B0604020202020204" pitchFamily="34" charset="0"/>
              </a:rPr>
              <a:t>enter/return </a:t>
            </a:r>
            <a:r>
              <a:rPr lang="en-US" sz="900" baseline="0" noProof="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p:txBody>
      </p:sp>
      <p:pic>
        <p:nvPicPr>
          <p:cNvPr id="13" name="Picture 9">
            <a:extLst>
              <a:ext uri="{FF2B5EF4-FFF2-40B4-BE49-F238E27FC236}">
                <a16:creationId xmlns:a16="http://schemas.microsoft.com/office/drawing/2014/main" id="{81C34785-F336-8949-9792-85C82E9BAEE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14" name="Oval 4">
            <a:extLst>
              <a:ext uri="{FF2B5EF4-FFF2-40B4-BE49-F238E27FC236}">
                <a16:creationId xmlns:a16="http://schemas.microsoft.com/office/drawing/2014/main" id="{0DE5D575-685D-4949-9BD1-08C9CCBB6765}"/>
              </a:ext>
            </a:extLst>
          </p:cNvPr>
          <p:cNvSpPr/>
          <p:nvPr userDrawn="1"/>
        </p:nvSpPr>
        <p:spPr>
          <a:xfrm>
            <a:off x="13194299" y="52819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16" name="Connector: Elbow 131">
            <a:extLst>
              <a:ext uri="{FF2B5EF4-FFF2-40B4-BE49-F238E27FC236}">
                <a16:creationId xmlns:a16="http://schemas.microsoft.com/office/drawing/2014/main" id="{BEF77753-BA66-494E-BCE3-D85708BA6103}"/>
              </a:ext>
            </a:extLst>
          </p:cNvPr>
          <p:cNvCxnSpPr>
            <a:cxnSpLocks/>
            <a:endCxn id="14" idx="0"/>
          </p:cNvCxnSpPr>
          <p:nvPr userDrawn="1"/>
        </p:nvCxnSpPr>
        <p:spPr>
          <a:xfrm rot="5400000">
            <a:off x="13324711" y="50100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Platshållare för datum 3">
            <a:extLst>
              <a:ext uri="{FF2B5EF4-FFF2-40B4-BE49-F238E27FC236}">
                <a16:creationId xmlns:a16="http://schemas.microsoft.com/office/drawing/2014/main" id="{DB686218-5BA2-074C-8852-556179CA2F32}"/>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85D30986-A76B-48EF-A258-AFDDED441B41}" type="datetime1">
              <a:rPr lang="en-US" smtClean="0"/>
              <a:t>11/7/2025</a:t>
            </a:fld>
            <a:endParaRPr lang="en-US"/>
          </a:p>
        </p:txBody>
      </p:sp>
      <p:sp>
        <p:nvSpPr>
          <p:cNvPr id="18" name="Platshållare för sidfot 4">
            <a:extLst>
              <a:ext uri="{FF2B5EF4-FFF2-40B4-BE49-F238E27FC236}">
                <a16:creationId xmlns:a16="http://schemas.microsoft.com/office/drawing/2014/main" id="{F485D0B6-C708-9447-968B-34EBBA598FB8}"/>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nb-NO"/>
              <a:t>Skanska Norge Hovedpresentasjon - desember 2022</a:t>
            </a:r>
            <a:endParaRPr lang="en-US"/>
          </a:p>
        </p:txBody>
      </p:sp>
      <p:sp>
        <p:nvSpPr>
          <p:cNvPr id="19" name="Platshållare för bildnummer 5">
            <a:extLst>
              <a:ext uri="{FF2B5EF4-FFF2-40B4-BE49-F238E27FC236}">
                <a16:creationId xmlns:a16="http://schemas.microsoft.com/office/drawing/2014/main" id="{A18FEC4E-44A5-4B4E-BF3B-9186328914D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21" name="Text Placeholder 4">
            <a:extLst>
              <a:ext uri="{FF2B5EF4-FFF2-40B4-BE49-F238E27FC236}">
                <a16:creationId xmlns:a16="http://schemas.microsoft.com/office/drawing/2014/main" id="{D6DA0946-B5AD-DD46-98ED-3ADBD06FF55C}"/>
              </a:ext>
            </a:extLst>
          </p:cNvPr>
          <p:cNvSpPr>
            <a:spLocks noGrp="1"/>
          </p:cNvSpPr>
          <p:nvPr>
            <p:ph type="body" sz="quarter" idx="14"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64096336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9 End Slide/Thank You Blue">
    <p:bg>
      <p:bgRef idx="1001">
        <a:schemeClr val="bg2"/>
      </p:bgRef>
    </p:bg>
    <p:spTree>
      <p:nvGrpSpPr>
        <p:cNvPr id="1" name=""/>
        <p:cNvGrpSpPr/>
        <p:nvPr/>
      </p:nvGrpSpPr>
      <p:grpSpPr>
        <a:xfrm>
          <a:off x="0" y="0"/>
          <a:ext cx="0" cy="0"/>
          <a:chOff x="0" y="0"/>
          <a:chExt cx="0" cy="0"/>
        </a:xfrm>
      </p:grpSpPr>
      <p:sp>
        <p:nvSpPr>
          <p:cNvPr id="29" name="Text Placeholder 7">
            <a:extLst>
              <a:ext uri="{FF2B5EF4-FFF2-40B4-BE49-F238E27FC236}">
                <a16:creationId xmlns:a16="http://schemas.microsoft.com/office/drawing/2014/main" id="{0372CC69-D63F-AF4E-915B-F7E58ADA3E2E}"/>
              </a:ext>
            </a:extLst>
          </p:cNvPr>
          <p:cNvSpPr>
            <a:spLocks noGrp="1"/>
          </p:cNvSpPr>
          <p:nvPr>
            <p:ph type="body" sz="quarter" idx="39" hasCustomPrompt="1"/>
          </p:nvPr>
        </p:nvSpPr>
        <p:spPr>
          <a:xfrm>
            <a:off x="583093" y="4183201"/>
            <a:ext cx="5370031" cy="1946137"/>
          </a:xfrm>
        </p:spPr>
        <p:txBody>
          <a:bodyPr/>
          <a:lstStyle>
            <a:lvl1pPr marL="0" indent="0" algn="l">
              <a:lnSpc>
                <a:spcPct val="100000"/>
              </a:lnSpc>
              <a:spcBef>
                <a:spcPts val="0"/>
              </a:spcBef>
              <a:spcAft>
                <a:spcPts val="850"/>
              </a:spcAft>
              <a:buNone/>
              <a:defRPr sz="3600" b="0" spc="40" baseline="0">
                <a:solidFill>
                  <a:schemeClr val="tx2"/>
                </a:solidFill>
              </a:defRPr>
            </a:lvl1pPr>
            <a:lvl2pPr marL="0" indent="0" algn="l">
              <a:lnSpc>
                <a:spcPct val="100000"/>
              </a:lnSpc>
              <a:spcBef>
                <a:spcPts val="0"/>
              </a:spcBef>
              <a:spcAft>
                <a:spcPts val="600"/>
              </a:spcAft>
              <a:buNone/>
              <a:defRPr sz="1400" spc="40" baseline="0">
                <a:solidFill>
                  <a:schemeClr val="tx2"/>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8" name="textruta 5">
            <a:extLst>
              <a:ext uri="{FF2B5EF4-FFF2-40B4-BE49-F238E27FC236}">
                <a16:creationId xmlns:a16="http://schemas.microsoft.com/office/drawing/2014/main" id="{07728FC5-8FAF-D948-82AA-B9F786AAEBB7}"/>
              </a:ext>
            </a:extLst>
          </p:cNvPr>
          <p:cNvSpPr txBox="1"/>
          <p:nvPr userDrawn="1"/>
        </p:nvSpPr>
        <p:spPr>
          <a:xfrm>
            <a:off x="12395260" y="1453483"/>
            <a:ext cx="1681523" cy="646331"/>
          </a:xfrm>
          <a:prstGeom prst="rect">
            <a:avLst/>
          </a:prstGeom>
          <a:solidFill>
            <a:schemeClr val="tx1"/>
          </a:solidFill>
          <a:effectLst/>
        </p:spPr>
        <p:txBody>
          <a:bodyPr wrap="square" rtlCol="0" anchor="ctr" anchorCtr="0">
            <a:spAutoFit/>
          </a:bodyPr>
          <a:lstStyle/>
          <a:p>
            <a:pPr algn="ctr"/>
            <a:r>
              <a:rPr lang="en-US" sz="900" baseline="0" noProof="0">
                <a:solidFill>
                  <a:schemeClr val="bg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bg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bg1">
                    <a:lumMod val="65000"/>
                    <a:lumOff val="35000"/>
                  </a:schemeClr>
                </a:solidFill>
                <a:latin typeface="Arial" panose="020B0604020202020204" pitchFamily="34" charset="0"/>
                <a:cs typeface="Arial" panose="020B0604020202020204" pitchFamily="34" charset="0"/>
              </a:rPr>
              <a:t>and use – </a:t>
            </a:r>
            <a:r>
              <a:rPr lang="en-US" sz="900" b="1" noProof="0">
                <a:solidFill>
                  <a:schemeClr val="bg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bg1">
                    <a:lumMod val="65000"/>
                    <a:lumOff val="35000"/>
                  </a:schemeClr>
                </a:solidFill>
                <a:latin typeface="Arial" panose="020B0604020202020204" pitchFamily="34" charset="0"/>
                <a:cs typeface="Arial" panose="020B0604020202020204" pitchFamily="34" charset="0"/>
              </a:rPr>
              <a:t>end to back</a:t>
            </a:r>
          </a:p>
        </p:txBody>
      </p:sp>
      <p:sp>
        <p:nvSpPr>
          <p:cNvPr id="12" name="textruta 11">
            <a:extLst>
              <a:ext uri="{FF2B5EF4-FFF2-40B4-BE49-F238E27FC236}">
                <a16:creationId xmlns:a16="http://schemas.microsoft.com/office/drawing/2014/main" id="{21862494-F897-CA4F-BE27-9C206870AF17}"/>
              </a:ext>
            </a:extLst>
          </p:cNvPr>
          <p:cNvSpPr txBox="1"/>
          <p:nvPr userDrawn="1"/>
        </p:nvSpPr>
        <p:spPr>
          <a:xfrm>
            <a:off x="12395260" y="4154400"/>
            <a:ext cx="1681523" cy="1754326"/>
          </a:xfrm>
          <a:prstGeom prst="rect">
            <a:avLst/>
          </a:prstGeom>
          <a:solidFill>
            <a:schemeClr val="tx1"/>
          </a:solidFill>
          <a:effectLst/>
        </p:spPr>
        <p:txBody>
          <a:bodyPr wrap="square" rtlCol="0" anchor="ctr" anchorCtr="0">
            <a:spAutoFit/>
          </a:bodyPr>
          <a:lstStyle/>
          <a:p>
            <a:pPr algn="ctr"/>
            <a:r>
              <a:rPr lang="en-US" sz="900" baseline="0" noProof="0">
                <a:solidFill>
                  <a:schemeClr val="bg1">
                    <a:lumMod val="65000"/>
                    <a:lumOff val="35000"/>
                  </a:schemeClr>
                </a:solidFill>
                <a:latin typeface="+mn-lt"/>
                <a:cs typeface="Arial" panose="020B0604020202020204" pitchFamily="34" charset="0"/>
              </a:rPr>
              <a:t>To change from </a:t>
            </a:r>
            <a:r>
              <a:rPr lang="en-US" sz="900" b="1" baseline="0" noProof="0">
                <a:solidFill>
                  <a:schemeClr val="bg1">
                    <a:lumMod val="65000"/>
                    <a:lumOff val="35000"/>
                  </a:schemeClr>
                </a:solidFill>
                <a:latin typeface="+mn-lt"/>
                <a:cs typeface="Arial" panose="020B0604020202020204" pitchFamily="34" charset="0"/>
              </a:rPr>
              <a:t>headline</a:t>
            </a:r>
            <a:r>
              <a:rPr lang="en-US" sz="900" baseline="0" noProof="0">
                <a:solidFill>
                  <a:schemeClr val="bg1">
                    <a:lumMod val="65000"/>
                    <a:lumOff val="35000"/>
                  </a:schemeClr>
                </a:solidFill>
                <a:latin typeface="+mn-lt"/>
                <a:cs typeface="Arial" panose="020B0604020202020204" pitchFamily="34" charset="0"/>
              </a:rPr>
              <a:t> to </a:t>
            </a:r>
            <a:r>
              <a:rPr lang="en-US" sz="900" b="1" baseline="0" noProof="0">
                <a:solidFill>
                  <a:schemeClr val="bg1">
                    <a:lumMod val="65000"/>
                    <a:lumOff val="35000"/>
                  </a:schemeClr>
                </a:solidFill>
                <a:latin typeface="+mn-lt"/>
                <a:cs typeface="Arial" panose="020B0604020202020204" pitchFamily="34" charset="0"/>
              </a:rPr>
              <a:t>body text </a:t>
            </a:r>
            <a:r>
              <a:rPr lang="en-US" sz="900" baseline="0" noProof="0">
                <a:solidFill>
                  <a:schemeClr val="bg1">
                    <a:lumMod val="65000"/>
                    <a:lumOff val="35000"/>
                  </a:schemeClr>
                </a:solidFill>
                <a:latin typeface="+mn-lt"/>
                <a:cs typeface="Arial" panose="020B0604020202020204" pitchFamily="34" charset="0"/>
              </a:rPr>
              <a:t>or to </a:t>
            </a:r>
            <a:r>
              <a:rPr lang="en-US" sz="900" b="1" baseline="0" noProof="0">
                <a:solidFill>
                  <a:schemeClr val="bg1">
                    <a:lumMod val="65000"/>
                    <a:lumOff val="35000"/>
                  </a:schemeClr>
                </a:solidFill>
                <a:latin typeface="+mn-lt"/>
                <a:cs typeface="Arial" panose="020B0604020202020204" pitchFamily="34" charset="0"/>
              </a:rPr>
              <a:t>use bullets</a:t>
            </a:r>
            <a:r>
              <a:rPr lang="en-US" sz="900" baseline="0" noProof="0">
                <a:solidFill>
                  <a:schemeClr val="bg1">
                    <a:lumMod val="65000"/>
                    <a:lumOff val="35000"/>
                  </a:schemeClr>
                </a:solidFill>
                <a:latin typeface="+mn-lt"/>
                <a:cs typeface="Arial" panose="020B0604020202020204" pitchFamily="34" charset="0"/>
              </a:rPr>
              <a:t>, press </a:t>
            </a:r>
            <a:r>
              <a:rPr lang="en-US" sz="900" b="1" baseline="0" noProof="0">
                <a:solidFill>
                  <a:schemeClr val="bg1">
                    <a:lumMod val="65000"/>
                    <a:lumOff val="35000"/>
                  </a:schemeClr>
                </a:solidFill>
                <a:latin typeface="+mn-lt"/>
                <a:cs typeface="Arial" panose="020B0604020202020204" pitchFamily="34" charset="0"/>
              </a:rPr>
              <a:t>enter/return </a:t>
            </a:r>
            <a:r>
              <a:rPr lang="en-US" sz="900" baseline="0" noProof="0">
                <a:solidFill>
                  <a:schemeClr val="bg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p:txBody>
      </p:sp>
      <p:pic>
        <p:nvPicPr>
          <p:cNvPr id="13" name="Picture 9">
            <a:extLst>
              <a:ext uri="{FF2B5EF4-FFF2-40B4-BE49-F238E27FC236}">
                <a16:creationId xmlns:a16="http://schemas.microsoft.com/office/drawing/2014/main" id="{81C34785-F336-8949-9792-85C82E9BAEE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14" name="Oval 4">
            <a:extLst>
              <a:ext uri="{FF2B5EF4-FFF2-40B4-BE49-F238E27FC236}">
                <a16:creationId xmlns:a16="http://schemas.microsoft.com/office/drawing/2014/main" id="{0DE5D575-685D-4949-9BD1-08C9CCBB6765}"/>
              </a:ext>
            </a:extLst>
          </p:cNvPr>
          <p:cNvSpPr/>
          <p:nvPr userDrawn="1"/>
        </p:nvSpPr>
        <p:spPr>
          <a:xfrm>
            <a:off x="13194299" y="5281906"/>
            <a:ext cx="282818" cy="282818"/>
          </a:xfrm>
          <a:prstGeom prst="ellipse">
            <a:avLst/>
          </a:prstGeom>
          <a:solidFill>
            <a:schemeClr val="tx1">
              <a:alpha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bg1"/>
              </a:solidFill>
              <a:latin typeface="+mn-lt"/>
            </a:endParaRPr>
          </a:p>
        </p:txBody>
      </p:sp>
      <p:cxnSp>
        <p:nvCxnSpPr>
          <p:cNvPr id="16" name="Connector: Elbow 131">
            <a:extLst>
              <a:ext uri="{FF2B5EF4-FFF2-40B4-BE49-F238E27FC236}">
                <a16:creationId xmlns:a16="http://schemas.microsoft.com/office/drawing/2014/main" id="{BEF77753-BA66-494E-BCE3-D85708BA6103}"/>
              </a:ext>
            </a:extLst>
          </p:cNvPr>
          <p:cNvCxnSpPr>
            <a:cxnSpLocks/>
            <a:endCxn id="14" idx="0"/>
          </p:cNvCxnSpPr>
          <p:nvPr userDrawn="1"/>
        </p:nvCxnSpPr>
        <p:spPr>
          <a:xfrm rot="5400000">
            <a:off x="13324711" y="5010086"/>
            <a:ext cx="282818" cy="260823"/>
          </a:xfrm>
          <a:prstGeom prst="bentConnector3">
            <a:avLst>
              <a:gd name="adj1" fmla="val 50000"/>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Platshållare för datum 3">
            <a:extLst>
              <a:ext uri="{FF2B5EF4-FFF2-40B4-BE49-F238E27FC236}">
                <a16:creationId xmlns:a16="http://schemas.microsoft.com/office/drawing/2014/main" id="{DB686218-5BA2-074C-8852-556179CA2F32}"/>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16E4FC41-772F-4E50-9165-52DD8A5EAFBD}" type="datetime1">
              <a:rPr lang="en-US" smtClean="0"/>
              <a:t>11/7/2025</a:t>
            </a:fld>
            <a:endParaRPr lang="en-US"/>
          </a:p>
        </p:txBody>
      </p:sp>
      <p:sp>
        <p:nvSpPr>
          <p:cNvPr id="18" name="Platshållare för sidfot 4">
            <a:extLst>
              <a:ext uri="{FF2B5EF4-FFF2-40B4-BE49-F238E27FC236}">
                <a16:creationId xmlns:a16="http://schemas.microsoft.com/office/drawing/2014/main" id="{F485D0B6-C708-9447-968B-34EBBA598FB8}"/>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nb-NO"/>
              <a:t>Skanska Norge Hovedpresentasjon - desember 2022</a:t>
            </a:r>
            <a:endParaRPr lang="en-US"/>
          </a:p>
        </p:txBody>
      </p:sp>
      <p:sp>
        <p:nvSpPr>
          <p:cNvPr id="19" name="Platshållare för bildnummer 5">
            <a:extLst>
              <a:ext uri="{FF2B5EF4-FFF2-40B4-BE49-F238E27FC236}">
                <a16:creationId xmlns:a16="http://schemas.microsoft.com/office/drawing/2014/main" id="{A18FEC4E-44A5-4B4E-BF3B-9186328914D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smtClean="0"/>
              <a:pPr/>
              <a:t>‹#›</a:t>
            </a:fld>
            <a:endParaRPr lang="en-US"/>
          </a:p>
        </p:txBody>
      </p:sp>
      <p:grpSp>
        <p:nvGrpSpPr>
          <p:cNvPr id="20" name="Grupp 32">
            <a:extLst>
              <a:ext uri="{FF2B5EF4-FFF2-40B4-BE49-F238E27FC236}">
                <a16:creationId xmlns:a16="http://schemas.microsoft.com/office/drawing/2014/main" id="{CFC8A43B-484E-A94E-9544-5A96E2FEB4A4}"/>
              </a:ext>
            </a:extLst>
          </p:cNvPr>
          <p:cNvGrpSpPr/>
          <p:nvPr userDrawn="1"/>
        </p:nvGrpSpPr>
        <p:grpSpPr>
          <a:xfrm>
            <a:off x="576140" y="6451484"/>
            <a:ext cx="615478" cy="91194"/>
            <a:chOff x="576140" y="6451484"/>
            <a:chExt cx="615478" cy="91194"/>
          </a:xfrm>
          <a:solidFill>
            <a:schemeClr val="tx2"/>
          </a:solidFill>
        </p:grpSpPr>
        <p:sp>
          <p:nvSpPr>
            <p:cNvPr id="21" name="Bild 2">
              <a:extLst>
                <a:ext uri="{FF2B5EF4-FFF2-40B4-BE49-F238E27FC236}">
                  <a16:creationId xmlns:a16="http://schemas.microsoft.com/office/drawing/2014/main" id="{0AAD7857-21BA-694B-B84E-7D080B22FC74}"/>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2" name="Bild 2">
              <a:extLst>
                <a:ext uri="{FF2B5EF4-FFF2-40B4-BE49-F238E27FC236}">
                  <a16:creationId xmlns:a16="http://schemas.microsoft.com/office/drawing/2014/main" id="{73B93E14-2F87-7D42-8BB1-B9DD59BBD50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600A5E65-99E7-BD4F-8FD1-B0EFD7452D61}"/>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D03BC607-5564-3C4E-AC15-742D3ACD7C9E}"/>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5" name="Bild 2">
              <a:extLst>
                <a:ext uri="{FF2B5EF4-FFF2-40B4-BE49-F238E27FC236}">
                  <a16:creationId xmlns:a16="http://schemas.microsoft.com/office/drawing/2014/main" id="{633F7CBD-CC18-6A47-B3B0-598CDBC284B2}"/>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6" name="Bild 2">
              <a:extLst>
                <a:ext uri="{FF2B5EF4-FFF2-40B4-BE49-F238E27FC236}">
                  <a16:creationId xmlns:a16="http://schemas.microsoft.com/office/drawing/2014/main" id="{BCA836F9-B72E-2745-9780-17AA47E3005F}"/>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7938F737-3045-BF42-89CB-6017E871B957}"/>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28" name="textruta 8">
            <a:extLst>
              <a:ext uri="{FF2B5EF4-FFF2-40B4-BE49-F238E27FC236}">
                <a16:creationId xmlns:a16="http://schemas.microsoft.com/office/drawing/2014/main" id="{0338DCA8-C782-6D42-9BF4-CBF52D1BCEE7}"/>
              </a:ext>
            </a:extLst>
          </p:cNvPr>
          <p:cNvSpPr txBox="1"/>
          <p:nvPr userDrawn="1"/>
        </p:nvSpPr>
        <p:spPr>
          <a:xfrm>
            <a:off x="12395260" y="-12189"/>
            <a:ext cx="1681523" cy="1338828"/>
          </a:xfrm>
          <a:prstGeom prst="rect">
            <a:avLst/>
          </a:prstGeom>
          <a:solidFill>
            <a:schemeClr val="tx1"/>
          </a:solidFill>
          <a:effectLst/>
        </p:spPr>
        <p:txBody>
          <a:bodyPr wrap="square" rtlCol="0" anchor="ctr" anchorCtr="0">
            <a:spAutoFit/>
          </a:bodyPr>
          <a:lstStyle/>
          <a:p>
            <a:pPr algn="ctr"/>
            <a:r>
              <a:rPr lang="en-US" sz="900" baseline="0" noProof="0">
                <a:solidFill>
                  <a:schemeClr val="bg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bg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bg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bg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bg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bg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bg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bg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bg1">
                  <a:lumMod val="65000"/>
                  <a:lumOff val="35000"/>
                </a:schemeClr>
              </a:solidFill>
              <a:latin typeface="Arial" panose="020B0604020202020204" pitchFamily="34" charset="0"/>
              <a:cs typeface="Arial" panose="020B0604020202020204" pitchFamily="34" charset="0"/>
            </a:endParaRPr>
          </a:p>
        </p:txBody>
      </p:sp>
      <p:sp>
        <p:nvSpPr>
          <p:cNvPr id="30" name="Rektangel 9">
            <a:extLst>
              <a:ext uri="{FF2B5EF4-FFF2-40B4-BE49-F238E27FC236}">
                <a16:creationId xmlns:a16="http://schemas.microsoft.com/office/drawing/2014/main" id="{2A15AE09-029B-ED44-BCEC-8A8EFAF4CC2B}"/>
              </a:ext>
            </a:extLst>
          </p:cNvPr>
          <p:cNvSpPr/>
          <p:nvPr userDrawn="1"/>
        </p:nvSpPr>
        <p:spPr>
          <a:xfrm>
            <a:off x="13255337" y="926211"/>
            <a:ext cx="341194" cy="3059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1" name="Rektangel 10">
            <a:extLst>
              <a:ext uri="{FF2B5EF4-FFF2-40B4-BE49-F238E27FC236}">
                <a16:creationId xmlns:a16="http://schemas.microsoft.com/office/drawing/2014/main" id="{2C397BC2-B2B9-4545-95E8-9BBBF581099C}"/>
              </a:ext>
            </a:extLst>
          </p:cNvPr>
          <p:cNvSpPr/>
          <p:nvPr userDrawn="1"/>
        </p:nvSpPr>
        <p:spPr>
          <a:xfrm>
            <a:off x="12833410" y="926211"/>
            <a:ext cx="341194" cy="305904"/>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2919208433"/>
      </p:ext>
    </p:extLst>
  </p:cSld>
  <p:clrMapOvr>
    <a:overrideClrMapping bg1="dk1" tx1="lt1" bg2="dk2" tx2="lt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9 End Slide/Thank You Gray">
    <p:bg>
      <p:bgRef idx="1001">
        <a:schemeClr val="bg2"/>
      </p:bgRef>
    </p:bg>
    <p:spTree>
      <p:nvGrpSpPr>
        <p:cNvPr id="1" name=""/>
        <p:cNvGrpSpPr/>
        <p:nvPr/>
      </p:nvGrpSpPr>
      <p:grpSpPr>
        <a:xfrm>
          <a:off x="0" y="0"/>
          <a:ext cx="0" cy="0"/>
          <a:chOff x="0" y="0"/>
          <a:chExt cx="0" cy="0"/>
        </a:xfrm>
      </p:grpSpPr>
      <p:sp>
        <p:nvSpPr>
          <p:cNvPr id="29" name="Text Placeholder 7">
            <a:extLst>
              <a:ext uri="{FF2B5EF4-FFF2-40B4-BE49-F238E27FC236}">
                <a16:creationId xmlns:a16="http://schemas.microsoft.com/office/drawing/2014/main" id="{0372CC69-D63F-AF4E-915B-F7E58ADA3E2E}"/>
              </a:ext>
            </a:extLst>
          </p:cNvPr>
          <p:cNvSpPr>
            <a:spLocks noGrp="1"/>
          </p:cNvSpPr>
          <p:nvPr>
            <p:ph type="body" sz="quarter" idx="39" hasCustomPrompt="1"/>
          </p:nvPr>
        </p:nvSpPr>
        <p:spPr>
          <a:xfrm>
            <a:off x="583093" y="4183201"/>
            <a:ext cx="5370031" cy="1946137"/>
          </a:xfrm>
        </p:spPr>
        <p:txBody>
          <a:bodyPr/>
          <a:lstStyle>
            <a:lvl1pPr marL="0" indent="0" algn="l">
              <a:lnSpc>
                <a:spcPct val="100000"/>
              </a:lnSpc>
              <a:spcBef>
                <a:spcPts val="0"/>
              </a:spcBef>
              <a:spcAft>
                <a:spcPts val="850"/>
              </a:spcAft>
              <a:buNone/>
              <a:defRPr sz="3600" b="0" spc="40" baseline="0">
                <a:solidFill>
                  <a:schemeClr val="tx2"/>
                </a:solidFill>
              </a:defRPr>
            </a:lvl1pPr>
            <a:lvl2pPr marL="0" indent="0" algn="l">
              <a:lnSpc>
                <a:spcPct val="100000"/>
              </a:lnSpc>
              <a:spcBef>
                <a:spcPts val="0"/>
              </a:spcBef>
              <a:spcAft>
                <a:spcPts val="600"/>
              </a:spcAft>
              <a:buNone/>
              <a:defRPr sz="1400" spc="40" baseline="0">
                <a:solidFill>
                  <a:schemeClr val="tx2"/>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8" name="textruta 5">
            <a:extLst>
              <a:ext uri="{FF2B5EF4-FFF2-40B4-BE49-F238E27FC236}">
                <a16:creationId xmlns:a16="http://schemas.microsoft.com/office/drawing/2014/main" id="{07728FC5-8FAF-D948-82AA-B9F786AAEBB7}"/>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D18F62CC-60C1-DB42-9742-4AF366303413}"/>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73C348B4-C0EC-824B-814E-D42C562CBFA8}"/>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1C4A7DAB-0DBB-E649-8262-BE0207487BE8}"/>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ruta 11">
            <a:extLst>
              <a:ext uri="{FF2B5EF4-FFF2-40B4-BE49-F238E27FC236}">
                <a16:creationId xmlns:a16="http://schemas.microsoft.com/office/drawing/2014/main" id="{21862494-F897-CA4F-BE27-9C206870AF17}"/>
              </a:ext>
            </a:extLst>
          </p:cNvPr>
          <p:cNvSpPr txBox="1"/>
          <p:nvPr userDrawn="1"/>
        </p:nvSpPr>
        <p:spPr>
          <a:xfrm>
            <a:off x="12395260" y="4154400"/>
            <a:ext cx="1681523" cy="1754326"/>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mn-lt"/>
                <a:cs typeface="Arial" panose="020B0604020202020204" pitchFamily="34" charset="0"/>
              </a:rPr>
              <a:t>To change from </a:t>
            </a:r>
            <a:r>
              <a:rPr lang="en-US" sz="900" b="1" baseline="0" noProof="0">
                <a:solidFill>
                  <a:schemeClr val="tx1">
                    <a:lumMod val="65000"/>
                    <a:lumOff val="35000"/>
                  </a:schemeClr>
                </a:solidFill>
                <a:latin typeface="+mn-lt"/>
                <a:cs typeface="Arial" panose="020B0604020202020204" pitchFamily="34" charset="0"/>
              </a:rPr>
              <a:t>headline</a:t>
            </a:r>
            <a:r>
              <a:rPr lang="en-US" sz="900" baseline="0" noProof="0">
                <a:solidFill>
                  <a:schemeClr val="tx1">
                    <a:lumMod val="65000"/>
                    <a:lumOff val="35000"/>
                  </a:schemeClr>
                </a:solidFill>
                <a:latin typeface="+mn-lt"/>
                <a:cs typeface="Arial" panose="020B0604020202020204" pitchFamily="34" charset="0"/>
              </a:rPr>
              <a:t> to </a:t>
            </a:r>
            <a:r>
              <a:rPr lang="en-US" sz="900" b="1" baseline="0" noProof="0">
                <a:solidFill>
                  <a:schemeClr val="tx1">
                    <a:lumMod val="65000"/>
                    <a:lumOff val="35000"/>
                  </a:schemeClr>
                </a:solidFill>
                <a:latin typeface="+mn-lt"/>
                <a:cs typeface="Arial" panose="020B0604020202020204" pitchFamily="34" charset="0"/>
              </a:rPr>
              <a:t>body text </a:t>
            </a:r>
            <a:r>
              <a:rPr lang="en-US" sz="900" baseline="0" noProof="0">
                <a:solidFill>
                  <a:schemeClr val="tx1">
                    <a:lumMod val="65000"/>
                    <a:lumOff val="35000"/>
                  </a:schemeClr>
                </a:solidFill>
                <a:latin typeface="+mn-lt"/>
                <a:cs typeface="Arial" panose="020B0604020202020204" pitchFamily="34" charset="0"/>
              </a:rPr>
              <a:t>or to </a:t>
            </a:r>
            <a:r>
              <a:rPr lang="en-US" sz="900" b="1" baseline="0" noProof="0">
                <a:solidFill>
                  <a:schemeClr val="tx1">
                    <a:lumMod val="65000"/>
                    <a:lumOff val="35000"/>
                  </a:schemeClr>
                </a:solidFill>
                <a:latin typeface="+mn-lt"/>
                <a:cs typeface="Arial" panose="020B0604020202020204" pitchFamily="34" charset="0"/>
              </a:rPr>
              <a:t>use bullets</a:t>
            </a:r>
            <a:r>
              <a:rPr lang="en-US" sz="900" baseline="0" noProof="0">
                <a:solidFill>
                  <a:schemeClr val="tx1">
                    <a:lumMod val="65000"/>
                    <a:lumOff val="35000"/>
                  </a:schemeClr>
                </a:solidFill>
                <a:latin typeface="+mn-lt"/>
                <a:cs typeface="Arial" panose="020B0604020202020204" pitchFamily="34" charset="0"/>
              </a:rPr>
              <a:t>, press </a:t>
            </a:r>
            <a:r>
              <a:rPr lang="en-US" sz="900" b="1" baseline="0" noProof="0">
                <a:solidFill>
                  <a:schemeClr val="tx1">
                    <a:lumMod val="65000"/>
                    <a:lumOff val="35000"/>
                  </a:schemeClr>
                </a:solidFill>
                <a:latin typeface="+mn-lt"/>
                <a:cs typeface="Arial" panose="020B0604020202020204" pitchFamily="34" charset="0"/>
              </a:rPr>
              <a:t>enter/return </a:t>
            </a:r>
            <a:r>
              <a:rPr lang="en-US" sz="900" baseline="0" noProof="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p:txBody>
      </p:sp>
      <p:pic>
        <p:nvPicPr>
          <p:cNvPr id="13" name="Picture 9">
            <a:extLst>
              <a:ext uri="{FF2B5EF4-FFF2-40B4-BE49-F238E27FC236}">
                <a16:creationId xmlns:a16="http://schemas.microsoft.com/office/drawing/2014/main" id="{81C34785-F336-8949-9792-85C82E9BAEE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14" name="Oval 4">
            <a:extLst>
              <a:ext uri="{FF2B5EF4-FFF2-40B4-BE49-F238E27FC236}">
                <a16:creationId xmlns:a16="http://schemas.microsoft.com/office/drawing/2014/main" id="{0DE5D575-685D-4949-9BD1-08C9CCBB6765}"/>
              </a:ext>
            </a:extLst>
          </p:cNvPr>
          <p:cNvSpPr/>
          <p:nvPr userDrawn="1"/>
        </p:nvSpPr>
        <p:spPr>
          <a:xfrm>
            <a:off x="13194299" y="52819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16" name="Connector: Elbow 131">
            <a:extLst>
              <a:ext uri="{FF2B5EF4-FFF2-40B4-BE49-F238E27FC236}">
                <a16:creationId xmlns:a16="http://schemas.microsoft.com/office/drawing/2014/main" id="{BEF77753-BA66-494E-BCE3-D85708BA6103}"/>
              </a:ext>
            </a:extLst>
          </p:cNvPr>
          <p:cNvCxnSpPr>
            <a:cxnSpLocks/>
            <a:endCxn id="14" idx="0"/>
          </p:cNvCxnSpPr>
          <p:nvPr userDrawn="1"/>
        </p:nvCxnSpPr>
        <p:spPr>
          <a:xfrm rot="5400000">
            <a:off x="13324711" y="50100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Platshållare för datum 3">
            <a:extLst>
              <a:ext uri="{FF2B5EF4-FFF2-40B4-BE49-F238E27FC236}">
                <a16:creationId xmlns:a16="http://schemas.microsoft.com/office/drawing/2014/main" id="{DB686218-5BA2-074C-8852-556179CA2F32}"/>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3DFEC7F5-98A5-48E1-8C30-89CABE37145C}" type="datetime1">
              <a:rPr lang="en-US" smtClean="0"/>
              <a:t>11/7/2025</a:t>
            </a:fld>
            <a:endParaRPr lang="en-US"/>
          </a:p>
        </p:txBody>
      </p:sp>
      <p:sp>
        <p:nvSpPr>
          <p:cNvPr id="18" name="Platshållare för sidfot 4">
            <a:extLst>
              <a:ext uri="{FF2B5EF4-FFF2-40B4-BE49-F238E27FC236}">
                <a16:creationId xmlns:a16="http://schemas.microsoft.com/office/drawing/2014/main" id="{F485D0B6-C708-9447-968B-34EBBA598FB8}"/>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nb-NO"/>
              <a:t>Skanska Norge Hovedpresentasjon - desember 2022</a:t>
            </a:r>
            <a:endParaRPr lang="en-US"/>
          </a:p>
        </p:txBody>
      </p:sp>
      <p:sp>
        <p:nvSpPr>
          <p:cNvPr id="19" name="Platshållare för bildnummer 5">
            <a:extLst>
              <a:ext uri="{FF2B5EF4-FFF2-40B4-BE49-F238E27FC236}">
                <a16:creationId xmlns:a16="http://schemas.microsoft.com/office/drawing/2014/main" id="{A18FEC4E-44A5-4B4E-BF3B-9186328914D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smtClean="0"/>
              <a:pPr/>
              <a:t>‹#›</a:t>
            </a:fld>
            <a:endParaRPr lang="en-US"/>
          </a:p>
        </p:txBody>
      </p:sp>
      <p:grpSp>
        <p:nvGrpSpPr>
          <p:cNvPr id="20" name="Grupp 32">
            <a:extLst>
              <a:ext uri="{FF2B5EF4-FFF2-40B4-BE49-F238E27FC236}">
                <a16:creationId xmlns:a16="http://schemas.microsoft.com/office/drawing/2014/main" id="{CFC8A43B-484E-A94E-9544-5A96E2FEB4A4}"/>
              </a:ext>
            </a:extLst>
          </p:cNvPr>
          <p:cNvGrpSpPr/>
          <p:nvPr userDrawn="1"/>
        </p:nvGrpSpPr>
        <p:grpSpPr>
          <a:xfrm>
            <a:off x="576140" y="6451484"/>
            <a:ext cx="615478" cy="91194"/>
            <a:chOff x="576140" y="6451484"/>
            <a:chExt cx="615478" cy="91194"/>
          </a:xfrm>
          <a:solidFill>
            <a:schemeClr val="tx2"/>
          </a:solidFill>
        </p:grpSpPr>
        <p:sp>
          <p:nvSpPr>
            <p:cNvPr id="21" name="Bild 2">
              <a:extLst>
                <a:ext uri="{FF2B5EF4-FFF2-40B4-BE49-F238E27FC236}">
                  <a16:creationId xmlns:a16="http://schemas.microsoft.com/office/drawing/2014/main" id="{0AAD7857-21BA-694B-B84E-7D080B22FC74}"/>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2" name="Bild 2">
              <a:extLst>
                <a:ext uri="{FF2B5EF4-FFF2-40B4-BE49-F238E27FC236}">
                  <a16:creationId xmlns:a16="http://schemas.microsoft.com/office/drawing/2014/main" id="{73B93E14-2F87-7D42-8BB1-B9DD59BBD50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600A5E65-99E7-BD4F-8FD1-B0EFD7452D61}"/>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D03BC607-5564-3C4E-AC15-742D3ACD7C9E}"/>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5" name="Bild 2">
              <a:extLst>
                <a:ext uri="{FF2B5EF4-FFF2-40B4-BE49-F238E27FC236}">
                  <a16:creationId xmlns:a16="http://schemas.microsoft.com/office/drawing/2014/main" id="{633F7CBD-CC18-6A47-B3B0-598CDBC284B2}"/>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6" name="Bild 2">
              <a:extLst>
                <a:ext uri="{FF2B5EF4-FFF2-40B4-BE49-F238E27FC236}">
                  <a16:creationId xmlns:a16="http://schemas.microsoft.com/office/drawing/2014/main" id="{BCA836F9-B72E-2745-9780-17AA47E3005F}"/>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7938F737-3045-BF42-89CB-6017E871B957}"/>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Tree>
    <p:extLst>
      <p:ext uri="{BB962C8B-B14F-4D97-AF65-F5344CB8AC3E}">
        <p14:creationId xmlns:p14="http://schemas.microsoft.com/office/powerpoint/2010/main" val="10967546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Agenda blå">
    <p:bg>
      <p:bgPr>
        <a:solidFill>
          <a:schemeClr val="tx2"/>
        </a:solidFill>
        <a:effectLst/>
      </p:bgPr>
    </p:bg>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B97AD55C-70F4-0A50-2C40-2812549AFAF7}"/>
              </a:ext>
            </a:extLst>
          </p:cNvPr>
          <p:cNvSpPr>
            <a:spLocks noGrp="1"/>
          </p:cNvSpPr>
          <p:nvPr>
            <p:ph type="title" hasCustomPrompt="1"/>
          </p:nvPr>
        </p:nvSpPr>
        <p:spPr>
          <a:xfrm>
            <a:off x="576000" y="730800"/>
            <a:ext cx="5377125" cy="576000"/>
          </a:xfrm>
        </p:spPr>
        <p:txBody>
          <a:bodyPr/>
          <a:lstStyle>
            <a:lvl1pPr>
              <a:defRPr>
                <a:solidFill>
                  <a:schemeClr val="bg1"/>
                </a:solidFill>
              </a:defRPr>
            </a:lvl1pPr>
          </a:lstStyle>
          <a:p>
            <a:r>
              <a:rPr lang="en-US" dirty="0" err="1"/>
              <a:t>Klikk</a:t>
            </a:r>
            <a:r>
              <a:rPr lang="en-US" dirty="0"/>
              <a:t> for </a:t>
            </a:r>
            <a:r>
              <a:rPr lang="en-US" dirty="0" err="1"/>
              <a:t>en</a:t>
            </a:r>
            <a:r>
              <a:rPr lang="en-US" dirty="0"/>
              <a:t> </a:t>
            </a:r>
            <a:r>
              <a:rPr lang="en-US" dirty="0" err="1"/>
              <a:t>kort</a:t>
            </a:r>
            <a:r>
              <a:rPr lang="en-US" dirty="0"/>
              <a:t> </a:t>
            </a:r>
            <a:r>
              <a:rPr lang="en-US" dirty="0" err="1"/>
              <a:t>overskrift</a:t>
            </a:r>
            <a:endParaRPr lang="en-US" dirty="0"/>
          </a:p>
        </p:txBody>
      </p:sp>
      <p:sp>
        <p:nvSpPr>
          <p:cNvPr id="40" name="Text Placeholder 3">
            <a:extLst>
              <a:ext uri="{FF2B5EF4-FFF2-40B4-BE49-F238E27FC236}">
                <a16:creationId xmlns:a16="http://schemas.microsoft.com/office/drawing/2014/main" id="{71F6E362-8923-6340-A1FF-64BF191D73D7}"/>
              </a:ext>
            </a:extLst>
          </p:cNvPr>
          <p:cNvSpPr>
            <a:spLocks noGrp="1"/>
          </p:cNvSpPr>
          <p:nvPr>
            <p:ph type="body" sz="quarter" idx="15" hasCustomPrompt="1"/>
          </p:nvPr>
        </p:nvSpPr>
        <p:spPr>
          <a:xfrm>
            <a:off x="576263" y="1746000"/>
            <a:ext cx="3481387" cy="4391999"/>
          </a:xfrm>
        </p:spPr>
        <p:txBody>
          <a:bodyPr/>
          <a:lstStyle>
            <a:lvl1pPr marL="342000" indent="-342000">
              <a:lnSpc>
                <a:spcPct val="100000"/>
              </a:lnSpc>
              <a:spcBef>
                <a:spcPts val="0"/>
              </a:spcBef>
              <a:spcAft>
                <a:spcPts val="1000"/>
              </a:spcAft>
              <a:buFont typeface="+mj-lt"/>
              <a:buAutoNum type="arabicPeriod"/>
              <a:defRPr sz="1800" spc="40" baseline="0">
                <a:solidFill>
                  <a:schemeClr val="bg1"/>
                </a:solidFill>
              </a:defRPr>
            </a:lvl1pPr>
            <a:lvl2pPr marL="342000" indent="-342000">
              <a:lnSpc>
                <a:spcPct val="100000"/>
              </a:lnSpc>
              <a:spcAft>
                <a:spcPts val="1000"/>
              </a:spcAft>
              <a:tabLst/>
              <a:defRPr sz="1800" spc="40" baseline="0"/>
            </a:lvl2pPr>
            <a:lvl3pPr>
              <a:defRPr sz="1400" spc="40" baseline="0"/>
            </a:lvl3pPr>
            <a:lvl4pPr>
              <a:defRPr sz="1200" spc="40" baseline="0"/>
            </a:lvl4pPr>
            <a:lvl5pPr>
              <a:defRPr sz="1100" spc="40" baseline="0"/>
            </a:lvl5pPr>
          </a:lstStyle>
          <a:p>
            <a:pPr lvl="0"/>
            <a:r>
              <a:rPr lang="en-US" noProof="0" dirty="0" err="1"/>
              <a:t>Klikk</a:t>
            </a:r>
            <a:r>
              <a:rPr lang="en-US" noProof="0" dirty="0"/>
              <a:t> for agenda</a:t>
            </a:r>
          </a:p>
        </p:txBody>
      </p:sp>
      <p:sp>
        <p:nvSpPr>
          <p:cNvPr id="2" name="Logotype">
            <a:extLst>
              <a:ext uri="{FF2B5EF4-FFF2-40B4-BE49-F238E27FC236}">
                <a16:creationId xmlns:a16="http://schemas.microsoft.com/office/drawing/2014/main" id="{4B38F982-5835-282F-E6D5-27AC5440A466}"/>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bg1"/>
          </a:solidFill>
          <a:ln w="6350" cap="flat">
            <a:noFill/>
            <a:prstDash val="solid"/>
            <a:miter/>
          </a:ln>
        </p:spPr>
        <p:txBody>
          <a:bodyPr wrap="square" rtlCol="0" anchor="ctr">
            <a:noAutofit/>
          </a:bodyPr>
          <a:lstStyle/>
          <a:p>
            <a:endParaRPr lang="en-US" noProof="0">
              <a:solidFill>
                <a:schemeClr val="tx2"/>
              </a:solidFill>
            </a:endParaRPr>
          </a:p>
        </p:txBody>
      </p:sp>
    </p:spTree>
    <p:extLst>
      <p:ext uri="{BB962C8B-B14F-4D97-AF65-F5344CB8AC3E}">
        <p14:creationId xmlns:p14="http://schemas.microsoft.com/office/powerpoint/2010/main" val="128888957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Platshållare för datum 3">
            <a:extLst>
              <a:ext uri="{FF2B5EF4-FFF2-40B4-BE49-F238E27FC236}">
                <a16:creationId xmlns:a16="http://schemas.microsoft.com/office/drawing/2014/main" id="{A74D829F-278E-A349-A2D6-131DE97D2A1D}"/>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82D42A07-20F2-4FB9-BAB4-FEB5C4318D85}" type="datetime1">
              <a:rPr lang="en-US" noProof="0" smtClean="0"/>
              <a:t>11/7/2025</a:t>
            </a:fld>
            <a:endParaRPr lang="en-US" noProof="0"/>
          </a:p>
        </p:txBody>
      </p:sp>
      <p:sp>
        <p:nvSpPr>
          <p:cNvPr id="6" name="Platshållare för sidfot 4">
            <a:extLst>
              <a:ext uri="{FF2B5EF4-FFF2-40B4-BE49-F238E27FC236}">
                <a16:creationId xmlns:a16="http://schemas.microsoft.com/office/drawing/2014/main" id="{1EDE4D0B-651F-4744-92FD-605540347A24}"/>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nb-NO" noProof="0"/>
              <a:t>Skanska Norge Hovedpresentasjon - desember 2022</a:t>
            </a:r>
            <a:endParaRPr lang="en-US" noProof="0"/>
          </a:p>
        </p:txBody>
      </p:sp>
      <p:sp>
        <p:nvSpPr>
          <p:cNvPr id="7" name="Platshållare för bildnummer 5">
            <a:extLst>
              <a:ext uri="{FF2B5EF4-FFF2-40B4-BE49-F238E27FC236}">
                <a16:creationId xmlns:a16="http://schemas.microsoft.com/office/drawing/2014/main" id="{0B0AB5DF-9F17-C94E-BC61-612FF860215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187657590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 Start Image bottom ">
    <p:bg>
      <p:bgPr>
        <a:solidFill>
          <a:schemeClr val="bg1"/>
        </a:solidFill>
        <a:effectLst/>
      </p:bgPr>
    </p:bg>
    <p:spTree>
      <p:nvGrpSpPr>
        <p:cNvPr id="1" name=""/>
        <p:cNvGrpSpPr/>
        <p:nvPr/>
      </p:nvGrpSpPr>
      <p:grpSpPr>
        <a:xfrm>
          <a:off x="0" y="0"/>
          <a:ext cx="0" cy="0"/>
          <a:chOff x="0" y="0"/>
          <a:chExt cx="0" cy="0"/>
        </a:xfrm>
      </p:grpSpPr>
      <p:sp>
        <p:nvSpPr>
          <p:cNvPr id="11" name="Text Placeholder 18">
            <a:extLst>
              <a:ext uri="{FF2B5EF4-FFF2-40B4-BE49-F238E27FC236}">
                <a16:creationId xmlns:a16="http://schemas.microsoft.com/office/drawing/2014/main" id="{F33AAA9B-2FD7-7742-8FFC-0853E10FF816}"/>
              </a:ext>
            </a:extLst>
          </p:cNvPr>
          <p:cNvSpPr>
            <a:spLocks noGrp="1"/>
          </p:cNvSpPr>
          <p:nvPr>
            <p:ph type="body" sz="quarter" idx="14" hasCustomPrompt="1"/>
          </p:nvPr>
        </p:nvSpPr>
        <p:spPr>
          <a:xfrm>
            <a:off x="576000" y="1022400"/>
            <a:ext cx="5367178" cy="887911"/>
          </a:xfrm>
          <a:prstGeom prst="rect">
            <a:avLst/>
          </a:prstGeom>
        </p:spPr>
        <p:txBody>
          <a:bodyPr anchor="t">
            <a:noAutofit/>
          </a:bodyPr>
          <a:lstStyle>
            <a:lvl1pPr marL="0" indent="0">
              <a:lnSpc>
                <a:spcPct val="85000"/>
              </a:lnSpc>
              <a:spcBef>
                <a:spcPts val="0"/>
              </a:spcBef>
              <a:buNone/>
              <a:defRPr sz="3600" spc="40" baseline="0">
                <a:solidFill>
                  <a:schemeClr val="tx2"/>
                </a:solidFill>
              </a:defRPr>
            </a:lvl1pPr>
          </a:lstStyle>
          <a:p>
            <a:pPr lvl="0"/>
            <a:r>
              <a:rPr lang="en-GB"/>
              <a:t>Click to add a headline </a:t>
            </a:r>
            <a:br>
              <a:rPr lang="en-GB"/>
            </a:br>
            <a:r>
              <a:rPr lang="en-GB"/>
              <a:t>of maximum two lines</a:t>
            </a:r>
          </a:p>
        </p:txBody>
      </p:sp>
      <p:sp>
        <p:nvSpPr>
          <p:cNvPr id="13" name="Text Placeholder 7">
            <a:extLst>
              <a:ext uri="{FF2B5EF4-FFF2-40B4-BE49-F238E27FC236}">
                <a16:creationId xmlns:a16="http://schemas.microsoft.com/office/drawing/2014/main" id="{82C1EA7A-B2DC-6047-B1F0-EB47347CB0FD}"/>
              </a:ext>
            </a:extLst>
          </p:cNvPr>
          <p:cNvSpPr>
            <a:spLocks noGrp="1"/>
          </p:cNvSpPr>
          <p:nvPr>
            <p:ph type="body" sz="quarter" idx="19" hasCustomPrompt="1"/>
          </p:nvPr>
        </p:nvSpPr>
        <p:spPr>
          <a:xfrm>
            <a:off x="575999" y="2242800"/>
            <a:ext cx="5377125" cy="887911"/>
          </a:xfrm>
        </p:spPr>
        <p:txBody>
          <a:bodyPr/>
          <a:lstStyle>
            <a:lvl1pPr marL="0" indent="0">
              <a:lnSpc>
                <a:spcPct val="100000"/>
              </a:lnSpc>
              <a:spcBef>
                <a:spcPts val="0"/>
              </a:spcBef>
              <a:spcAft>
                <a:spcPts val="1000"/>
              </a:spcAft>
              <a:buNone/>
              <a:defRPr sz="1400" spc="40" baseline="0"/>
            </a:lvl1pPr>
            <a:lvl2pPr>
              <a:lnSpc>
                <a:spcPct val="100000"/>
              </a:lnSpc>
              <a:spcBef>
                <a:spcPts val="0"/>
              </a:spcBef>
              <a:spcAft>
                <a:spcPts val="600"/>
              </a:spcAft>
              <a:defRPr spc="40" baseline="0"/>
            </a:lvl2pPr>
            <a:lvl3pPr>
              <a:defRPr spc="40" baseline="0"/>
            </a:lvl3pPr>
            <a:lvl4pPr>
              <a:defRPr spc="40" baseline="0"/>
            </a:lvl4pPr>
            <a:lvl5pPr>
              <a:defRPr spc="40" baseline="0"/>
            </a:lvl5pPr>
          </a:lstStyle>
          <a:p>
            <a:pPr lvl="0"/>
            <a:r>
              <a:rPr lang="en-GB"/>
              <a:t>Click to add text</a:t>
            </a:r>
          </a:p>
        </p:txBody>
      </p:sp>
      <p:grpSp>
        <p:nvGrpSpPr>
          <p:cNvPr id="14" name="Grupp 36">
            <a:extLst>
              <a:ext uri="{FF2B5EF4-FFF2-40B4-BE49-F238E27FC236}">
                <a16:creationId xmlns:a16="http://schemas.microsoft.com/office/drawing/2014/main" id="{3F712A42-435E-5043-A943-E4E2B19528B0}"/>
              </a:ext>
            </a:extLst>
          </p:cNvPr>
          <p:cNvGrpSpPr/>
          <p:nvPr userDrawn="1"/>
        </p:nvGrpSpPr>
        <p:grpSpPr>
          <a:xfrm>
            <a:off x="580243" y="358826"/>
            <a:ext cx="1060858" cy="157184"/>
            <a:chOff x="2940050" y="2740025"/>
            <a:chExt cx="6235699" cy="923925"/>
          </a:xfrm>
          <a:solidFill>
            <a:schemeClr val="accent1"/>
          </a:solidFill>
        </p:grpSpPr>
        <p:sp>
          <p:nvSpPr>
            <p:cNvPr id="15" name="Bild 2">
              <a:extLst>
                <a:ext uri="{FF2B5EF4-FFF2-40B4-BE49-F238E27FC236}">
                  <a16:creationId xmlns:a16="http://schemas.microsoft.com/office/drawing/2014/main" id="{D7269BB1-D3CF-5044-857D-1A0B58A65373}"/>
                </a:ext>
              </a:extLst>
            </p:cNvPr>
            <p:cNvSpPr/>
            <p:nvPr/>
          </p:nvSpPr>
          <p:spPr>
            <a:xfrm>
              <a:off x="5629275" y="2740660"/>
              <a:ext cx="803275" cy="923289"/>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sv-SE"/>
            </a:p>
          </p:txBody>
        </p:sp>
        <p:sp>
          <p:nvSpPr>
            <p:cNvPr id="17" name="Bild 2">
              <a:extLst>
                <a:ext uri="{FF2B5EF4-FFF2-40B4-BE49-F238E27FC236}">
                  <a16:creationId xmlns:a16="http://schemas.microsoft.com/office/drawing/2014/main" id="{5EEAC040-EA0D-5A4B-8ADF-21D65E865AB5}"/>
                </a:ext>
              </a:extLst>
            </p:cNvPr>
            <p:cNvSpPr/>
            <p:nvPr/>
          </p:nvSpPr>
          <p:spPr>
            <a:xfrm>
              <a:off x="4629785" y="2740660"/>
              <a:ext cx="920114" cy="923289"/>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sv-SE"/>
            </a:p>
          </p:txBody>
        </p:sp>
        <p:sp>
          <p:nvSpPr>
            <p:cNvPr id="18" name="Bild 2">
              <a:extLst>
                <a:ext uri="{FF2B5EF4-FFF2-40B4-BE49-F238E27FC236}">
                  <a16:creationId xmlns:a16="http://schemas.microsoft.com/office/drawing/2014/main" id="{89FCFA60-6CB0-464D-B5BC-5BF7C7E36D0D}"/>
                </a:ext>
              </a:extLst>
            </p:cNvPr>
            <p:cNvSpPr/>
            <p:nvPr/>
          </p:nvSpPr>
          <p:spPr>
            <a:xfrm>
              <a:off x="2940050" y="2740660"/>
              <a:ext cx="786764" cy="923289"/>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sv-SE"/>
            </a:p>
          </p:txBody>
        </p:sp>
        <p:sp>
          <p:nvSpPr>
            <p:cNvPr id="19" name="Bild 2">
              <a:extLst>
                <a:ext uri="{FF2B5EF4-FFF2-40B4-BE49-F238E27FC236}">
                  <a16:creationId xmlns:a16="http://schemas.microsoft.com/office/drawing/2014/main" id="{9FE0EB8F-8680-B144-A3E2-EC14C2F2A334}"/>
                </a:ext>
              </a:extLst>
            </p:cNvPr>
            <p:cNvSpPr/>
            <p:nvPr/>
          </p:nvSpPr>
          <p:spPr>
            <a:xfrm>
              <a:off x="3851275" y="2740025"/>
              <a:ext cx="765175" cy="923925"/>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sv-SE"/>
            </a:p>
          </p:txBody>
        </p:sp>
        <p:sp>
          <p:nvSpPr>
            <p:cNvPr id="20" name="Bild 2">
              <a:extLst>
                <a:ext uri="{FF2B5EF4-FFF2-40B4-BE49-F238E27FC236}">
                  <a16:creationId xmlns:a16="http://schemas.microsoft.com/office/drawing/2014/main" id="{59A5EA93-292C-1B4C-A6B0-233D749054F3}"/>
                </a:ext>
              </a:extLst>
            </p:cNvPr>
            <p:cNvSpPr/>
            <p:nvPr/>
          </p:nvSpPr>
          <p:spPr>
            <a:xfrm>
              <a:off x="8256270" y="2740660"/>
              <a:ext cx="919479" cy="923289"/>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sv-SE"/>
            </a:p>
          </p:txBody>
        </p:sp>
        <p:sp>
          <p:nvSpPr>
            <p:cNvPr id="21" name="Bild 2">
              <a:extLst>
                <a:ext uri="{FF2B5EF4-FFF2-40B4-BE49-F238E27FC236}">
                  <a16:creationId xmlns:a16="http://schemas.microsoft.com/office/drawing/2014/main" id="{DC6A2CCA-5F03-834D-A9B2-43DEF99BAD06}"/>
                </a:ext>
              </a:extLst>
            </p:cNvPr>
            <p:cNvSpPr/>
            <p:nvPr/>
          </p:nvSpPr>
          <p:spPr>
            <a:xfrm>
              <a:off x="6562090" y="2740660"/>
              <a:ext cx="787400" cy="923289"/>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sv-SE"/>
            </a:p>
          </p:txBody>
        </p:sp>
        <p:sp>
          <p:nvSpPr>
            <p:cNvPr id="22" name="Bild 2">
              <a:extLst>
                <a:ext uri="{FF2B5EF4-FFF2-40B4-BE49-F238E27FC236}">
                  <a16:creationId xmlns:a16="http://schemas.microsoft.com/office/drawing/2014/main" id="{AF606199-8A73-4C4C-B9D7-DD53934BDA95}"/>
                </a:ext>
              </a:extLst>
            </p:cNvPr>
            <p:cNvSpPr/>
            <p:nvPr/>
          </p:nvSpPr>
          <p:spPr>
            <a:xfrm>
              <a:off x="7477125" y="2740025"/>
              <a:ext cx="765175" cy="923925"/>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sv-SE"/>
            </a:p>
          </p:txBody>
        </p:sp>
      </p:grpSp>
      <p:pic>
        <p:nvPicPr>
          <p:cNvPr id="16" name="Bild 5">
            <a:extLst>
              <a:ext uri="{FF2B5EF4-FFF2-40B4-BE49-F238E27FC236}">
                <a16:creationId xmlns:a16="http://schemas.microsoft.com/office/drawing/2014/main" id="{28E75F0E-4B2E-8B47-9C7C-74605E350BB9}"/>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23317" t="27887" r="62203" b="57610"/>
          <a:stretch/>
        </p:blipFill>
        <p:spPr>
          <a:xfrm>
            <a:off x="6073835" y="-22141"/>
            <a:ext cx="6141611" cy="3460051"/>
          </a:xfrm>
          <a:prstGeom prst="rect">
            <a:avLst/>
          </a:prstGeom>
        </p:spPr>
      </p:pic>
      <p:sp>
        <p:nvSpPr>
          <p:cNvPr id="24" name="Picture Placeholder 23">
            <a:extLst>
              <a:ext uri="{FF2B5EF4-FFF2-40B4-BE49-F238E27FC236}">
                <a16:creationId xmlns:a16="http://schemas.microsoft.com/office/drawing/2014/main" id="{EE6BDD26-0003-9E49-B5AA-0AFE38C202D5}"/>
              </a:ext>
            </a:extLst>
          </p:cNvPr>
          <p:cNvSpPr>
            <a:spLocks noGrp="1"/>
          </p:cNvSpPr>
          <p:nvPr>
            <p:ph type="pic" sz="quarter" idx="13"/>
          </p:nvPr>
        </p:nvSpPr>
        <p:spPr>
          <a:xfrm>
            <a:off x="5" y="3429000"/>
            <a:ext cx="12191997" cy="3429000"/>
          </a:xfrm>
          <a:custGeom>
            <a:avLst/>
            <a:gdLst>
              <a:gd name="connsiteX0" fmla="*/ 0 w 12191997"/>
              <a:gd name="connsiteY0" fmla="*/ 0 h 3429000"/>
              <a:gd name="connsiteX1" fmla="*/ 12191997 w 12191997"/>
              <a:gd name="connsiteY1" fmla="*/ 0 h 3429000"/>
              <a:gd name="connsiteX2" fmla="*/ 12191997 w 12191997"/>
              <a:gd name="connsiteY2" fmla="*/ 3429000 h 3429000"/>
              <a:gd name="connsiteX3" fmla="*/ 0 w 12191997"/>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12191997" h="3429000">
                <a:moveTo>
                  <a:pt x="0" y="0"/>
                </a:moveTo>
                <a:lnTo>
                  <a:pt x="12191997" y="0"/>
                </a:lnTo>
                <a:lnTo>
                  <a:pt x="12191997" y="3429000"/>
                </a:lnTo>
                <a:lnTo>
                  <a:pt x="0" y="3429000"/>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endParaRPr lang="en-GB"/>
          </a:p>
          <a:p>
            <a:r>
              <a:rPr lang="en-GB"/>
              <a:t>Click on the icon to add an image</a:t>
            </a:r>
          </a:p>
        </p:txBody>
      </p:sp>
    </p:spTree>
    <p:extLst>
      <p:ext uri="{BB962C8B-B14F-4D97-AF65-F5344CB8AC3E}">
        <p14:creationId xmlns:p14="http://schemas.microsoft.com/office/powerpoint/2010/main" val="59644953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2 Agenda Two Columns">
    <p:bg>
      <p:bgPr>
        <a:solidFill>
          <a:schemeClr val="bg1"/>
        </a:solidFill>
        <a:effectLst/>
      </p:bgPr>
    </p:bg>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F1C700C8-E7B5-C246-BF0A-50734999BFF2}"/>
              </a:ext>
            </a:extLst>
          </p:cNvPr>
          <p:cNvSpPr>
            <a:spLocks noGrp="1"/>
          </p:cNvSpPr>
          <p:nvPr>
            <p:ph type="pic" sz="quarter" idx="18" hasCustomPrompt="1"/>
          </p:nvPr>
        </p:nvSpPr>
        <p:spPr>
          <a:xfrm>
            <a:off x="8128000" y="0"/>
            <a:ext cx="4062410" cy="6857997"/>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GB"/>
              <a:t>Click on the icon to add an image</a:t>
            </a:r>
          </a:p>
        </p:txBody>
      </p:sp>
      <p:sp>
        <p:nvSpPr>
          <p:cNvPr id="4" name="Platshållare för datum 3">
            <a:extLst>
              <a:ext uri="{FF2B5EF4-FFF2-40B4-BE49-F238E27FC236}">
                <a16:creationId xmlns:a16="http://schemas.microsoft.com/office/drawing/2014/main" id="{02096531-5CDB-42D6-811E-E1A1E7948350}"/>
              </a:ext>
            </a:extLst>
          </p:cNvPr>
          <p:cNvSpPr>
            <a:spLocks noGrp="1"/>
          </p:cNvSpPr>
          <p:nvPr>
            <p:ph type="dt" sz="half" idx="10"/>
          </p:nvPr>
        </p:nvSpPr>
        <p:spPr/>
        <p:txBody>
          <a:bodyPr/>
          <a:lstStyle>
            <a:lvl1pPr>
              <a:defRPr>
                <a:solidFill>
                  <a:schemeClr val="accent1"/>
                </a:solidFill>
              </a:defRPr>
            </a:lvl1pPr>
          </a:lstStyle>
          <a:p>
            <a:fld id="{96CAA0AD-17CA-4E5F-ACA7-0DB3363CD856}" type="datetime1">
              <a:rPr lang="en-US" smtClean="0"/>
              <a:t>11/7/2025</a:t>
            </a:fld>
            <a:endParaRPr lang="en-US"/>
          </a:p>
        </p:txBody>
      </p:sp>
      <p:sp>
        <p:nvSpPr>
          <p:cNvPr id="5" name="Platshållare för sidfot 4">
            <a:extLst>
              <a:ext uri="{FF2B5EF4-FFF2-40B4-BE49-F238E27FC236}">
                <a16:creationId xmlns:a16="http://schemas.microsoft.com/office/drawing/2014/main" id="{3AACF8DC-5D2B-4D34-B9FC-E2D7A1A73362}"/>
              </a:ext>
            </a:extLst>
          </p:cNvPr>
          <p:cNvSpPr>
            <a:spLocks noGrp="1"/>
          </p:cNvSpPr>
          <p:nvPr>
            <p:ph type="ftr" sz="quarter" idx="11"/>
          </p:nvPr>
        </p:nvSpPr>
        <p:spPr/>
        <p:txBody>
          <a:bodyPr/>
          <a:lstStyle>
            <a:lvl1pPr>
              <a:defRPr>
                <a:solidFill>
                  <a:schemeClr val="accent1"/>
                </a:solidFill>
              </a:defRPr>
            </a:lvl1pPr>
          </a:lstStyle>
          <a:p>
            <a:r>
              <a:rPr lang="nb-NO"/>
              <a:t>Skanska Norge Hovedpresentasjon - desember 2022</a:t>
            </a:r>
            <a:endParaRPr lang="en-US"/>
          </a:p>
        </p:txBody>
      </p:sp>
      <p:sp>
        <p:nvSpPr>
          <p:cNvPr id="6" name="Platshållare för bildnummer 5">
            <a:extLst>
              <a:ext uri="{FF2B5EF4-FFF2-40B4-BE49-F238E27FC236}">
                <a16:creationId xmlns:a16="http://schemas.microsoft.com/office/drawing/2014/main" id="{73BFE85F-68D2-4D7C-8529-09EE07FF3B5C}"/>
              </a:ext>
            </a:extLst>
          </p:cNvPr>
          <p:cNvSpPr>
            <a:spLocks noGrp="1"/>
          </p:cNvSpPr>
          <p:nvPr>
            <p:ph type="sldNum" sz="quarter" idx="12"/>
          </p:nvPr>
        </p:nvSpPr>
        <p:spPr/>
        <p:txBody>
          <a:bodyPr/>
          <a:lstStyle>
            <a:lvl1pPr>
              <a:defRPr>
                <a:solidFill>
                  <a:schemeClr val="accent1"/>
                </a:solidFill>
              </a:defRPr>
            </a:lvl1pPr>
          </a:lstStyle>
          <a:p>
            <a:fld id="{EF8DBD5B-30F9-4F9C-AE39-E065C1AC514D}" type="slidenum">
              <a:rPr lang="en-US" smtClean="0"/>
              <a:pPr/>
              <a:t>‹#›</a:t>
            </a:fld>
            <a:endParaRPr lang="en-US"/>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7253550" cy="377279"/>
          </a:xfrm>
          <a:prstGeom prst="rect">
            <a:avLst/>
          </a:prstGeom>
        </p:spPr>
        <p:txBody>
          <a:bodyPr anchor="t">
            <a:noAutofit/>
          </a:bodyPr>
          <a:lstStyle>
            <a:lvl1pPr marL="0" indent="0">
              <a:lnSpc>
                <a:spcPct val="85000"/>
              </a:lnSpc>
              <a:spcBef>
                <a:spcPts val="0"/>
              </a:spcBef>
              <a:buNone/>
              <a:defRPr sz="2600" spc="40" baseline="0">
                <a:solidFill>
                  <a:schemeClr val="tx2"/>
                </a:solidFill>
              </a:defRPr>
            </a:lvl1pPr>
          </a:lstStyle>
          <a:p>
            <a:pPr lvl="0"/>
            <a:r>
              <a:rPr lang="en-GB"/>
              <a:t>Click for a short headline </a:t>
            </a:r>
          </a:p>
        </p:txBody>
      </p:sp>
      <p:sp>
        <p:nvSpPr>
          <p:cNvPr id="9" name="Text Placeholder 8">
            <a:extLst>
              <a:ext uri="{FF2B5EF4-FFF2-40B4-BE49-F238E27FC236}">
                <a16:creationId xmlns:a16="http://schemas.microsoft.com/office/drawing/2014/main" id="{A02FE398-BCDE-144D-BB12-B6AB8C96E842}"/>
              </a:ext>
            </a:extLst>
          </p:cNvPr>
          <p:cNvSpPr>
            <a:spLocks noGrp="1"/>
          </p:cNvSpPr>
          <p:nvPr>
            <p:ph type="body" sz="quarter" idx="15" hasCustomPrompt="1"/>
          </p:nvPr>
        </p:nvSpPr>
        <p:spPr>
          <a:xfrm>
            <a:off x="576262" y="1746000"/>
            <a:ext cx="7253287" cy="4391999"/>
          </a:xfrm>
        </p:spPr>
        <p:txBody>
          <a:bodyPr numCol="2" spcCol="288000"/>
          <a:lstStyle>
            <a:lvl1pPr marL="342000" indent="-342000">
              <a:lnSpc>
                <a:spcPct val="100000"/>
              </a:lnSpc>
              <a:spcBef>
                <a:spcPts val="0"/>
              </a:spcBef>
              <a:spcAft>
                <a:spcPts val="1000"/>
              </a:spcAft>
              <a:buFont typeface="+mj-lt"/>
              <a:buAutoNum type="arabicPeriod"/>
              <a:defRPr sz="1800" spc="40" baseline="0">
                <a:solidFill>
                  <a:schemeClr val="tx2"/>
                </a:solidFill>
              </a:defRPr>
            </a:lvl1pPr>
            <a:lvl2pPr marL="342000" indent="-342000">
              <a:lnSpc>
                <a:spcPct val="100000"/>
              </a:lnSpc>
              <a:spcAft>
                <a:spcPts val="1000"/>
              </a:spcAft>
              <a:tabLst/>
              <a:defRPr sz="1800" spc="40" baseline="0">
                <a:solidFill>
                  <a:schemeClr val="tx1"/>
                </a:solidFill>
              </a:defRPr>
            </a:lvl2pPr>
            <a:lvl3pPr>
              <a:lnSpc>
                <a:spcPct val="100000"/>
              </a:lnSpc>
              <a:defRPr sz="1400" spc="40" baseline="0">
                <a:solidFill>
                  <a:schemeClr val="tx1"/>
                </a:solidFill>
              </a:defRPr>
            </a:lvl3pPr>
            <a:lvl4pPr>
              <a:lnSpc>
                <a:spcPct val="100000"/>
              </a:lnSpc>
              <a:defRPr sz="1200" spc="40" baseline="0">
                <a:solidFill>
                  <a:schemeClr val="tx1"/>
                </a:solidFill>
              </a:defRPr>
            </a:lvl4pPr>
            <a:lvl5pPr>
              <a:lnSpc>
                <a:spcPct val="100000"/>
              </a:lnSpc>
              <a:defRPr sz="1100" spc="40" baseline="0">
                <a:solidFill>
                  <a:schemeClr val="tx1"/>
                </a:solidFill>
              </a:defRPr>
            </a:lvl5pPr>
          </a:lstStyle>
          <a:p>
            <a:pPr lvl="0"/>
            <a:r>
              <a:rPr lang="en-GB"/>
              <a:t>Click for agenda</a:t>
            </a:r>
          </a:p>
        </p:txBody>
      </p:sp>
      <p:grpSp>
        <p:nvGrpSpPr>
          <p:cNvPr id="22" name="Grupp 32">
            <a:extLst>
              <a:ext uri="{FF2B5EF4-FFF2-40B4-BE49-F238E27FC236}">
                <a16:creationId xmlns:a16="http://schemas.microsoft.com/office/drawing/2014/main" id="{C530D02F-41BB-2342-8817-E7BBC1EE526F}"/>
              </a:ext>
            </a:extLst>
          </p:cNvPr>
          <p:cNvGrpSpPr/>
          <p:nvPr userDrawn="1"/>
        </p:nvGrpSpPr>
        <p:grpSpPr>
          <a:xfrm>
            <a:off x="576140" y="6451484"/>
            <a:ext cx="615478" cy="91194"/>
            <a:chOff x="576140" y="6451484"/>
            <a:chExt cx="615478" cy="91194"/>
          </a:xfrm>
          <a:solidFill>
            <a:schemeClr val="tx2"/>
          </a:solidFill>
        </p:grpSpPr>
        <p:sp>
          <p:nvSpPr>
            <p:cNvPr id="23" name="Bild 2">
              <a:extLst>
                <a:ext uri="{FF2B5EF4-FFF2-40B4-BE49-F238E27FC236}">
                  <a16:creationId xmlns:a16="http://schemas.microsoft.com/office/drawing/2014/main" id="{85A084C9-2542-8848-9DB5-5D86D692D297}"/>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sv-SE">
                <a:solidFill>
                  <a:schemeClr val="tx2"/>
                </a:solidFill>
              </a:endParaRPr>
            </a:p>
          </p:txBody>
        </p:sp>
        <p:sp>
          <p:nvSpPr>
            <p:cNvPr id="24" name="Bild 2">
              <a:extLst>
                <a:ext uri="{FF2B5EF4-FFF2-40B4-BE49-F238E27FC236}">
                  <a16:creationId xmlns:a16="http://schemas.microsoft.com/office/drawing/2014/main" id="{2BA0AFD0-9020-B146-9C91-DE2B2751DBBC}"/>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sv-SE">
                <a:solidFill>
                  <a:schemeClr val="tx2"/>
                </a:solidFill>
              </a:endParaRPr>
            </a:p>
          </p:txBody>
        </p:sp>
        <p:sp>
          <p:nvSpPr>
            <p:cNvPr id="25" name="Bild 2">
              <a:extLst>
                <a:ext uri="{FF2B5EF4-FFF2-40B4-BE49-F238E27FC236}">
                  <a16:creationId xmlns:a16="http://schemas.microsoft.com/office/drawing/2014/main" id="{F99A1589-2BCF-A445-9FED-09E2BBBF016D}"/>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sv-SE">
                <a:solidFill>
                  <a:schemeClr val="tx2"/>
                </a:solidFill>
              </a:endParaRPr>
            </a:p>
          </p:txBody>
        </p:sp>
        <p:sp>
          <p:nvSpPr>
            <p:cNvPr id="26" name="Bild 2">
              <a:extLst>
                <a:ext uri="{FF2B5EF4-FFF2-40B4-BE49-F238E27FC236}">
                  <a16:creationId xmlns:a16="http://schemas.microsoft.com/office/drawing/2014/main" id="{756FE558-AE20-A14D-A4E5-DE74496F9A25}"/>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sv-SE">
                <a:solidFill>
                  <a:schemeClr val="tx2"/>
                </a:solidFill>
              </a:endParaRPr>
            </a:p>
          </p:txBody>
        </p:sp>
        <p:sp>
          <p:nvSpPr>
            <p:cNvPr id="27" name="Bild 2">
              <a:extLst>
                <a:ext uri="{FF2B5EF4-FFF2-40B4-BE49-F238E27FC236}">
                  <a16:creationId xmlns:a16="http://schemas.microsoft.com/office/drawing/2014/main" id="{EF190895-7218-EF44-85C0-DEA8162E54FE}"/>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sv-SE">
                <a:solidFill>
                  <a:schemeClr val="tx2"/>
                </a:solidFill>
              </a:endParaRPr>
            </a:p>
          </p:txBody>
        </p:sp>
        <p:sp>
          <p:nvSpPr>
            <p:cNvPr id="28" name="Bild 2">
              <a:extLst>
                <a:ext uri="{FF2B5EF4-FFF2-40B4-BE49-F238E27FC236}">
                  <a16:creationId xmlns:a16="http://schemas.microsoft.com/office/drawing/2014/main" id="{75B0F7AD-B7A4-AD46-94AB-05D26F86F5B5}"/>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sv-SE">
                <a:solidFill>
                  <a:schemeClr val="tx2"/>
                </a:solidFill>
              </a:endParaRPr>
            </a:p>
          </p:txBody>
        </p:sp>
        <p:sp>
          <p:nvSpPr>
            <p:cNvPr id="29" name="Bild 2">
              <a:extLst>
                <a:ext uri="{FF2B5EF4-FFF2-40B4-BE49-F238E27FC236}">
                  <a16:creationId xmlns:a16="http://schemas.microsoft.com/office/drawing/2014/main" id="{24162085-50AF-7D4F-B851-EB1B84146BC8}"/>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sv-SE">
                <a:solidFill>
                  <a:schemeClr val="tx2"/>
                </a:solidFill>
              </a:endParaRPr>
            </a:p>
          </p:txBody>
        </p:sp>
      </p:grpSp>
    </p:spTree>
    <p:extLst>
      <p:ext uri="{BB962C8B-B14F-4D97-AF65-F5344CB8AC3E}">
        <p14:creationId xmlns:p14="http://schemas.microsoft.com/office/powerpoint/2010/main" val="174311337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9 End/Thank You Blue">
    <p:bg>
      <p:bgPr>
        <a:solidFill>
          <a:schemeClr val="accent1"/>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544DF57-7764-0643-BBD9-8E9A5BB6A5C0}"/>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accent1"/>
                </a:solidFill>
              </a:defRPr>
            </a:lvl1pPr>
          </a:lstStyle>
          <a:p>
            <a:r>
              <a:rPr lang="en-GB"/>
              <a:t>Click on the icon to add an image</a:t>
            </a:r>
          </a:p>
        </p:txBody>
      </p:sp>
      <p:sp>
        <p:nvSpPr>
          <p:cNvPr id="2" name="Date Placeholder 1">
            <a:extLst>
              <a:ext uri="{FF2B5EF4-FFF2-40B4-BE49-F238E27FC236}">
                <a16:creationId xmlns:a16="http://schemas.microsoft.com/office/drawing/2014/main" id="{CB933F6B-2C2A-DB4E-8D3A-6DB67A584F23}"/>
              </a:ext>
            </a:extLst>
          </p:cNvPr>
          <p:cNvSpPr>
            <a:spLocks noGrp="1"/>
          </p:cNvSpPr>
          <p:nvPr>
            <p:ph type="dt" sz="half" idx="16"/>
          </p:nvPr>
        </p:nvSpPr>
        <p:spPr/>
        <p:txBody>
          <a:bodyPr/>
          <a:lstStyle>
            <a:lvl1pPr>
              <a:defRPr>
                <a:solidFill>
                  <a:schemeClr val="accent1"/>
                </a:solidFill>
              </a:defRPr>
            </a:lvl1pPr>
          </a:lstStyle>
          <a:p>
            <a:fld id="{CFEB08BC-D8FC-4408-A443-8631EE91C7E2}" type="datetime1">
              <a:rPr lang="en-US" smtClean="0"/>
              <a:t>11/7/2025</a:t>
            </a:fld>
            <a:endParaRPr lang="en-US"/>
          </a:p>
        </p:txBody>
      </p:sp>
      <p:sp>
        <p:nvSpPr>
          <p:cNvPr id="3" name="Footer Placeholder 2">
            <a:extLst>
              <a:ext uri="{FF2B5EF4-FFF2-40B4-BE49-F238E27FC236}">
                <a16:creationId xmlns:a16="http://schemas.microsoft.com/office/drawing/2014/main" id="{37019CC5-F0EC-7B4E-BC0C-2CF63CBD7D83}"/>
              </a:ext>
            </a:extLst>
          </p:cNvPr>
          <p:cNvSpPr>
            <a:spLocks noGrp="1"/>
          </p:cNvSpPr>
          <p:nvPr>
            <p:ph type="ftr" sz="quarter" idx="17"/>
          </p:nvPr>
        </p:nvSpPr>
        <p:spPr/>
        <p:txBody>
          <a:bodyPr/>
          <a:lstStyle>
            <a:lvl1pPr>
              <a:defRPr>
                <a:solidFill>
                  <a:schemeClr val="accent1"/>
                </a:solidFill>
              </a:defRPr>
            </a:lvl1pPr>
          </a:lstStyle>
          <a:p>
            <a:r>
              <a:rPr lang="nb-NO"/>
              <a:t>Skanska Norge Hovedpresentasjon - desember 2022</a:t>
            </a:r>
            <a:endParaRPr lang="en-US"/>
          </a:p>
        </p:txBody>
      </p:sp>
      <p:sp>
        <p:nvSpPr>
          <p:cNvPr id="7" name="Slide Number Placeholder 6">
            <a:extLst>
              <a:ext uri="{FF2B5EF4-FFF2-40B4-BE49-F238E27FC236}">
                <a16:creationId xmlns:a16="http://schemas.microsoft.com/office/drawing/2014/main" id="{20B4E507-DB8C-E945-8AB4-907DBCF5BA13}"/>
              </a:ext>
            </a:extLst>
          </p:cNvPr>
          <p:cNvSpPr>
            <a:spLocks noGrp="1"/>
          </p:cNvSpPr>
          <p:nvPr>
            <p:ph type="sldNum" sz="quarter" idx="18"/>
          </p:nvPr>
        </p:nvSpPr>
        <p:spPr/>
        <p:txBody>
          <a:bodyPr/>
          <a:lstStyle>
            <a:lvl1pPr>
              <a:defRPr>
                <a:solidFill>
                  <a:schemeClr val="accent1"/>
                </a:solidFill>
              </a:defRPr>
            </a:lvl1pPr>
          </a:lstStyle>
          <a:p>
            <a:fld id="{EF8DBD5B-30F9-4F9C-AE39-E065C1AC514D}" type="slidenum">
              <a:rPr lang="en-US" smtClean="0"/>
              <a:pPr/>
              <a:t>‹#›</a:t>
            </a:fld>
            <a:endParaRPr lang="en-US"/>
          </a:p>
        </p:txBody>
      </p:sp>
      <p:sp>
        <p:nvSpPr>
          <p:cNvPr id="25" name="Text Placeholder 7">
            <a:extLst>
              <a:ext uri="{FF2B5EF4-FFF2-40B4-BE49-F238E27FC236}">
                <a16:creationId xmlns:a16="http://schemas.microsoft.com/office/drawing/2014/main" id="{67488718-642D-1C4A-B768-5243ECAAFF54}"/>
              </a:ext>
            </a:extLst>
          </p:cNvPr>
          <p:cNvSpPr>
            <a:spLocks noGrp="1"/>
          </p:cNvSpPr>
          <p:nvPr>
            <p:ph type="body" sz="quarter" idx="38" hasCustomPrompt="1"/>
          </p:nvPr>
        </p:nvSpPr>
        <p:spPr>
          <a:xfrm>
            <a:off x="583093" y="720724"/>
            <a:ext cx="5370031" cy="2600325"/>
          </a:xfrm>
        </p:spPr>
        <p:txBody>
          <a:bodyPr/>
          <a:lstStyle>
            <a:lvl1pPr marL="0" indent="0" algn="l">
              <a:lnSpc>
                <a:spcPct val="100000"/>
              </a:lnSpc>
              <a:spcBef>
                <a:spcPts val="0"/>
              </a:spcBef>
              <a:spcAft>
                <a:spcPts val="850"/>
              </a:spcAft>
              <a:buNone/>
              <a:defRPr sz="3600" b="1" spc="40" baseline="0">
                <a:solidFill>
                  <a:schemeClr val="accent1"/>
                </a:solidFill>
              </a:defRPr>
            </a:lvl1pPr>
            <a:lvl2pPr marL="0" indent="0" algn="l">
              <a:lnSpc>
                <a:spcPct val="100000"/>
              </a:lnSpc>
              <a:spcBef>
                <a:spcPts val="0"/>
              </a:spcBef>
              <a:spcAft>
                <a:spcPts val="600"/>
              </a:spcAft>
              <a:buNone/>
              <a:defRPr sz="14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GB"/>
              <a:t>Click to add text</a:t>
            </a:r>
          </a:p>
          <a:p>
            <a:pPr lvl="1"/>
            <a:r>
              <a:rPr lang="en-GB"/>
              <a:t>Second level</a:t>
            </a:r>
          </a:p>
        </p:txBody>
      </p:sp>
      <p:sp>
        <p:nvSpPr>
          <p:cNvPr id="8" name="textruta 5">
            <a:extLst>
              <a:ext uri="{FF2B5EF4-FFF2-40B4-BE49-F238E27FC236}">
                <a16:creationId xmlns:a16="http://schemas.microsoft.com/office/drawing/2014/main" id="{9CA758BD-5C55-6540-BFC0-18BA5E290BA3}"/>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GB" sz="900" baseline="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GB" sz="900" b="1" baseline="0">
                <a:solidFill>
                  <a:schemeClr val="tx1">
                    <a:lumMod val="65000"/>
                    <a:lumOff val="35000"/>
                  </a:schemeClr>
                </a:solidFill>
                <a:latin typeface="Arial" panose="020B0604020202020204" pitchFamily="34" charset="0"/>
                <a:cs typeface="Arial" panose="020B0604020202020204" pitchFamily="34" charset="0"/>
              </a:rPr>
              <a:t>right click the image </a:t>
            </a:r>
            <a:r>
              <a:rPr lang="en-GB" sz="900" baseline="0">
                <a:solidFill>
                  <a:schemeClr val="tx1">
                    <a:lumMod val="65000"/>
                    <a:lumOff val="35000"/>
                  </a:schemeClr>
                </a:solidFill>
                <a:latin typeface="Arial" panose="020B0604020202020204" pitchFamily="34" charset="0"/>
                <a:cs typeface="Arial" panose="020B0604020202020204" pitchFamily="34" charset="0"/>
              </a:rPr>
              <a:t>and use – </a:t>
            </a:r>
            <a:r>
              <a:rPr lang="en-GB" sz="900" b="1">
                <a:solidFill>
                  <a:schemeClr val="tx1">
                    <a:lumMod val="65000"/>
                    <a:lumOff val="35000"/>
                  </a:schemeClr>
                </a:solidFill>
                <a:latin typeface="Arial" panose="020B0604020202020204" pitchFamily="34" charset="0"/>
                <a:cs typeface="Arial" panose="020B0604020202020204" pitchFamily="34" charset="0"/>
              </a:rPr>
              <a:t>S</a:t>
            </a:r>
            <a:r>
              <a:rPr lang="en-GB" sz="900" b="1" baseline="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D6D03EBC-FF28-B246-9262-70768DB96EB3}"/>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GB" sz="900" baseline="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GB" sz="900" b="1" baseline="0">
                <a:solidFill>
                  <a:schemeClr val="tx1">
                    <a:lumMod val="65000"/>
                    <a:lumOff val="35000"/>
                  </a:schemeClr>
                </a:solidFill>
                <a:latin typeface="Arial" panose="020B0604020202020204" pitchFamily="34" charset="0"/>
                <a:cs typeface="Arial" panose="020B0604020202020204" pitchFamily="34" charset="0"/>
              </a:rPr>
              <a:t>Format Background </a:t>
            </a:r>
            <a:r>
              <a:rPr lang="en-GB" sz="900" baseline="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GB" sz="900" b="1" baseline="0">
                <a:solidFill>
                  <a:schemeClr val="tx1">
                    <a:lumMod val="65000"/>
                    <a:lumOff val="35000"/>
                  </a:schemeClr>
                </a:solidFill>
                <a:latin typeface="Arial" panose="020B0604020202020204" pitchFamily="34" charset="0"/>
                <a:cs typeface="Arial" panose="020B0604020202020204" pitchFamily="34" charset="0"/>
              </a:rPr>
              <a:t>Solid fill</a:t>
            </a:r>
            <a:r>
              <a:rPr lang="en-GB" sz="900" baseline="0">
                <a:solidFill>
                  <a:schemeClr val="tx1">
                    <a:lumMod val="65000"/>
                    <a:lumOff val="35000"/>
                  </a:schemeClr>
                </a:solidFill>
                <a:latin typeface="Arial" panose="020B0604020202020204" pitchFamily="34" charset="0"/>
                <a:cs typeface="Arial" panose="020B0604020202020204" pitchFamily="34" charset="0"/>
              </a:rPr>
              <a:t> – </a:t>
            </a:r>
            <a:r>
              <a:rPr lang="en-GB" sz="900" b="1" baseline="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GB" sz="900" baseline="0">
              <a:solidFill>
                <a:schemeClr val="tx1">
                  <a:lumMod val="65000"/>
                  <a:lumOff val="35000"/>
                </a:schemeClr>
              </a:solidFill>
              <a:latin typeface="Arial" panose="020B0604020202020204" pitchFamily="34" charset="0"/>
              <a:cs typeface="Arial" panose="020B0604020202020204" pitchFamily="34" charset="0"/>
            </a:endParaRPr>
          </a:p>
          <a:p>
            <a:pPr algn="ctr"/>
            <a:endParaRPr lang="en-GB" sz="900" baseline="0">
              <a:solidFill>
                <a:schemeClr val="tx1">
                  <a:lumMod val="65000"/>
                  <a:lumOff val="35000"/>
                </a:schemeClr>
              </a:solidFill>
              <a:latin typeface="Arial" panose="020B0604020202020204" pitchFamily="34" charset="0"/>
              <a:cs typeface="Arial" panose="020B0604020202020204" pitchFamily="34" charset="0"/>
            </a:endParaRPr>
          </a:p>
          <a:p>
            <a:pPr algn="ctr"/>
            <a:endParaRPr lang="en-GB" sz="900" baseline="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4C4F2B59-2BF8-804B-B8CA-05F71E9FA5C2}"/>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ktangel 10">
            <a:extLst>
              <a:ext uri="{FF2B5EF4-FFF2-40B4-BE49-F238E27FC236}">
                <a16:creationId xmlns:a16="http://schemas.microsoft.com/office/drawing/2014/main" id="{483A10B1-05B8-D24F-9FD4-3E109436BAAF}"/>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ruta 11">
            <a:extLst>
              <a:ext uri="{FF2B5EF4-FFF2-40B4-BE49-F238E27FC236}">
                <a16:creationId xmlns:a16="http://schemas.microsoft.com/office/drawing/2014/main" id="{567CC080-E0B4-6645-B343-8E58FF0C1643}"/>
              </a:ext>
            </a:extLst>
          </p:cNvPr>
          <p:cNvSpPr txBox="1"/>
          <p:nvPr userDrawn="1"/>
        </p:nvSpPr>
        <p:spPr>
          <a:xfrm>
            <a:off x="12395260" y="4154400"/>
            <a:ext cx="1681523" cy="1754326"/>
          </a:xfrm>
          <a:prstGeom prst="rect">
            <a:avLst/>
          </a:prstGeom>
          <a:solidFill>
            <a:schemeClr val="bg1"/>
          </a:solidFill>
          <a:effectLst/>
        </p:spPr>
        <p:txBody>
          <a:bodyPr wrap="square" rtlCol="0" anchor="ctr" anchorCtr="0">
            <a:spAutoFit/>
          </a:bodyPr>
          <a:lstStyle/>
          <a:p>
            <a:pPr algn="ctr"/>
            <a:r>
              <a:rPr lang="en-GB" sz="900" baseline="0">
                <a:solidFill>
                  <a:schemeClr val="tx1">
                    <a:lumMod val="65000"/>
                    <a:lumOff val="35000"/>
                  </a:schemeClr>
                </a:solidFill>
                <a:latin typeface="+mn-lt"/>
                <a:cs typeface="Arial" panose="020B0604020202020204" pitchFamily="34" charset="0"/>
              </a:rPr>
              <a:t>To change from </a:t>
            </a:r>
            <a:r>
              <a:rPr lang="en-GB" sz="900" b="1" baseline="0">
                <a:solidFill>
                  <a:schemeClr val="tx1">
                    <a:lumMod val="65000"/>
                    <a:lumOff val="35000"/>
                  </a:schemeClr>
                </a:solidFill>
                <a:latin typeface="+mn-lt"/>
                <a:cs typeface="Arial" panose="020B0604020202020204" pitchFamily="34" charset="0"/>
              </a:rPr>
              <a:t>headline</a:t>
            </a:r>
            <a:r>
              <a:rPr lang="en-GB" sz="900" baseline="0">
                <a:solidFill>
                  <a:schemeClr val="tx1">
                    <a:lumMod val="65000"/>
                    <a:lumOff val="35000"/>
                  </a:schemeClr>
                </a:solidFill>
                <a:latin typeface="+mn-lt"/>
                <a:cs typeface="Arial" panose="020B0604020202020204" pitchFamily="34" charset="0"/>
              </a:rPr>
              <a:t> to </a:t>
            </a:r>
            <a:r>
              <a:rPr lang="en-GB" sz="900" b="1" baseline="0">
                <a:solidFill>
                  <a:schemeClr val="tx1">
                    <a:lumMod val="65000"/>
                    <a:lumOff val="35000"/>
                  </a:schemeClr>
                </a:solidFill>
                <a:latin typeface="+mn-lt"/>
                <a:cs typeface="Arial" panose="020B0604020202020204" pitchFamily="34" charset="0"/>
              </a:rPr>
              <a:t>body text </a:t>
            </a:r>
            <a:r>
              <a:rPr lang="en-GB" sz="900" baseline="0">
                <a:solidFill>
                  <a:schemeClr val="tx1">
                    <a:lumMod val="65000"/>
                    <a:lumOff val="35000"/>
                  </a:schemeClr>
                </a:solidFill>
                <a:latin typeface="+mn-lt"/>
                <a:cs typeface="Arial" panose="020B0604020202020204" pitchFamily="34" charset="0"/>
              </a:rPr>
              <a:t>or to </a:t>
            </a:r>
            <a:r>
              <a:rPr lang="en-GB" sz="900" b="1" baseline="0">
                <a:solidFill>
                  <a:schemeClr val="tx1">
                    <a:lumMod val="65000"/>
                    <a:lumOff val="35000"/>
                  </a:schemeClr>
                </a:solidFill>
                <a:latin typeface="+mn-lt"/>
                <a:cs typeface="Arial" panose="020B0604020202020204" pitchFamily="34" charset="0"/>
              </a:rPr>
              <a:t>use bullets</a:t>
            </a:r>
            <a:r>
              <a:rPr lang="en-GB" sz="900" baseline="0">
                <a:solidFill>
                  <a:schemeClr val="tx1">
                    <a:lumMod val="65000"/>
                    <a:lumOff val="35000"/>
                  </a:schemeClr>
                </a:solidFill>
                <a:latin typeface="+mn-lt"/>
                <a:cs typeface="Arial" panose="020B0604020202020204" pitchFamily="34" charset="0"/>
              </a:rPr>
              <a:t>, press </a:t>
            </a:r>
            <a:r>
              <a:rPr lang="en-GB" sz="900" b="1" baseline="0">
                <a:solidFill>
                  <a:schemeClr val="tx1">
                    <a:lumMod val="65000"/>
                    <a:lumOff val="35000"/>
                  </a:schemeClr>
                </a:solidFill>
                <a:latin typeface="+mn-lt"/>
                <a:cs typeface="Arial" panose="020B0604020202020204" pitchFamily="34" charset="0"/>
              </a:rPr>
              <a:t>enter/return </a:t>
            </a:r>
            <a:r>
              <a:rPr lang="en-GB" sz="900" baseline="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GB" sz="900" baseline="0">
              <a:solidFill>
                <a:schemeClr val="tx1">
                  <a:lumMod val="65000"/>
                  <a:lumOff val="35000"/>
                </a:schemeClr>
              </a:solidFill>
              <a:latin typeface="+mn-lt"/>
              <a:cs typeface="Arial" panose="020B0604020202020204" pitchFamily="34" charset="0"/>
            </a:endParaRPr>
          </a:p>
          <a:p>
            <a:pPr algn="ctr"/>
            <a:endParaRPr lang="en-GB" sz="900" baseline="0">
              <a:solidFill>
                <a:schemeClr val="tx1">
                  <a:lumMod val="65000"/>
                  <a:lumOff val="35000"/>
                </a:schemeClr>
              </a:solidFill>
              <a:latin typeface="+mn-lt"/>
              <a:cs typeface="Arial" panose="020B0604020202020204" pitchFamily="34" charset="0"/>
            </a:endParaRPr>
          </a:p>
          <a:p>
            <a:pPr algn="ctr"/>
            <a:endParaRPr lang="en-GB" sz="900" baseline="0">
              <a:solidFill>
                <a:schemeClr val="tx1">
                  <a:lumMod val="65000"/>
                  <a:lumOff val="35000"/>
                </a:schemeClr>
              </a:solidFill>
              <a:latin typeface="+mn-lt"/>
              <a:cs typeface="Arial" panose="020B0604020202020204" pitchFamily="34" charset="0"/>
            </a:endParaRPr>
          </a:p>
          <a:p>
            <a:pPr algn="ctr"/>
            <a:endParaRPr lang="en-GB" sz="900" baseline="0">
              <a:solidFill>
                <a:schemeClr val="tx1">
                  <a:lumMod val="65000"/>
                  <a:lumOff val="35000"/>
                </a:schemeClr>
              </a:solidFill>
              <a:latin typeface="+mn-lt"/>
              <a:cs typeface="Arial" panose="020B0604020202020204" pitchFamily="34" charset="0"/>
            </a:endParaRPr>
          </a:p>
          <a:p>
            <a:pPr algn="ctr"/>
            <a:endParaRPr lang="en-GB" sz="900" baseline="0">
              <a:solidFill>
                <a:schemeClr val="tx1">
                  <a:lumMod val="65000"/>
                  <a:lumOff val="35000"/>
                </a:schemeClr>
              </a:solidFill>
              <a:latin typeface="+mn-lt"/>
              <a:cs typeface="Arial" panose="020B0604020202020204" pitchFamily="34" charset="0"/>
            </a:endParaRPr>
          </a:p>
          <a:p>
            <a:pPr algn="ctr"/>
            <a:endParaRPr lang="en-GB" sz="900" baseline="0">
              <a:solidFill>
                <a:schemeClr val="tx1">
                  <a:lumMod val="65000"/>
                  <a:lumOff val="35000"/>
                </a:schemeClr>
              </a:solidFill>
              <a:latin typeface="+mn-lt"/>
              <a:cs typeface="Arial" panose="020B0604020202020204" pitchFamily="34" charset="0"/>
            </a:endParaRPr>
          </a:p>
          <a:p>
            <a:pPr algn="ctr"/>
            <a:endParaRPr lang="en-GB" sz="900" baseline="0">
              <a:solidFill>
                <a:schemeClr val="tx1">
                  <a:lumMod val="65000"/>
                  <a:lumOff val="35000"/>
                </a:schemeClr>
              </a:solidFill>
              <a:latin typeface="+mn-lt"/>
              <a:cs typeface="Arial" panose="020B0604020202020204" pitchFamily="34" charset="0"/>
            </a:endParaRPr>
          </a:p>
        </p:txBody>
      </p:sp>
      <p:pic>
        <p:nvPicPr>
          <p:cNvPr id="13" name="Picture 9">
            <a:extLst>
              <a:ext uri="{FF2B5EF4-FFF2-40B4-BE49-F238E27FC236}">
                <a16:creationId xmlns:a16="http://schemas.microsoft.com/office/drawing/2014/main" id="{359C9406-E00B-424F-B110-6C1F4D84288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14" name="Oval 4">
            <a:extLst>
              <a:ext uri="{FF2B5EF4-FFF2-40B4-BE49-F238E27FC236}">
                <a16:creationId xmlns:a16="http://schemas.microsoft.com/office/drawing/2014/main" id="{5C256491-67DF-A248-A90E-627FCDF80B83}"/>
              </a:ext>
            </a:extLst>
          </p:cNvPr>
          <p:cNvSpPr/>
          <p:nvPr userDrawn="1"/>
        </p:nvSpPr>
        <p:spPr>
          <a:xfrm>
            <a:off x="13194299" y="52819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n-lt"/>
            </a:endParaRPr>
          </a:p>
        </p:txBody>
      </p:sp>
      <p:cxnSp>
        <p:nvCxnSpPr>
          <p:cNvPr id="16" name="Connector: Elbow 131">
            <a:extLst>
              <a:ext uri="{FF2B5EF4-FFF2-40B4-BE49-F238E27FC236}">
                <a16:creationId xmlns:a16="http://schemas.microsoft.com/office/drawing/2014/main" id="{5D4FBB2B-EA79-FE42-A088-3353E1F76FB1}"/>
              </a:ext>
            </a:extLst>
          </p:cNvPr>
          <p:cNvCxnSpPr>
            <a:cxnSpLocks/>
            <a:endCxn id="14" idx="0"/>
          </p:cNvCxnSpPr>
          <p:nvPr userDrawn="1"/>
        </p:nvCxnSpPr>
        <p:spPr>
          <a:xfrm rot="5400000">
            <a:off x="13324711" y="50100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411212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_1 Generic Image Start">
    <p:bg>
      <p:bgPr>
        <a:solidFill>
          <a:schemeClr val="bg1"/>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F25FCAC-9D7B-3242-B85D-0E4AD5A08447}"/>
              </a:ext>
            </a:extLst>
          </p:cNvPr>
          <p:cNvSpPr>
            <a:spLocks noGrp="1"/>
          </p:cNvSpPr>
          <p:nvPr>
            <p:ph type="pic" sz="quarter" idx="13" hasCustomPrompt="1"/>
          </p:nvPr>
        </p:nvSpPr>
        <p:spPr>
          <a:xfrm>
            <a:off x="2" y="2"/>
            <a:ext cx="12191999" cy="6857999"/>
          </a:xfrm>
          <a:custGeom>
            <a:avLst/>
            <a:gdLst>
              <a:gd name="connsiteX0" fmla="*/ 4964326 w 12191999"/>
              <a:gd name="connsiteY0" fmla="*/ 3115140 h 6857999"/>
              <a:gd name="connsiteX1" fmla="*/ 5103655 w 12191999"/>
              <a:gd name="connsiteY1" fmla="*/ 3528679 h 6857999"/>
              <a:gd name="connsiteX2" fmla="*/ 4829444 w 12191999"/>
              <a:gd name="connsiteY2" fmla="*/ 3528679 h 6857999"/>
              <a:gd name="connsiteX3" fmla="*/ 9196063 w 12191999"/>
              <a:gd name="connsiteY3" fmla="*/ 3115140 h 6857999"/>
              <a:gd name="connsiteX4" fmla="*/ 9335392 w 12191999"/>
              <a:gd name="connsiteY4" fmla="*/ 3528679 h 6857999"/>
              <a:gd name="connsiteX5" fmla="*/ 9061181 w 12191999"/>
              <a:gd name="connsiteY5" fmla="*/ 3528679 h 6857999"/>
              <a:gd name="connsiteX6" fmla="*/ 5595751 w 12191999"/>
              <a:gd name="connsiteY6" fmla="*/ 2890584 h 6857999"/>
              <a:gd name="connsiteX7" fmla="*/ 5595751 w 12191999"/>
              <a:gd name="connsiteY7" fmla="*/ 3968157 h 6857999"/>
              <a:gd name="connsiteX8" fmla="*/ 5845505 w 12191999"/>
              <a:gd name="connsiteY8" fmla="*/ 3968157 h 6857999"/>
              <a:gd name="connsiteX9" fmla="*/ 5845505 w 12191999"/>
              <a:gd name="connsiteY9" fmla="*/ 3303382 h 6857999"/>
              <a:gd name="connsiteX10" fmla="*/ 6274608 w 12191999"/>
              <a:gd name="connsiteY10" fmla="*/ 3965934 h 6857999"/>
              <a:gd name="connsiteX11" fmla="*/ 6274608 w 12191999"/>
              <a:gd name="connsiteY11" fmla="*/ 3968157 h 6857999"/>
              <a:gd name="connsiteX12" fmla="*/ 6533255 w 12191999"/>
              <a:gd name="connsiteY12" fmla="*/ 3968157 h 6857999"/>
              <a:gd name="connsiteX13" fmla="*/ 6532514 w 12191999"/>
              <a:gd name="connsiteY13" fmla="*/ 3735449 h 6857999"/>
              <a:gd name="connsiteX14" fmla="*/ 6531032 w 12191999"/>
              <a:gd name="connsiteY14" fmla="*/ 2890584 h 6857999"/>
              <a:gd name="connsiteX15" fmla="*/ 6282760 w 12191999"/>
              <a:gd name="connsiteY15" fmla="*/ 2890584 h 6857999"/>
              <a:gd name="connsiteX16" fmla="*/ 6282760 w 12191999"/>
              <a:gd name="connsiteY16" fmla="*/ 3567958 h 6857999"/>
              <a:gd name="connsiteX17" fmla="*/ 5849952 w 12191999"/>
              <a:gd name="connsiteY17" fmla="*/ 2890584 h 6857999"/>
              <a:gd name="connsiteX18" fmla="*/ 4802022 w 12191999"/>
              <a:gd name="connsiteY18" fmla="*/ 2890584 h 6857999"/>
              <a:gd name="connsiteX19" fmla="*/ 4429245 w 12191999"/>
              <a:gd name="connsiteY19" fmla="*/ 3968157 h 6857999"/>
              <a:gd name="connsiteX20" fmla="*/ 4692339 w 12191999"/>
              <a:gd name="connsiteY20" fmla="*/ 3968157 h 6857999"/>
              <a:gd name="connsiteX21" fmla="*/ 4760520 w 12191999"/>
              <a:gd name="connsiteY21" fmla="*/ 3748048 h 6857999"/>
              <a:gd name="connsiteX22" fmla="*/ 5173319 w 12191999"/>
              <a:gd name="connsiteY22" fmla="*/ 3748048 h 6857999"/>
              <a:gd name="connsiteX23" fmla="*/ 5243725 w 12191999"/>
              <a:gd name="connsiteY23" fmla="*/ 3968157 h 6857999"/>
              <a:gd name="connsiteX24" fmla="*/ 5503113 w 12191999"/>
              <a:gd name="connsiteY24" fmla="*/ 3968157 h 6857999"/>
              <a:gd name="connsiteX25" fmla="*/ 5119218 w 12191999"/>
              <a:gd name="connsiteY25" fmla="*/ 2890584 h 6857999"/>
              <a:gd name="connsiteX26" fmla="*/ 2791392 w 12191999"/>
              <a:gd name="connsiteY26" fmla="*/ 2890584 h 6857999"/>
              <a:gd name="connsiteX27" fmla="*/ 2457151 w 12191999"/>
              <a:gd name="connsiteY27" fmla="*/ 3218154 h 6857999"/>
              <a:gd name="connsiteX28" fmla="*/ 2791392 w 12191999"/>
              <a:gd name="connsiteY28" fmla="*/ 3532385 h 6857999"/>
              <a:gd name="connsiteX29" fmla="*/ 3046334 w 12191999"/>
              <a:gd name="connsiteY29" fmla="*/ 3532385 h 6857999"/>
              <a:gd name="connsiteX30" fmla="*/ 3143419 w 12191999"/>
              <a:gd name="connsiteY30" fmla="*/ 3632434 h 6857999"/>
              <a:gd name="connsiteX31" fmla="*/ 3046334 w 12191999"/>
              <a:gd name="connsiteY31" fmla="*/ 3732484 h 6857999"/>
              <a:gd name="connsiteX32" fmla="*/ 2500136 w 12191999"/>
              <a:gd name="connsiteY32" fmla="*/ 3732484 h 6857999"/>
              <a:gd name="connsiteX33" fmla="*/ 2500136 w 12191999"/>
              <a:gd name="connsiteY33" fmla="*/ 3968157 h 6857999"/>
              <a:gd name="connsiteX34" fmla="*/ 3036699 w 12191999"/>
              <a:gd name="connsiteY34" fmla="*/ 3968157 h 6857999"/>
              <a:gd name="connsiteX35" fmla="*/ 3375386 w 12191999"/>
              <a:gd name="connsiteY35" fmla="*/ 3632434 h 6857999"/>
              <a:gd name="connsiteX36" fmla="*/ 3084871 w 12191999"/>
              <a:gd name="connsiteY36" fmla="*/ 3318204 h 6857999"/>
              <a:gd name="connsiteX37" fmla="*/ 2791392 w 12191999"/>
              <a:gd name="connsiteY37" fmla="*/ 3318204 h 6857999"/>
              <a:gd name="connsiteX38" fmla="*/ 2689860 w 12191999"/>
              <a:gd name="connsiteY38" fmla="*/ 3218154 h 6857999"/>
              <a:gd name="connsiteX39" fmla="*/ 2791392 w 12191999"/>
              <a:gd name="connsiteY39" fmla="*/ 3118105 h 6857999"/>
              <a:gd name="connsiteX40" fmla="*/ 3300534 w 12191999"/>
              <a:gd name="connsiteY40" fmla="*/ 3118105 h 6857999"/>
              <a:gd name="connsiteX41" fmla="*/ 3300534 w 12191999"/>
              <a:gd name="connsiteY41" fmla="*/ 2890584 h 6857999"/>
              <a:gd name="connsiteX42" fmla="*/ 9033760 w 12191999"/>
              <a:gd name="connsiteY42" fmla="*/ 2890583 h 6857999"/>
              <a:gd name="connsiteX43" fmla="*/ 8661723 w 12191999"/>
              <a:gd name="connsiteY43" fmla="*/ 3968157 h 6857999"/>
              <a:gd name="connsiteX44" fmla="*/ 8924817 w 12191999"/>
              <a:gd name="connsiteY44" fmla="*/ 3968157 h 6857999"/>
              <a:gd name="connsiteX45" fmla="*/ 8992999 w 12191999"/>
              <a:gd name="connsiteY45" fmla="*/ 3748048 h 6857999"/>
              <a:gd name="connsiteX46" fmla="*/ 9405797 w 12191999"/>
              <a:gd name="connsiteY46" fmla="*/ 3748048 h 6857999"/>
              <a:gd name="connsiteX47" fmla="*/ 9476203 w 12191999"/>
              <a:gd name="connsiteY47" fmla="*/ 3968157 h 6857999"/>
              <a:gd name="connsiteX48" fmla="*/ 9734850 w 12191999"/>
              <a:gd name="connsiteY48" fmla="*/ 3968157 h 6857999"/>
              <a:gd name="connsiteX49" fmla="*/ 9350955 w 12191999"/>
              <a:gd name="connsiteY49" fmla="*/ 2890583 h 6857999"/>
              <a:gd name="connsiteX50" fmla="*/ 7018682 w 12191999"/>
              <a:gd name="connsiteY50" fmla="*/ 2890583 h 6857999"/>
              <a:gd name="connsiteX51" fmla="*/ 6684441 w 12191999"/>
              <a:gd name="connsiteY51" fmla="*/ 3218154 h 6857999"/>
              <a:gd name="connsiteX52" fmla="*/ 7018682 w 12191999"/>
              <a:gd name="connsiteY52" fmla="*/ 3532385 h 6857999"/>
              <a:gd name="connsiteX53" fmla="*/ 7273623 w 12191999"/>
              <a:gd name="connsiteY53" fmla="*/ 3532385 h 6857999"/>
              <a:gd name="connsiteX54" fmla="*/ 7370709 w 12191999"/>
              <a:gd name="connsiteY54" fmla="*/ 3632434 h 6857999"/>
              <a:gd name="connsiteX55" fmla="*/ 7273623 w 12191999"/>
              <a:gd name="connsiteY55" fmla="*/ 3732484 h 6857999"/>
              <a:gd name="connsiteX56" fmla="*/ 6728167 w 12191999"/>
              <a:gd name="connsiteY56" fmla="*/ 3732484 h 6857999"/>
              <a:gd name="connsiteX57" fmla="*/ 6728167 w 12191999"/>
              <a:gd name="connsiteY57" fmla="*/ 3968157 h 6857999"/>
              <a:gd name="connsiteX58" fmla="*/ 7264730 w 12191999"/>
              <a:gd name="connsiteY58" fmla="*/ 3968157 h 6857999"/>
              <a:gd name="connsiteX59" fmla="*/ 7603417 w 12191999"/>
              <a:gd name="connsiteY59" fmla="*/ 3632434 h 6857999"/>
              <a:gd name="connsiteX60" fmla="*/ 7312161 w 12191999"/>
              <a:gd name="connsiteY60" fmla="*/ 3318204 h 6857999"/>
              <a:gd name="connsiteX61" fmla="*/ 7018682 w 12191999"/>
              <a:gd name="connsiteY61" fmla="*/ 3318204 h 6857999"/>
              <a:gd name="connsiteX62" fmla="*/ 6917150 w 12191999"/>
              <a:gd name="connsiteY62" fmla="*/ 3218154 h 6857999"/>
              <a:gd name="connsiteX63" fmla="*/ 7018682 w 12191999"/>
              <a:gd name="connsiteY63" fmla="*/ 3118104 h 6857999"/>
              <a:gd name="connsiteX64" fmla="*/ 7527824 w 12191999"/>
              <a:gd name="connsiteY64" fmla="*/ 3118104 h 6857999"/>
              <a:gd name="connsiteX65" fmla="*/ 7527824 w 12191999"/>
              <a:gd name="connsiteY65" fmla="*/ 2890583 h 6857999"/>
              <a:gd name="connsiteX66" fmla="*/ 3520644 w 12191999"/>
              <a:gd name="connsiteY66" fmla="*/ 2889843 h 6857999"/>
              <a:gd name="connsiteX67" fmla="*/ 3520644 w 12191999"/>
              <a:gd name="connsiteY67" fmla="*/ 3968157 h 6857999"/>
              <a:gd name="connsiteX68" fmla="*/ 3768916 w 12191999"/>
              <a:gd name="connsiteY68" fmla="*/ 3968157 h 6857999"/>
              <a:gd name="connsiteX69" fmla="*/ 3768916 w 12191999"/>
              <a:gd name="connsiteY69" fmla="*/ 3513116 h 6857999"/>
              <a:gd name="connsiteX70" fmla="*/ 4123167 w 12191999"/>
              <a:gd name="connsiteY70" fmla="*/ 3968157 h 6857999"/>
              <a:gd name="connsiteX71" fmla="*/ 4413681 w 12191999"/>
              <a:gd name="connsiteY71" fmla="*/ 3968157 h 6857999"/>
              <a:gd name="connsiteX72" fmla="*/ 4005330 w 12191999"/>
              <a:gd name="connsiteY72" fmla="*/ 3429370 h 6857999"/>
              <a:gd name="connsiteX73" fmla="*/ 4413681 w 12191999"/>
              <a:gd name="connsiteY73" fmla="*/ 2889843 h 6857999"/>
              <a:gd name="connsiteX74" fmla="*/ 4123167 w 12191999"/>
              <a:gd name="connsiteY74" fmla="*/ 2889843 h 6857999"/>
              <a:gd name="connsiteX75" fmla="*/ 3768916 w 12191999"/>
              <a:gd name="connsiteY75" fmla="*/ 3344884 h 6857999"/>
              <a:gd name="connsiteX76" fmla="*/ 3768916 w 12191999"/>
              <a:gd name="connsiteY76" fmla="*/ 2889843 h 6857999"/>
              <a:gd name="connsiteX77" fmla="*/ 7752381 w 12191999"/>
              <a:gd name="connsiteY77" fmla="*/ 2889842 h 6857999"/>
              <a:gd name="connsiteX78" fmla="*/ 7752381 w 12191999"/>
              <a:gd name="connsiteY78" fmla="*/ 3968157 h 6857999"/>
              <a:gd name="connsiteX79" fmla="*/ 8001394 w 12191999"/>
              <a:gd name="connsiteY79" fmla="*/ 3968157 h 6857999"/>
              <a:gd name="connsiteX80" fmla="*/ 8001394 w 12191999"/>
              <a:gd name="connsiteY80" fmla="*/ 3513116 h 6857999"/>
              <a:gd name="connsiteX81" fmla="*/ 8355645 w 12191999"/>
              <a:gd name="connsiteY81" fmla="*/ 3968157 h 6857999"/>
              <a:gd name="connsiteX82" fmla="*/ 8645419 w 12191999"/>
              <a:gd name="connsiteY82" fmla="*/ 3968157 h 6857999"/>
              <a:gd name="connsiteX83" fmla="*/ 8237809 w 12191999"/>
              <a:gd name="connsiteY83" fmla="*/ 3429370 h 6857999"/>
              <a:gd name="connsiteX84" fmla="*/ 8645419 w 12191999"/>
              <a:gd name="connsiteY84" fmla="*/ 2889842 h 6857999"/>
              <a:gd name="connsiteX85" fmla="*/ 8355645 w 12191999"/>
              <a:gd name="connsiteY85" fmla="*/ 2889842 h 6857999"/>
              <a:gd name="connsiteX86" fmla="*/ 8001394 w 12191999"/>
              <a:gd name="connsiteY86" fmla="*/ 3344884 h 6857999"/>
              <a:gd name="connsiteX87" fmla="*/ 8001394 w 12191999"/>
              <a:gd name="connsiteY87" fmla="*/ 2889842 h 6857999"/>
              <a:gd name="connsiteX88" fmla="*/ 0 w 12191999"/>
              <a:gd name="connsiteY88" fmla="*/ 0 h 6857999"/>
              <a:gd name="connsiteX89" fmla="*/ 12191999 w 12191999"/>
              <a:gd name="connsiteY89" fmla="*/ 0 h 6857999"/>
              <a:gd name="connsiteX90" fmla="*/ 12191999 w 12191999"/>
              <a:gd name="connsiteY90" fmla="*/ 6857999 h 6857999"/>
              <a:gd name="connsiteX91" fmla="*/ 0 w 12191999"/>
              <a:gd name="connsiteY91"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9" h="6857999">
                <a:moveTo>
                  <a:pt x="4964326" y="3115140"/>
                </a:moveTo>
                <a:lnTo>
                  <a:pt x="5103655" y="3528679"/>
                </a:lnTo>
                <a:lnTo>
                  <a:pt x="4829444" y="3528679"/>
                </a:lnTo>
                <a:close/>
                <a:moveTo>
                  <a:pt x="9196063" y="3115140"/>
                </a:moveTo>
                <a:lnTo>
                  <a:pt x="9335392" y="3528679"/>
                </a:lnTo>
                <a:lnTo>
                  <a:pt x="9061181" y="3528679"/>
                </a:lnTo>
                <a:close/>
                <a:moveTo>
                  <a:pt x="5595751" y="2890584"/>
                </a:moveTo>
                <a:lnTo>
                  <a:pt x="5595751" y="3968157"/>
                </a:lnTo>
                <a:lnTo>
                  <a:pt x="5845505" y="3968157"/>
                </a:lnTo>
                <a:lnTo>
                  <a:pt x="5845505" y="3303382"/>
                </a:lnTo>
                <a:lnTo>
                  <a:pt x="6274608" y="3965934"/>
                </a:lnTo>
                <a:lnTo>
                  <a:pt x="6274608" y="3968157"/>
                </a:lnTo>
                <a:lnTo>
                  <a:pt x="6533255" y="3968157"/>
                </a:lnTo>
                <a:lnTo>
                  <a:pt x="6532514" y="3735449"/>
                </a:lnTo>
                <a:lnTo>
                  <a:pt x="6531032" y="2890584"/>
                </a:lnTo>
                <a:lnTo>
                  <a:pt x="6282760" y="2890584"/>
                </a:lnTo>
                <a:lnTo>
                  <a:pt x="6282760" y="3567958"/>
                </a:lnTo>
                <a:lnTo>
                  <a:pt x="5849952" y="2890584"/>
                </a:lnTo>
                <a:close/>
                <a:moveTo>
                  <a:pt x="4802022" y="2890584"/>
                </a:moveTo>
                <a:lnTo>
                  <a:pt x="4429245" y="3968157"/>
                </a:lnTo>
                <a:lnTo>
                  <a:pt x="4692339" y="3968157"/>
                </a:lnTo>
                <a:lnTo>
                  <a:pt x="4760520" y="3748048"/>
                </a:lnTo>
                <a:lnTo>
                  <a:pt x="5173319" y="3748048"/>
                </a:lnTo>
                <a:lnTo>
                  <a:pt x="5243725" y="3968157"/>
                </a:lnTo>
                <a:lnTo>
                  <a:pt x="5503113" y="3968157"/>
                </a:lnTo>
                <a:lnTo>
                  <a:pt x="5119218" y="2890584"/>
                </a:lnTo>
                <a:close/>
                <a:moveTo>
                  <a:pt x="2791392" y="2890584"/>
                </a:moveTo>
                <a:cubicBezTo>
                  <a:pt x="2583140" y="2890584"/>
                  <a:pt x="2457151" y="3012125"/>
                  <a:pt x="2457151" y="3218154"/>
                </a:cubicBezTo>
                <a:cubicBezTo>
                  <a:pt x="2457151" y="3424184"/>
                  <a:pt x="2603150" y="3532385"/>
                  <a:pt x="2791392" y="3532385"/>
                </a:cubicBezTo>
                <a:lnTo>
                  <a:pt x="3046334" y="3532385"/>
                </a:lnTo>
                <a:cubicBezTo>
                  <a:pt x="3110810" y="3532385"/>
                  <a:pt x="3143419" y="3581298"/>
                  <a:pt x="3143419" y="3632434"/>
                </a:cubicBezTo>
                <a:cubicBezTo>
                  <a:pt x="3143419" y="3685053"/>
                  <a:pt x="3110810" y="3732484"/>
                  <a:pt x="3046334" y="3732484"/>
                </a:cubicBezTo>
                <a:lnTo>
                  <a:pt x="2500136" y="3732484"/>
                </a:lnTo>
                <a:lnTo>
                  <a:pt x="2500136" y="3968157"/>
                </a:lnTo>
                <a:lnTo>
                  <a:pt x="3036699" y="3968157"/>
                </a:lnTo>
                <a:cubicBezTo>
                  <a:pt x="3249398" y="3968157"/>
                  <a:pt x="3375386" y="3851062"/>
                  <a:pt x="3375386" y="3632434"/>
                </a:cubicBezTo>
                <a:cubicBezTo>
                  <a:pt x="3375386" y="3435299"/>
                  <a:pt x="3249398" y="3318204"/>
                  <a:pt x="3084871" y="3318204"/>
                </a:cubicBezTo>
                <a:lnTo>
                  <a:pt x="2791392" y="3318204"/>
                </a:lnTo>
                <a:cubicBezTo>
                  <a:pt x="2722468" y="3318204"/>
                  <a:pt x="2689860" y="3270773"/>
                  <a:pt x="2689860" y="3218154"/>
                </a:cubicBezTo>
                <a:cubicBezTo>
                  <a:pt x="2689860" y="3165536"/>
                  <a:pt x="2722468" y="3118105"/>
                  <a:pt x="2791392" y="3118105"/>
                </a:cubicBezTo>
                <a:lnTo>
                  <a:pt x="3300534" y="3118105"/>
                </a:lnTo>
                <a:lnTo>
                  <a:pt x="3300534" y="2890584"/>
                </a:lnTo>
                <a:close/>
                <a:moveTo>
                  <a:pt x="9033760" y="2890583"/>
                </a:moveTo>
                <a:lnTo>
                  <a:pt x="8661723" y="3968157"/>
                </a:lnTo>
                <a:lnTo>
                  <a:pt x="8924817" y="3968157"/>
                </a:lnTo>
                <a:lnTo>
                  <a:pt x="8992999" y="3748048"/>
                </a:lnTo>
                <a:lnTo>
                  <a:pt x="9405797" y="3748048"/>
                </a:lnTo>
                <a:lnTo>
                  <a:pt x="9476203" y="3968157"/>
                </a:lnTo>
                <a:lnTo>
                  <a:pt x="9734850" y="3968157"/>
                </a:lnTo>
                <a:lnTo>
                  <a:pt x="9350955" y="2890583"/>
                </a:lnTo>
                <a:close/>
                <a:moveTo>
                  <a:pt x="7018682" y="2890583"/>
                </a:moveTo>
                <a:cubicBezTo>
                  <a:pt x="6811171" y="2890583"/>
                  <a:pt x="6684441" y="3012125"/>
                  <a:pt x="6684441" y="3218154"/>
                </a:cubicBezTo>
                <a:cubicBezTo>
                  <a:pt x="6684441" y="3424183"/>
                  <a:pt x="6830440" y="3532385"/>
                  <a:pt x="7018682" y="3532385"/>
                </a:cubicBezTo>
                <a:lnTo>
                  <a:pt x="7273623" y="3532385"/>
                </a:lnTo>
                <a:cubicBezTo>
                  <a:pt x="7338100" y="3532385"/>
                  <a:pt x="7370709" y="3581298"/>
                  <a:pt x="7370709" y="3632434"/>
                </a:cubicBezTo>
                <a:cubicBezTo>
                  <a:pt x="7370709" y="3685053"/>
                  <a:pt x="7338100" y="3732484"/>
                  <a:pt x="7273623" y="3732484"/>
                </a:cubicBezTo>
                <a:lnTo>
                  <a:pt x="6728167" y="3732484"/>
                </a:lnTo>
                <a:lnTo>
                  <a:pt x="6728167" y="3968157"/>
                </a:lnTo>
                <a:lnTo>
                  <a:pt x="7264730" y="3968157"/>
                </a:lnTo>
                <a:cubicBezTo>
                  <a:pt x="7477429" y="3968157"/>
                  <a:pt x="7603417" y="3851062"/>
                  <a:pt x="7603417" y="3632434"/>
                </a:cubicBezTo>
                <a:cubicBezTo>
                  <a:pt x="7603417" y="3435299"/>
                  <a:pt x="7476687" y="3318204"/>
                  <a:pt x="7312161" y="3318204"/>
                </a:cubicBezTo>
                <a:lnTo>
                  <a:pt x="7018682" y="3318204"/>
                </a:lnTo>
                <a:cubicBezTo>
                  <a:pt x="6949758" y="3318204"/>
                  <a:pt x="6917150" y="3270773"/>
                  <a:pt x="6917150" y="3218154"/>
                </a:cubicBezTo>
                <a:cubicBezTo>
                  <a:pt x="6917150" y="3165535"/>
                  <a:pt x="6949758" y="3118104"/>
                  <a:pt x="7018682" y="3118104"/>
                </a:cubicBezTo>
                <a:lnTo>
                  <a:pt x="7527824" y="3118104"/>
                </a:lnTo>
                <a:lnTo>
                  <a:pt x="7527824" y="2890583"/>
                </a:lnTo>
                <a:close/>
                <a:moveTo>
                  <a:pt x="3520644" y="2889843"/>
                </a:moveTo>
                <a:lnTo>
                  <a:pt x="3520644" y="3968157"/>
                </a:lnTo>
                <a:lnTo>
                  <a:pt x="3768916" y="3968157"/>
                </a:lnTo>
                <a:lnTo>
                  <a:pt x="3768916" y="3513116"/>
                </a:lnTo>
                <a:lnTo>
                  <a:pt x="4123167" y="3968157"/>
                </a:lnTo>
                <a:lnTo>
                  <a:pt x="4413681" y="3968157"/>
                </a:lnTo>
                <a:lnTo>
                  <a:pt x="4005330" y="3429370"/>
                </a:lnTo>
                <a:lnTo>
                  <a:pt x="4413681" y="2889843"/>
                </a:lnTo>
                <a:lnTo>
                  <a:pt x="4123167" y="2889843"/>
                </a:lnTo>
                <a:lnTo>
                  <a:pt x="3768916" y="3344884"/>
                </a:lnTo>
                <a:lnTo>
                  <a:pt x="3768916" y="2889843"/>
                </a:lnTo>
                <a:close/>
                <a:moveTo>
                  <a:pt x="7752381" y="2889842"/>
                </a:moveTo>
                <a:lnTo>
                  <a:pt x="7752381" y="3968157"/>
                </a:lnTo>
                <a:lnTo>
                  <a:pt x="8001394" y="3968157"/>
                </a:lnTo>
                <a:lnTo>
                  <a:pt x="8001394" y="3513116"/>
                </a:lnTo>
                <a:lnTo>
                  <a:pt x="8355645" y="3968157"/>
                </a:lnTo>
                <a:lnTo>
                  <a:pt x="8645419" y="3968157"/>
                </a:lnTo>
                <a:lnTo>
                  <a:pt x="8237809" y="3429370"/>
                </a:lnTo>
                <a:lnTo>
                  <a:pt x="8645419" y="2889842"/>
                </a:lnTo>
                <a:lnTo>
                  <a:pt x="8355645" y="2889842"/>
                </a:lnTo>
                <a:lnTo>
                  <a:pt x="8001394" y="3344884"/>
                </a:lnTo>
                <a:lnTo>
                  <a:pt x="8001394" y="2889842"/>
                </a:lnTo>
                <a:close/>
                <a:moveTo>
                  <a:pt x="0" y="0"/>
                </a:moveTo>
                <a:lnTo>
                  <a:pt x="12191999" y="0"/>
                </a:lnTo>
                <a:lnTo>
                  <a:pt x="12191999" y="6857999"/>
                </a:lnTo>
                <a:lnTo>
                  <a:pt x="0" y="6857999"/>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GB"/>
              <a:t>Click on the icon to add an image</a:t>
            </a:r>
          </a:p>
        </p:txBody>
      </p:sp>
      <p:sp>
        <p:nvSpPr>
          <p:cNvPr id="4" name="Date Placeholder 3">
            <a:extLst>
              <a:ext uri="{FF2B5EF4-FFF2-40B4-BE49-F238E27FC236}">
                <a16:creationId xmlns:a16="http://schemas.microsoft.com/office/drawing/2014/main" id="{3A358274-BB1A-8541-BA58-8538BC31447B}"/>
              </a:ext>
            </a:extLst>
          </p:cNvPr>
          <p:cNvSpPr>
            <a:spLocks noGrp="1"/>
          </p:cNvSpPr>
          <p:nvPr>
            <p:ph type="dt" sz="half" idx="14"/>
          </p:nvPr>
        </p:nvSpPr>
        <p:spPr/>
        <p:txBody>
          <a:bodyPr/>
          <a:lstStyle/>
          <a:p>
            <a:fld id="{17BD29A3-0D12-453C-B8F0-B835375B83F9}" type="datetime1">
              <a:rPr lang="en-US" smtClean="0"/>
              <a:t>11/7/2025</a:t>
            </a:fld>
            <a:endParaRPr lang="en-US"/>
          </a:p>
        </p:txBody>
      </p:sp>
      <p:sp>
        <p:nvSpPr>
          <p:cNvPr id="5" name="Footer Placeholder 4">
            <a:extLst>
              <a:ext uri="{FF2B5EF4-FFF2-40B4-BE49-F238E27FC236}">
                <a16:creationId xmlns:a16="http://schemas.microsoft.com/office/drawing/2014/main" id="{B48D846C-D8CE-BA45-ABBB-57725301B882}"/>
              </a:ext>
            </a:extLst>
          </p:cNvPr>
          <p:cNvSpPr>
            <a:spLocks noGrp="1"/>
          </p:cNvSpPr>
          <p:nvPr>
            <p:ph type="ftr" sz="quarter" idx="15"/>
          </p:nvPr>
        </p:nvSpPr>
        <p:spPr/>
        <p:txBody>
          <a:bodyPr/>
          <a:lstStyle/>
          <a:p>
            <a:r>
              <a:rPr lang="nb-NO"/>
              <a:t>Skanska Norge Hovedpresentasjon - desember 2022</a:t>
            </a:r>
            <a:endParaRPr lang="en-US"/>
          </a:p>
        </p:txBody>
      </p:sp>
      <p:sp>
        <p:nvSpPr>
          <p:cNvPr id="6" name="Slide Number Placeholder 5">
            <a:extLst>
              <a:ext uri="{FF2B5EF4-FFF2-40B4-BE49-F238E27FC236}">
                <a16:creationId xmlns:a16="http://schemas.microsoft.com/office/drawing/2014/main" id="{ADEF0C56-5CD7-4D46-940E-DB64EB69B1E0}"/>
              </a:ext>
            </a:extLst>
          </p:cNvPr>
          <p:cNvSpPr>
            <a:spLocks noGrp="1"/>
          </p:cNvSpPr>
          <p:nvPr>
            <p:ph type="sldNum" sz="quarter" idx="16"/>
          </p:nvPr>
        </p:nvSpPr>
        <p:spPr/>
        <p:txBody>
          <a:bodyPr/>
          <a:lstStyle/>
          <a:p>
            <a:fld id="{EF8DBD5B-30F9-4F9C-AE39-E065C1AC514D}" type="slidenum">
              <a:rPr lang="en-US" smtClean="0"/>
              <a:pPr/>
              <a:t>‹#›</a:t>
            </a:fld>
            <a:endParaRPr lang="en-US"/>
          </a:p>
        </p:txBody>
      </p:sp>
      <p:sp>
        <p:nvSpPr>
          <p:cNvPr id="7" name="textruta 5">
            <a:extLst>
              <a:ext uri="{FF2B5EF4-FFF2-40B4-BE49-F238E27FC236}">
                <a16:creationId xmlns:a16="http://schemas.microsoft.com/office/drawing/2014/main" id="{DD15DF14-DC97-0441-A680-C2968AEFA306}"/>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GB" sz="900" baseline="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GB" sz="900" b="1" baseline="0">
                <a:solidFill>
                  <a:schemeClr val="tx1">
                    <a:lumMod val="65000"/>
                    <a:lumOff val="35000"/>
                  </a:schemeClr>
                </a:solidFill>
                <a:latin typeface="Arial" panose="020B0604020202020204" pitchFamily="34" charset="0"/>
                <a:cs typeface="Arial" panose="020B0604020202020204" pitchFamily="34" charset="0"/>
              </a:rPr>
              <a:t>right click the image </a:t>
            </a:r>
            <a:r>
              <a:rPr lang="en-GB" sz="900" baseline="0">
                <a:solidFill>
                  <a:schemeClr val="tx1">
                    <a:lumMod val="65000"/>
                    <a:lumOff val="35000"/>
                  </a:schemeClr>
                </a:solidFill>
                <a:latin typeface="Arial" panose="020B0604020202020204" pitchFamily="34" charset="0"/>
                <a:cs typeface="Arial" panose="020B0604020202020204" pitchFamily="34" charset="0"/>
              </a:rPr>
              <a:t>and use – </a:t>
            </a:r>
            <a:r>
              <a:rPr lang="en-GB" sz="900" b="1">
                <a:solidFill>
                  <a:schemeClr val="tx1">
                    <a:lumMod val="65000"/>
                    <a:lumOff val="35000"/>
                  </a:schemeClr>
                </a:solidFill>
                <a:latin typeface="Arial" panose="020B0604020202020204" pitchFamily="34" charset="0"/>
                <a:cs typeface="Arial" panose="020B0604020202020204" pitchFamily="34" charset="0"/>
              </a:rPr>
              <a:t>S</a:t>
            </a:r>
            <a:r>
              <a:rPr lang="en-GB" sz="900" b="1" baseline="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8" name="textruta 7">
            <a:extLst>
              <a:ext uri="{FF2B5EF4-FFF2-40B4-BE49-F238E27FC236}">
                <a16:creationId xmlns:a16="http://schemas.microsoft.com/office/drawing/2014/main" id="{E0537F98-ABDA-2B41-84CF-74F9E5F3D4D6}"/>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GB" sz="900" baseline="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GB" sz="900" b="1" baseline="0">
                <a:solidFill>
                  <a:schemeClr val="tx1">
                    <a:lumMod val="65000"/>
                    <a:lumOff val="35000"/>
                  </a:schemeClr>
                </a:solidFill>
                <a:latin typeface="Arial" panose="020B0604020202020204" pitchFamily="34" charset="0"/>
                <a:cs typeface="Arial" panose="020B0604020202020204" pitchFamily="34" charset="0"/>
              </a:rPr>
              <a:t>Format Background </a:t>
            </a:r>
            <a:r>
              <a:rPr lang="en-GB" sz="900" baseline="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GB" sz="900" b="1" baseline="0">
                <a:solidFill>
                  <a:schemeClr val="tx1">
                    <a:lumMod val="65000"/>
                    <a:lumOff val="35000"/>
                  </a:schemeClr>
                </a:solidFill>
                <a:latin typeface="Arial" panose="020B0604020202020204" pitchFamily="34" charset="0"/>
                <a:cs typeface="Arial" panose="020B0604020202020204" pitchFamily="34" charset="0"/>
              </a:rPr>
              <a:t>Solid fill</a:t>
            </a:r>
            <a:r>
              <a:rPr lang="en-GB" sz="900" baseline="0">
                <a:solidFill>
                  <a:schemeClr val="tx1">
                    <a:lumMod val="65000"/>
                    <a:lumOff val="35000"/>
                  </a:schemeClr>
                </a:solidFill>
                <a:latin typeface="Arial" panose="020B0604020202020204" pitchFamily="34" charset="0"/>
                <a:cs typeface="Arial" panose="020B0604020202020204" pitchFamily="34" charset="0"/>
              </a:rPr>
              <a:t> – </a:t>
            </a:r>
            <a:r>
              <a:rPr lang="en-GB" sz="900" b="1" baseline="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GB" sz="900" baseline="0">
              <a:solidFill>
                <a:schemeClr val="tx1">
                  <a:lumMod val="65000"/>
                  <a:lumOff val="35000"/>
                </a:schemeClr>
              </a:solidFill>
              <a:latin typeface="Arial" panose="020B0604020202020204" pitchFamily="34" charset="0"/>
              <a:cs typeface="Arial" panose="020B0604020202020204" pitchFamily="34" charset="0"/>
            </a:endParaRPr>
          </a:p>
          <a:p>
            <a:pPr algn="ctr"/>
            <a:endParaRPr lang="en-GB" sz="900" baseline="0">
              <a:solidFill>
                <a:schemeClr val="tx1">
                  <a:lumMod val="65000"/>
                  <a:lumOff val="35000"/>
                </a:schemeClr>
              </a:solidFill>
              <a:latin typeface="Arial" panose="020B0604020202020204" pitchFamily="34" charset="0"/>
              <a:cs typeface="Arial" panose="020B0604020202020204" pitchFamily="34" charset="0"/>
            </a:endParaRPr>
          </a:p>
          <a:p>
            <a:pPr algn="ctr"/>
            <a:endParaRPr lang="en-GB" sz="900" baseline="0">
              <a:solidFill>
                <a:schemeClr val="tx1">
                  <a:lumMod val="65000"/>
                  <a:lumOff val="35000"/>
                </a:schemeClr>
              </a:solidFill>
              <a:latin typeface="Arial" panose="020B0604020202020204" pitchFamily="34" charset="0"/>
              <a:cs typeface="Arial" panose="020B0604020202020204" pitchFamily="34" charset="0"/>
            </a:endParaRPr>
          </a:p>
        </p:txBody>
      </p:sp>
      <p:sp>
        <p:nvSpPr>
          <p:cNvPr id="9" name="Rektangel 8">
            <a:extLst>
              <a:ext uri="{FF2B5EF4-FFF2-40B4-BE49-F238E27FC236}">
                <a16:creationId xmlns:a16="http://schemas.microsoft.com/office/drawing/2014/main" id="{2969CE8A-3B45-0F4A-88EC-7412D4614DB6}"/>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ktangel 9">
            <a:extLst>
              <a:ext uri="{FF2B5EF4-FFF2-40B4-BE49-F238E27FC236}">
                <a16:creationId xmlns:a16="http://schemas.microsoft.com/office/drawing/2014/main" id="{12D09706-7225-E047-9047-32D75A378EAF}"/>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06257233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nb-NO"/>
              <a:t>Januar 2022</a:t>
            </a:r>
          </a:p>
        </p:txBody>
      </p:sp>
      <p:sp>
        <p:nvSpPr>
          <p:cNvPr id="3" name="Footer Placeholder 2"/>
          <p:cNvSpPr>
            <a:spLocks noGrp="1"/>
          </p:cNvSpPr>
          <p:nvPr>
            <p:ph type="ftr" sz="quarter" idx="11"/>
          </p:nvPr>
        </p:nvSpPr>
        <p:spPr/>
        <p:txBody>
          <a:bodyPr/>
          <a:lstStyle/>
          <a:p>
            <a:r>
              <a:rPr lang="nb-NO"/>
              <a:t>Intern information </a:t>
            </a:r>
          </a:p>
        </p:txBody>
      </p:sp>
      <p:sp>
        <p:nvSpPr>
          <p:cNvPr id="4" name="Slide Number Placeholder 3"/>
          <p:cNvSpPr>
            <a:spLocks noGrp="1"/>
          </p:cNvSpPr>
          <p:nvPr>
            <p:ph type="sldNum" sz="quarter" idx="12"/>
          </p:nvPr>
        </p:nvSpPr>
        <p:spPr/>
        <p:txBody>
          <a:bodyPr/>
          <a:lstStyle/>
          <a:p>
            <a:fld id="{552F452E-B795-4D05-B605-588F6513802C}" type="slidenum">
              <a:rPr lang="nb-NO" smtClean="0"/>
              <a:t>‹#›</a:t>
            </a:fld>
            <a:endParaRPr lang="nb-NO"/>
          </a:p>
        </p:txBody>
      </p:sp>
    </p:spTree>
    <p:extLst>
      <p:ext uri="{BB962C8B-B14F-4D97-AF65-F5344CB8AC3E}">
        <p14:creationId xmlns:p14="http://schemas.microsoft.com/office/powerpoint/2010/main" val="357379736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3 Text Three Flowing Columns">
    <p:bg>
      <p:bgPr>
        <a:solidFill>
          <a:schemeClr val="bg1"/>
        </a:solidFill>
        <a:effectLst/>
      </p:bgPr>
    </p:bg>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2096531-5CDB-42D6-811E-E1A1E7948350}"/>
              </a:ext>
            </a:extLst>
          </p:cNvPr>
          <p:cNvSpPr>
            <a:spLocks noGrp="1"/>
          </p:cNvSpPr>
          <p:nvPr>
            <p:ph type="dt" sz="half" idx="10"/>
          </p:nvPr>
        </p:nvSpPr>
        <p:spPr/>
        <p:txBody>
          <a:bodyPr/>
          <a:lstStyle>
            <a:lvl1pPr>
              <a:defRPr>
                <a:solidFill>
                  <a:schemeClr val="accent1"/>
                </a:solidFill>
              </a:defRPr>
            </a:lvl1pPr>
          </a:lstStyle>
          <a:p>
            <a:fld id="{A75E0F44-43E0-4A63-AB7D-A333684DDFED}" type="datetime1">
              <a:rPr lang="sv-SE" smtClean="0"/>
              <a:t>2025-11-07</a:t>
            </a:fld>
            <a:endParaRPr lang="en-US"/>
          </a:p>
        </p:txBody>
      </p:sp>
      <p:sp>
        <p:nvSpPr>
          <p:cNvPr id="5" name="Platshållare för sidfot 4">
            <a:extLst>
              <a:ext uri="{FF2B5EF4-FFF2-40B4-BE49-F238E27FC236}">
                <a16:creationId xmlns:a16="http://schemas.microsoft.com/office/drawing/2014/main" id="{3AACF8DC-5D2B-4D34-B9FC-E2D7A1A73362}"/>
              </a:ext>
            </a:extLst>
          </p:cNvPr>
          <p:cNvSpPr>
            <a:spLocks noGrp="1"/>
          </p:cNvSpPr>
          <p:nvPr>
            <p:ph type="ftr" sz="quarter" idx="11"/>
          </p:nvPr>
        </p:nvSpPr>
        <p:spPr/>
        <p:txBody>
          <a:bodyPr/>
          <a:lstStyle>
            <a:lvl1pPr>
              <a:defRPr>
                <a:solidFill>
                  <a:schemeClr val="accent1"/>
                </a:solidFill>
              </a:defRPr>
            </a:lvl1pPr>
          </a:lstStyle>
          <a:p>
            <a:r>
              <a:rPr lang="en-US"/>
              <a:t>Go to header/footer to change text </a:t>
            </a:r>
          </a:p>
        </p:txBody>
      </p:sp>
      <p:sp>
        <p:nvSpPr>
          <p:cNvPr id="6" name="Platshållare för bildnummer 5">
            <a:extLst>
              <a:ext uri="{FF2B5EF4-FFF2-40B4-BE49-F238E27FC236}">
                <a16:creationId xmlns:a16="http://schemas.microsoft.com/office/drawing/2014/main" id="{73BFE85F-68D2-4D7C-8529-09EE07FF3B5C}"/>
              </a:ext>
            </a:extLst>
          </p:cNvPr>
          <p:cNvSpPr>
            <a:spLocks noGrp="1"/>
          </p:cNvSpPr>
          <p:nvPr>
            <p:ph type="sldNum" sz="quarter" idx="12"/>
          </p:nvPr>
        </p:nvSpPr>
        <p:spPr/>
        <p:txBody>
          <a:bodyPr/>
          <a:lstStyle>
            <a:lvl1pPr>
              <a:defRPr>
                <a:solidFill>
                  <a:schemeClr val="accent1"/>
                </a:solidFill>
              </a:defRPr>
            </a:lvl1pPr>
          </a:lstStyle>
          <a:p>
            <a:fld id="{EF8DBD5B-30F9-4F9C-AE39-E065C1AC514D}" type="slidenum">
              <a:rPr lang="en-US" smtClean="0"/>
              <a:pPr/>
              <a:t>‹#›</a:t>
            </a:fld>
            <a:endParaRPr lang="en-US"/>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11039738" cy="1056590"/>
          </a:xfrm>
          <a:prstGeom prst="rect">
            <a:avLst/>
          </a:prstGeom>
        </p:spPr>
        <p:txBody>
          <a:bodyPr anchor="t">
            <a:noAutofit/>
          </a:bodyPr>
          <a:lstStyle>
            <a:lvl1pPr marL="0" indent="0">
              <a:lnSpc>
                <a:spcPct val="85000"/>
              </a:lnSpc>
              <a:spcBef>
                <a:spcPts val="0"/>
              </a:spcBef>
              <a:buNone/>
              <a:defRPr sz="2600" spc="40" baseline="0">
                <a:solidFill>
                  <a:schemeClr val="tx2"/>
                </a:solidFill>
              </a:defRPr>
            </a:lvl1pPr>
          </a:lstStyle>
          <a:p>
            <a:pPr lvl="0"/>
            <a:r>
              <a:rPr lang="en-GB"/>
              <a:t>Click to add a headline of maximum three lines</a:t>
            </a:r>
          </a:p>
          <a:p>
            <a:pPr lvl="0"/>
            <a:endParaRPr lang="en-GB"/>
          </a:p>
        </p:txBody>
      </p:sp>
      <p:grpSp>
        <p:nvGrpSpPr>
          <p:cNvPr id="23" name="Grupp 32">
            <a:extLst>
              <a:ext uri="{FF2B5EF4-FFF2-40B4-BE49-F238E27FC236}">
                <a16:creationId xmlns:a16="http://schemas.microsoft.com/office/drawing/2014/main" id="{8B03C48B-F907-BE43-A494-AFCA1EC37F3F}"/>
              </a:ext>
            </a:extLst>
          </p:cNvPr>
          <p:cNvGrpSpPr/>
          <p:nvPr userDrawn="1"/>
        </p:nvGrpSpPr>
        <p:grpSpPr>
          <a:xfrm>
            <a:off x="576140" y="6451484"/>
            <a:ext cx="615478" cy="91194"/>
            <a:chOff x="576140" y="6451484"/>
            <a:chExt cx="615478" cy="91194"/>
          </a:xfrm>
          <a:solidFill>
            <a:schemeClr val="tx2"/>
          </a:solidFill>
        </p:grpSpPr>
        <p:sp>
          <p:nvSpPr>
            <p:cNvPr id="24" name="Bild 2">
              <a:extLst>
                <a:ext uri="{FF2B5EF4-FFF2-40B4-BE49-F238E27FC236}">
                  <a16:creationId xmlns:a16="http://schemas.microsoft.com/office/drawing/2014/main" id="{539AD44F-4AF2-FF4F-9D06-17E1A4C28BBE}"/>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sv-SE">
                <a:solidFill>
                  <a:schemeClr val="tx2"/>
                </a:solidFill>
              </a:endParaRPr>
            </a:p>
          </p:txBody>
        </p:sp>
        <p:sp>
          <p:nvSpPr>
            <p:cNvPr id="25" name="Bild 2">
              <a:extLst>
                <a:ext uri="{FF2B5EF4-FFF2-40B4-BE49-F238E27FC236}">
                  <a16:creationId xmlns:a16="http://schemas.microsoft.com/office/drawing/2014/main" id="{5BE09178-ECA8-844A-B048-00F09827D6AE}"/>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sv-SE">
                <a:solidFill>
                  <a:schemeClr val="tx2"/>
                </a:solidFill>
              </a:endParaRPr>
            </a:p>
          </p:txBody>
        </p:sp>
        <p:sp>
          <p:nvSpPr>
            <p:cNvPr id="26" name="Bild 2">
              <a:extLst>
                <a:ext uri="{FF2B5EF4-FFF2-40B4-BE49-F238E27FC236}">
                  <a16:creationId xmlns:a16="http://schemas.microsoft.com/office/drawing/2014/main" id="{2869571E-38AE-8E44-A360-01C17E6F98BD}"/>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sv-SE">
                <a:solidFill>
                  <a:schemeClr val="tx2"/>
                </a:solidFill>
              </a:endParaRPr>
            </a:p>
          </p:txBody>
        </p:sp>
        <p:sp>
          <p:nvSpPr>
            <p:cNvPr id="27" name="Bild 2">
              <a:extLst>
                <a:ext uri="{FF2B5EF4-FFF2-40B4-BE49-F238E27FC236}">
                  <a16:creationId xmlns:a16="http://schemas.microsoft.com/office/drawing/2014/main" id="{BA7F8BE0-BC77-6840-BE67-8B740867F3BD}"/>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sv-SE">
                <a:solidFill>
                  <a:schemeClr val="tx2"/>
                </a:solidFill>
              </a:endParaRPr>
            </a:p>
          </p:txBody>
        </p:sp>
        <p:sp>
          <p:nvSpPr>
            <p:cNvPr id="28" name="Bild 2">
              <a:extLst>
                <a:ext uri="{FF2B5EF4-FFF2-40B4-BE49-F238E27FC236}">
                  <a16:creationId xmlns:a16="http://schemas.microsoft.com/office/drawing/2014/main" id="{244CF4A3-7B1A-3C41-94CF-1DA929D1D49B}"/>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sv-SE">
                <a:solidFill>
                  <a:schemeClr val="tx2"/>
                </a:solidFill>
              </a:endParaRPr>
            </a:p>
          </p:txBody>
        </p:sp>
        <p:sp>
          <p:nvSpPr>
            <p:cNvPr id="29" name="Bild 2">
              <a:extLst>
                <a:ext uri="{FF2B5EF4-FFF2-40B4-BE49-F238E27FC236}">
                  <a16:creationId xmlns:a16="http://schemas.microsoft.com/office/drawing/2014/main" id="{9B4D778E-499D-4744-AC87-93ABFC8BAD18}"/>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sv-SE">
                <a:solidFill>
                  <a:schemeClr val="tx2"/>
                </a:solidFill>
              </a:endParaRPr>
            </a:p>
          </p:txBody>
        </p:sp>
        <p:sp>
          <p:nvSpPr>
            <p:cNvPr id="30" name="Bild 2">
              <a:extLst>
                <a:ext uri="{FF2B5EF4-FFF2-40B4-BE49-F238E27FC236}">
                  <a16:creationId xmlns:a16="http://schemas.microsoft.com/office/drawing/2014/main" id="{15D52584-E231-3B47-A1E3-E875B68A82BF}"/>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sv-SE">
                <a:solidFill>
                  <a:schemeClr val="tx2"/>
                </a:solidFill>
              </a:endParaRPr>
            </a:p>
          </p:txBody>
        </p:sp>
      </p:grpSp>
      <p:sp>
        <p:nvSpPr>
          <p:cNvPr id="15" name="Platshållare för text 2">
            <a:extLst>
              <a:ext uri="{FF2B5EF4-FFF2-40B4-BE49-F238E27FC236}">
                <a16:creationId xmlns:a16="http://schemas.microsoft.com/office/drawing/2014/main" id="{F71CA44B-A516-DE48-8E00-49E05D1465C6}"/>
              </a:ext>
            </a:extLst>
          </p:cNvPr>
          <p:cNvSpPr>
            <a:spLocks noGrp="1"/>
          </p:cNvSpPr>
          <p:nvPr>
            <p:ph type="body" sz="quarter" idx="20" hasCustomPrompt="1"/>
          </p:nvPr>
        </p:nvSpPr>
        <p:spPr>
          <a:xfrm>
            <a:off x="576000" y="2098800"/>
            <a:ext cx="11039738" cy="4030663"/>
          </a:xfrm>
        </p:spPr>
        <p:txBody>
          <a:bodyPr numCol="3" spcCol="288000"/>
          <a:lstStyle/>
          <a:p>
            <a:pPr lvl="0"/>
            <a:r>
              <a:rPr lang="en-GB" noProof="0"/>
              <a:t>Click to add body text</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96542830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1 Title Start Image Blue">
    <p:bg>
      <p:bgPr>
        <a:solidFill>
          <a:schemeClr val="tx2"/>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65EEAE91-E57E-6747-89AA-18B1431204B2}"/>
              </a:ext>
            </a:extLst>
          </p:cNvPr>
          <p:cNvSpPr>
            <a:spLocks noGrp="1"/>
          </p:cNvSpPr>
          <p:nvPr>
            <p:ph type="pic" sz="quarter" idx="13" hasCustomPrompt="1"/>
          </p:nvPr>
        </p:nvSpPr>
        <p:spPr>
          <a:xfrm>
            <a:off x="3" y="3"/>
            <a:ext cx="12191998" cy="6857998"/>
          </a:xfrm>
          <a:custGeom>
            <a:avLst/>
            <a:gdLst>
              <a:gd name="connsiteX0" fmla="*/ 936965 w 12191998"/>
              <a:gd name="connsiteY0" fmla="*/ 389410 h 6857998"/>
              <a:gd name="connsiteX1" fmla="*/ 957275 w 12191998"/>
              <a:gd name="connsiteY1" fmla="*/ 449691 h 6857998"/>
              <a:gd name="connsiteX2" fmla="*/ 917304 w 12191998"/>
              <a:gd name="connsiteY2" fmla="*/ 449691 h 6857998"/>
              <a:gd name="connsiteX3" fmla="*/ 1553818 w 12191998"/>
              <a:gd name="connsiteY3" fmla="*/ 389410 h 6857998"/>
              <a:gd name="connsiteX4" fmla="*/ 1574127 w 12191998"/>
              <a:gd name="connsiteY4" fmla="*/ 449690 h 6857998"/>
              <a:gd name="connsiteX5" fmla="*/ 1534156 w 12191998"/>
              <a:gd name="connsiteY5" fmla="*/ 449690 h 6857998"/>
              <a:gd name="connsiteX6" fmla="*/ 1029007 w 12191998"/>
              <a:gd name="connsiteY6" fmla="*/ 356677 h 6857998"/>
              <a:gd name="connsiteX7" fmla="*/ 1029007 w 12191998"/>
              <a:gd name="connsiteY7" fmla="*/ 513753 h 6857998"/>
              <a:gd name="connsiteX8" fmla="*/ 1065413 w 12191998"/>
              <a:gd name="connsiteY8" fmla="*/ 513753 h 6857998"/>
              <a:gd name="connsiteX9" fmla="*/ 1065413 w 12191998"/>
              <a:gd name="connsiteY9" fmla="*/ 416850 h 6857998"/>
              <a:gd name="connsiteX10" fmla="*/ 1127963 w 12191998"/>
              <a:gd name="connsiteY10" fmla="*/ 513429 h 6857998"/>
              <a:gd name="connsiteX11" fmla="*/ 1127963 w 12191998"/>
              <a:gd name="connsiteY11" fmla="*/ 513753 h 6857998"/>
              <a:gd name="connsiteX12" fmla="*/ 1165665 w 12191998"/>
              <a:gd name="connsiteY12" fmla="*/ 513753 h 6857998"/>
              <a:gd name="connsiteX13" fmla="*/ 1165557 w 12191998"/>
              <a:gd name="connsiteY13" fmla="*/ 479831 h 6857998"/>
              <a:gd name="connsiteX14" fmla="*/ 1165341 w 12191998"/>
              <a:gd name="connsiteY14" fmla="*/ 356677 h 6857998"/>
              <a:gd name="connsiteX15" fmla="*/ 1129151 w 12191998"/>
              <a:gd name="connsiteY15" fmla="*/ 356677 h 6857998"/>
              <a:gd name="connsiteX16" fmla="*/ 1129151 w 12191998"/>
              <a:gd name="connsiteY16" fmla="*/ 455416 h 6857998"/>
              <a:gd name="connsiteX17" fmla="*/ 1066062 w 12191998"/>
              <a:gd name="connsiteY17" fmla="*/ 356677 h 6857998"/>
              <a:gd name="connsiteX18" fmla="*/ 913306 w 12191998"/>
              <a:gd name="connsiteY18" fmla="*/ 356677 h 6857998"/>
              <a:gd name="connsiteX19" fmla="*/ 858967 w 12191998"/>
              <a:gd name="connsiteY19" fmla="*/ 513753 h 6857998"/>
              <a:gd name="connsiteX20" fmla="*/ 897318 w 12191998"/>
              <a:gd name="connsiteY20" fmla="*/ 513753 h 6857998"/>
              <a:gd name="connsiteX21" fmla="*/ 907257 w 12191998"/>
              <a:gd name="connsiteY21" fmla="*/ 481668 h 6857998"/>
              <a:gd name="connsiteX22" fmla="*/ 967430 w 12191998"/>
              <a:gd name="connsiteY22" fmla="*/ 481668 h 6857998"/>
              <a:gd name="connsiteX23" fmla="*/ 977693 w 12191998"/>
              <a:gd name="connsiteY23" fmla="*/ 513753 h 6857998"/>
              <a:gd name="connsiteX24" fmla="*/ 1015503 w 12191998"/>
              <a:gd name="connsiteY24" fmla="*/ 513753 h 6857998"/>
              <a:gd name="connsiteX25" fmla="*/ 959543 w 12191998"/>
              <a:gd name="connsiteY25" fmla="*/ 356677 h 6857998"/>
              <a:gd name="connsiteX26" fmla="*/ 620219 w 12191998"/>
              <a:gd name="connsiteY26" fmla="*/ 356677 h 6857998"/>
              <a:gd name="connsiteX27" fmla="*/ 571498 w 12191998"/>
              <a:gd name="connsiteY27" fmla="*/ 404426 h 6857998"/>
              <a:gd name="connsiteX28" fmla="*/ 620219 w 12191998"/>
              <a:gd name="connsiteY28" fmla="*/ 450231 h 6857998"/>
              <a:gd name="connsiteX29" fmla="*/ 657382 w 12191998"/>
              <a:gd name="connsiteY29" fmla="*/ 450231 h 6857998"/>
              <a:gd name="connsiteX30" fmla="*/ 671534 w 12191998"/>
              <a:gd name="connsiteY30" fmla="*/ 464815 h 6857998"/>
              <a:gd name="connsiteX31" fmla="*/ 657382 w 12191998"/>
              <a:gd name="connsiteY31" fmla="*/ 479399 h 6857998"/>
              <a:gd name="connsiteX32" fmla="*/ 577764 w 12191998"/>
              <a:gd name="connsiteY32" fmla="*/ 479399 h 6857998"/>
              <a:gd name="connsiteX33" fmla="*/ 577764 w 12191998"/>
              <a:gd name="connsiteY33" fmla="*/ 513753 h 6857998"/>
              <a:gd name="connsiteX34" fmla="*/ 655977 w 12191998"/>
              <a:gd name="connsiteY34" fmla="*/ 513753 h 6857998"/>
              <a:gd name="connsiteX35" fmla="*/ 705347 w 12191998"/>
              <a:gd name="connsiteY35" fmla="*/ 464815 h 6857998"/>
              <a:gd name="connsiteX36" fmla="*/ 662999 w 12191998"/>
              <a:gd name="connsiteY36" fmla="*/ 419010 h 6857998"/>
              <a:gd name="connsiteX37" fmla="*/ 620219 w 12191998"/>
              <a:gd name="connsiteY37" fmla="*/ 419010 h 6857998"/>
              <a:gd name="connsiteX38" fmla="*/ 605419 w 12191998"/>
              <a:gd name="connsiteY38" fmla="*/ 404426 h 6857998"/>
              <a:gd name="connsiteX39" fmla="*/ 620219 w 12191998"/>
              <a:gd name="connsiteY39" fmla="*/ 389842 h 6857998"/>
              <a:gd name="connsiteX40" fmla="*/ 694436 w 12191998"/>
              <a:gd name="connsiteY40" fmla="*/ 389842 h 6857998"/>
              <a:gd name="connsiteX41" fmla="*/ 694436 w 12191998"/>
              <a:gd name="connsiteY41" fmla="*/ 356677 h 6857998"/>
              <a:gd name="connsiteX42" fmla="*/ 1530159 w 12191998"/>
              <a:gd name="connsiteY42" fmla="*/ 356676 h 6857998"/>
              <a:gd name="connsiteX43" fmla="*/ 1475928 w 12191998"/>
              <a:gd name="connsiteY43" fmla="*/ 513752 h 6857998"/>
              <a:gd name="connsiteX44" fmla="*/ 1514278 w 12191998"/>
              <a:gd name="connsiteY44" fmla="*/ 513752 h 6857998"/>
              <a:gd name="connsiteX45" fmla="*/ 1524217 w 12191998"/>
              <a:gd name="connsiteY45" fmla="*/ 481668 h 6857998"/>
              <a:gd name="connsiteX46" fmla="*/ 1584390 w 12191998"/>
              <a:gd name="connsiteY46" fmla="*/ 481668 h 6857998"/>
              <a:gd name="connsiteX47" fmla="*/ 1594653 w 12191998"/>
              <a:gd name="connsiteY47" fmla="*/ 513752 h 6857998"/>
              <a:gd name="connsiteX48" fmla="*/ 1632356 w 12191998"/>
              <a:gd name="connsiteY48" fmla="*/ 513752 h 6857998"/>
              <a:gd name="connsiteX49" fmla="*/ 1576396 w 12191998"/>
              <a:gd name="connsiteY49" fmla="*/ 356676 h 6857998"/>
              <a:gd name="connsiteX50" fmla="*/ 1236424 w 12191998"/>
              <a:gd name="connsiteY50" fmla="*/ 356676 h 6857998"/>
              <a:gd name="connsiteX51" fmla="*/ 1187702 w 12191998"/>
              <a:gd name="connsiteY51" fmla="*/ 404426 h 6857998"/>
              <a:gd name="connsiteX52" fmla="*/ 1236424 w 12191998"/>
              <a:gd name="connsiteY52" fmla="*/ 450231 h 6857998"/>
              <a:gd name="connsiteX53" fmla="*/ 1273587 w 12191998"/>
              <a:gd name="connsiteY53" fmla="*/ 450231 h 6857998"/>
              <a:gd name="connsiteX54" fmla="*/ 1287739 w 12191998"/>
              <a:gd name="connsiteY54" fmla="*/ 464815 h 6857998"/>
              <a:gd name="connsiteX55" fmla="*/ 1273587 w 12191998"/>
              <a:gd name="connsiteY55" fmla="*/ 479399 h 6857998"/>
              <a:gd name="connsiteX56" fmla="*/ 1194076 w 12191998"/>
              <a:gd name="connsiteY56" fmla="*/ 479399 h 6857998"/>
              <a:gd name="connsiteX57" fmla="*/ 1194076 w 12191998"/>
              <a:gd name="connsiteY57" fmla="*/ 513752 h 6857998"/>
              <a:gd name="connsiteX58" fmla="*/ 1272290 w 12191998"/>
              <a:gd name="connsiteY58" fmla="*/ 513752 h 6857998"/>
              <a:gd name="connsiteX59" fmla="*/ 1321660 w 12191998"/>
              <a:gd name="connsiteY59" fmla="*/ 464815 h 6857998"/>
              <a:gd name="connsiteX60" fmla="*/ 1279204 w 12191998"/>
              <a:gd name="connsiteY60" fmla="*/ 419010 h 6857998"/>
              <a:gd name="connsiteX61" fmla="*/ 1236424 w 12191998"/>
              <a:gd name="connsiteY61" fmla="*/ 419010 h 6857998"/>
              <a:gd name="connsiteX62" fmla="*/ 1221624 w 12191998"/>
              <a:gd name="connsiteY62" fmla="*/ 404426 h 6857998"/>
              <a:gd name="connsiteX63" fmla="*/ 1236424 w 12191998"/>
              <a:gd name="connsiteY63" fmla="*/ 389842 h 6857998"/>
              <a:gd name="connsiteX64" fmla="*/ 1310641 w 12191998"/>
              <a:gd name="connsiteY64" fmla="*/ 389842 h 6857998"/>
              <a:gd name="connsiteX65" fmla="*/ 1310641 w 12191998"/>
              <a:gd name="connsiteY65" fmla="*/ 356676 h 6857998"/>
              <a:gd name="connsiteX66" fmla="*/ 726522 w 12191998"/>
              <a:gd name="connsiteY66" fmla="*/ 356568 h 6857998"/>
              <a:gd name="connsiteX67" fmla="*/ 726522 w 12191998"/>
              <a:gd name="connsiteY67" fmla="*/ 513752 h 6857998"/>
              <a:gd name="connsiteX68" fmla="*/ 762712 w 12191998"/>
              <a:gd name="connsiteY68" fmla="*/ 513752 h 6857998"/>
              <a:gd name="connsiteX69" fmla="*/ 762712 w 12191998"/>
              <a:gd name="connsiteY69" fmla="*/ 447422 h 6857998"/>
              <a:gd name="connsiteX70" fmla="*/ 814351 w 12191998"/>
              <a:gd name="connsiteY70" fmla="*/ 513752 h 6857998"/>
              <a:gd name="connsiteX71" fmla="*/ 856699 w 12191998"/>
              <a:gd name="connsiteY71" fmla="*/ 513752 h 6857998"/>
              <a:gd name="connsiteX72" fmla="*/ 797174 w 12191998"/>
              <a:gd name="connsiteY72" fmla="*/ 435214 h 6857998"/>
              <a:gd name="connsiteX73" fmla="*/ 856699 w 12191998"/>
              <a:gd name="connsiteY73" fmla="*/ 356568 h 6857998"/>
              <a:gd name="connsiteX74" fmla="*/ 814351 w 12191998"/>
              <a:gd name="connsiteY74" fmla="*/ 356568 h 6857998"/>
              <a:gd name="connsiteX75" fmla="*/ 762712 w 12191998"/>
              <a:gd name="connsiteY75" fmla="*/ 422899 h 6857998"/>
              <a:gd name="connsiteX76" fmla="*/ 762712 w 12191998"/>
              <a:gd name="connsiteY76" fmla="*/ 356568 h 6857998"/>
              <a:gd name="connsiteX77" fmla="*/ 1343374 w 12191998"/>
              <a:gd name="connsiteY77" fmla="*/ 356568 h 6857998"/>
              <a:gd name="connsiteX78" fmla="*/ 1343374 w 12191998"/>
              <a:gd name="connsiteY78" fmla="*/ 513752 h 6857998"/>
              <a:gd name="connsiteX79" fmla="*/ 1379673 w 12191998"/>
              <a:gd name="connsiteY79" fmla="*/ 513752 h 6857998"/>
              <a:gd name="connsiteX80" fmla="*/ 1379673 w 12191998"/>
              <a:gd name="connsiteY80" fmla="*/ 447422 h 6857998"/>
              <a:gd name="connsiteX81" fmla="*/ 1431311 w 12191998"/>
              <a:gd name="connsiteY81" fmla="*/ 513752 h 6857998"/>
              <a:gd name="connsiteX82" fmla="*/ 1473551 w 12191998"/>
              <a:gd name="connsiteY82" fmla="*/ 513752 h 6857998"/>
              <a:gd name="connsiteX83" fmla="*/ 1414134 w 12191998"/>
              <a:gd name="connsiteY83" fmla="*/ 435214 h 6857998"/>
              <a:gd name="connsiteX84" fmla="*/ 1473551 w 12191998"/>
              <a:gd name="connsiteY84" fmla="*/ 356568 h 6857998"/>
              <a:gd name="connsiteX85" fmla="*/ 1431311 w 12191998"/>
              <a:gd name="connsiteY85" fmla="*/ 356568 h 6857998"/>
              <a:gd name="connsiteX86" fmla="*/ 1379673 w 12191998"/>
              <a:gd name="connsiteY86" fmla="*/ 422899 h 6857998"/>
              <a:gd name="connsiteX87" fmla="*/ 1379673 w 12191998"/>
              <a:gd name="connsiteY87" fmla="*/ 356568 h 6857998"/>
              <a:gd name="connsiteX88" fmla="*/ 0 w 12191998"/>
              <a:gd name="connsiteY88" fmla="*/ 0 h 6857998"/>
              <a:gd name="connsiteX89" fmla="*/ 12191998 w 12191998"/>
              <a:gd name="connsiteY89" fmla="*/ 0 h 6857998"/>
              <a:gd name="connsiteX90" fmla="*/ 12191998 w 12191998"/>
              <a:gd name="connsiteY90" fmla="*/ 6857998 h 6857998"/>
              <a:gd name="connsiteX91" fmla="*/ 0 w 12191998"/>
              <a:gd name="connsiteY91"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8" h="6857998">
                <a:moveTo>
                  <a:pt x="936965" y="389410"/>
                </a:moveTo>
                <a:lnTo>
                  <a:pt x="957275" y="449691"/>
                </a:lnTo>
                <a:lnTo>
                  <a:pt x="917304" y="449691"/>
                </a:lnTo>
                <a:close/>
                <a:moveTo>
                  <a:pt x="1553818" y="389410"/>
                </a:moveTo>
                <a:lnTo>
                  <a:pt x="1574127" y="449690"/>
                </a:lnTo>
                <a:lnTo>
                  <a:pt x="1534156" y="449690"/>
                </a:lnTo>
                <a:close/>
                <a:moveTo>
                  <a:pt x="1029007" y="356677"/>
                </a:moveTo>
                <a:lnTo>
                  <a:pt x="1029007" y="513753"/>
                </a:lnTo>
                <a:lnTo>
                  <a:pt x="1065413" y="513753"/>
                </a:lnTo>
                <a:lnTo>
                  <a:pt x="1065413" y="416850"/>
                </a:lnTo>
                <a:lnTo>
                  <a:pt x="1127963" y="513429"/>
                </a:lnTo>
                <a:lnTo>
                  <a:pt x="1127963" y="513753"/>
                </a:lnTo>
                <a:lnTo>
                  <a:pt x="1165665" y="513753"/>
                </a:lnTo>
                <a:lnTo>
                  <a:pt x="1165557" y="479831"/>
                </a:lnTo>
                <a:lnTo>
                  <a:pt x="1165341" y="356677"/>
                </a:lnTo>
                <a:lnTo>
                  <a:pt x="1129151" y="356677"/>
                </a:lnTo>
                <a:lnTo>
                  <a:pt x="1129151" y="455416"/>
                </a:lnTo>
                <a:lnTo>
                  <a:pt x="1066062" y="356677"/>
                </a:lnTo>
                <a:close/>
                <a:moveTo>
                  <a:pt x="913306" y="356677"/>
                </a:moveTo>
                <a:lnTo>
                  <a:pt x="858967" y="513753"/>
                </a:lnTo>
                <a:lnTo>
                  <a:pt x="897318" y="513753"/>
                </a:lnTo>
                <a:lnTo>
                  <a:pt x="907257" y="481668"/>
                </a:lnTo>
                <a:lnTo>
                  <a:pt x="967430" y="481668"/>
                </a:lnTo>
                <a:lnTo>
                  <a:pt x="977693" y="513753"/>
                </a:lnTo>
                <a:lnTo>
                  <a:pt x="1015503" y="513753"/>
                </a:lnTo>
                <a:lnTo>
                  <a:pt x="959543" y="356677"/>
                </a:lnTo>
                <a:close/>
                <a:moveTo>
                  <a:pt x="620219" y="356677"/>
                </a:moveTo>
                <a:cubicBezTo>
                  <a:pt x="589863" y="356677"/>
                  <a:pt x="571498" y="374393"/>
                  <a:pt x="571498" y="404426"/>
                </a:cubicBezTo>
                <a:cubicBezTo>
                  <a:pt x="571498" y="434458"/>
                  <a:pt x="592780" y="450231"/>
                  <a:pt x="620219" y="450231"/>
                </a:cubicBezTo>
                <a:lnTo>
                  <a:pt x="657382" y="450231"/>
                </a:lnTo>
                <a:cubicBezTo>
                  <a:pt x="666780" y="450231"/>
                  <a:pt x="671534" y="457361"/>
                  <a:pt x="671534" y="464815"/>
                </a:cubicBezTo>
                <a:cubicBezTo>
                  <a:pt x="671534" y="472485"/>
                  <a:pt x="666780" y="479399"/>
                  <a:pt x="657382" y="479399"/>
                </a:cubicBezTo>
                <a:lnTo>
                  <a:pt x="577764" y="479399"/>
                </a:lnTo>
                <a:lnTo>
                  <a:pt x="577764" y="513753"/>
                </a:lnTo>
                <a:lnTo>
                  <a:pt x="655977" y="513753"/>
                </a:lnTo>
                <a:cubicBezTo>
                  <a:pt x="686982" y="513753"/>
                  <a:pt x="705347" y="496684"/>
                  <a:pt x="705347" y="464815"/>
                </a:cubicBezTo>
                <a:cubicBezTo>
                  <a:pt x="705347" y="436079"/>
                  <a:pt x="686982" y="419010"/>
                  <a:pt x="662999" y="419010"/>
                </a:cubicBezTo>
                <a:lnTo>
                  <a:pt x="620219" y="419010"/>
                </a:lnTo>
                <a:cubicBezTo>
                  <a:pt x="610173" y="419010"/>
                  <a:pt x="605419" y="412096"/>
                  <a:pt x="605419" y="404426"/>
                </a:cubicBezTo>
                <a:cubicBezTo>
                  <a:pt x="605419" y="396756"/>
                  <a:pt x="610173" y="389842"/>
                  <a:pt x="620219" y="389842"/>
                </a:cubicBezTo>
                <a:lnTo>
                  <a:pt x="694436" y="389842"/>
                </a:lnTo>
                <a:lnTo>
                  <a:pt x="694436" y="356677"/>
                </a:lnTo>
                <a:close/>
                <a:moveTo>
                  <a:pt x="1530159" y="356676"/>
                </a:moveTo>
                <a:lnTo>
                  <a:pt x="1475928" y="513752"/>
                </a:lnTo>
                <a:lnTo>
                  <a:pt x="1514278" y="513752"/>
                </a:lnTo>
                <a:lnTo>
                  <a:pt x="1524217" y="481668"/>
                </a:lnTo>
                <a:lnTo>
                  <a:pt x="1584390" y="481668"/>
                </a:lnTo>
                <a:lnTo>
                  <a:pt x="1594653" y="513752"/>
                </a:lnTo>
                <a:lnTo>
                  <a:pt x="1632356" y="513752"/>
                </a:lnTo>
                <a:lnTo>
                  <a:pt x="1576396" y="356676"/>
                </a:lnTo>
                <a:close/>
                <a:moveTo>
                  <a:pt x="1236424" y="356676"/>
                </a:moveTo>
                <a:cubicBezTo>
                  <a:pt x="1206176" y="356676"/>
                  <a:pt x="1187702" y="374393"/>
                  <a:pt x="1187702" y="404426"/>
                </a:cubicBezTo>
                <a:cubicBezTo>
                  <a:pt x="1187702" y="434458"/>
                  <a:pt x="1208984" y="450231"/>
                  <a:pt x="1236424" y="450231"/>
                </a:cubicBezTo>
                <a:lnTo>
                  <a:pt x="1273587" y="450231"/>
                </a:lnTo>
                <a:cubicBezTo>
                  <a:pt x="1282985" y="450231"/>
                  <a:pt x="1287739" y="457360"/>
                  <a:pt x="1287739" y="464815"/>
                </a:cubicBezTo>
                <a:cubicBezTo>
                  <a:pt x="1287739" y="472485"/>
                  <a:pt x="1282985" y="479399"/>
                  <a:pt x="1273587" y="479399"/>
                </a:cubicBezTo>
                <a:lnTo>
                  <a:pt x="1194076" y="479399"/>
                </a:lnTo>
                <a:lnTo>
                  <a:pt x="1194076" y="513752"/>
                </a:lnTo>
                <a:lnTo>
                  <a:pt x="1272290" y="513752"/>
                </a:lnTo>
                <a:cubicBezTo>
                  <a:pt x="1303295" y="513752"/>
                  <a:pt x="1321660" y="496684"/>
                  <a:pt x="1321660" y="464815"/>
                </a:cubicBezTo>
                <a:cubicBezTo>
                  <a:pt x="1321660" y="436079"/>
                  <a:pt x="1303187" y="419010"/>
                  <a:pt x="1279204" y="419010"/>
                </a:cubicBezTo>
                <a:lnTo>
                  <a:pt x="1236424" y="419010"/>
                </a:lnTo>
                <a:cubicBezTo>
                  <a:pt x="1226377" y="419010"/>
                  <a:pt x="1221624" y="412096"/>
                  <a:pt x="1221624" y="404426"/>
                </a:cubicBezTo>
                <a:cubicBezTo>
                  <a:pt x="1221624" y="396756"/>
                  <a:pt x="1226377" y="389842"/>
                  <a:pt x="1236424" y="389842"/>
                </a:cubicBezTo>
                <a:lnTo>
                  <a:pt x="1310641" y="389842"/>
                </a:lnTo>
                <a:lnTo>
                  <a:pt x="1310641" y="356676"/>
                </a:lnTo>
                <a:close/>
                <a:moveTo>
                  <a:pt x="726522" y="356568"/>
                </a:moveTo>
                <a:lnTo>
                  <a:pt x="726522" y="513752"/>
                </a:lnTo>
                <a:lnTo>
                  <a:pt x="762712" y="513752"/>
                </a:lnTo>
                <a:lnTo>
                  <a:pt x="762712" y="447422"/>
                </a:lnTo>
                <a:lnTo>
                  <a:pt x="814351" y="513752"/>
                </a:lnTo>
                <a:lnTo>
                  <a:pt x="856699" y="513752"/>
                </a:lnTo>
                <a:lnTo>
                  <a:pt x="797174" y="435214"/>
                </a:lnTo>
                <a:lnTo>
                  <a:pt x="856699" y="356568"/>
                </a:lnTo>
                <a:lnTo>
                  <a:pt x="814351" y="356568"/>
                </a:lnTo>
                <a:lnTo>
                  <a:pt x="762712" y="422899"/>
                </a:lnTo>
                <a:lnTo>
                  <a:pt x="762712" y="356568"/>
                </a:lnTo>
                <a:close/>
                <a:moveTo>
                  <a:pt x="1343374" y="356568"/>
                </a:moveTo>
                <a:lnTo>
                  <a:pt x="1343374" y="513752"/>
                </a:lnTo>
                <a:lnTo>
                  <a:pt x="1379673" y="513752"/>
                </a:lnTo>
                <a:lnTo>
                  <a:pt x="1379673" y="447422"/>
                </a:lnTo>
                <a:lnTo>
                  <a:pt x="1431311" y="513752"/>
                </a:lnTo>
                <a:lnTo>
                  <a:pt x="1473551" y="513752"/>
                </a:lnTo>
                <a:lnTo>
                  <a:pt x="1414134" y="435214"/>
                </a:lnTo>
                <a:lnTo>
                  <a:pt x="1473551" y="356568"/>
                </a:lnTo>
                <a:lnTo>
                  <a:pt x="1431311" y="356568"/>
                </a:lnTo>
                <a:lnTo>
                  <a:pt x="1379673" y="422899"/>
                </a:lnTo>
                <a:lnTo>
                  <a:pt x="1379673" y="356568"/>
                </a:lnTo>
                <a:close/>
                <a:moveTo>
                  <a:pt x="0" y="0"/>
                </a:moveTo>
                <a:lnTo>
                  <a:pt x="12191998" y="0"/>
                </a:lnTo>
                <a:lnTo>
                  <a:pt x="12191998" y="6857998"/>
                </a:lnTo>
                <a:lnTo>
                  <a:pt x="0" y="6857998"/>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GB"/>
              <a:t>Click on the icon to add an image</a:t>
            </a:r>
          </a:p>
        </p:txBody>
      </p:sp>
      <p:sp>
        <p:nvSpPr>
          <p:cNvPr id="17" name="Text Placeholder 18">
            <a:extLst>
              <a:ext uri="{FF2B5EF4-FFF2-40B4-BE49-F238E27FC236}">
                <a16:creationId xmlns:a16="http://schemas.microsoft.com/office/drawing/2014/main" id="{8FE87EE4-F8DA-4F40-B4CD-A892BA20AD03}"/>
              </a:ext>
            </a:extLst>
          </p:cNvPr>
          <p:cNvSpPr>
            <a:spLocks noGrp="1"/>
          </p:cNvSpPr>
          <p:nvPr>
            <p:ph type="body" sz="quarter" idx="14" hasCustomPrompt="1"/>
          </p:nvPr>
        </p:nvSpPr>
        <p:spPr>
          <a:xfrm>
            <a:off x="576000" y="1845591"/>
            <a:ext cx="5665788" cy="1903912"/>
          </a:xfrm>
          <a:prstGeom prst="rect">
            <a:avLst/>
          </a:prstGeom>
        </p:spPr>
        <p:txBody>
          <a:bodyPr anchor="b">
            <a:noAutofit/>
          </a:bodyPr>
          <a:lstStyle>
            <a:lvl1pPr marL="0" indent="0">
              <a:lnSpc>
                <a:spcPct val="85000"/>
              </a:lnSpc>
              <a:spcBef>
                <a:spcPts val="0"/>
              </a:spcBef>
              <a:buNone/>
              <a:defRPr sz="4200" spc="40" baseline="0">
                <a:solidFill>
                  <a:schemeClr val="accent1"/>
                </a:solidFill>
              </a:defRPr>
            </a:lvl1pPr>
          </a:lstStyle>
          <a:p>
            <a:pPr lvl="0"/>
            <a:r>
              <a:rPr lang="en-GB"/>
              <a:t>Click to add a headline </a:t>
            </a:r>
            <a:br>
              <a:rPr lang="en-GB"/>
            </a:br>
            <a:r>
              <a:rPr lang="en-GB"/>
              <a:t>of maximum two lines</a:t>
            </a:r>
          </a:p>
        </p:txBody>
      </p:sp>
      <p:sp>
        <p:nvSpPr>
          <p:cNvPr id="18" name="Text Placeholder 18">
            <a:extLst>
              <a:ext uri="{FF2B5EF4-FFF2-40B4-BE49-F238E27FC236}">
                <a16:creationId xmlns:a16="http://schemas.microsoft.com/office/drawing/2014/main" id="{599C1913-26BB-DD40-827B-9C508080F48A}"/>
              </a:ext>
            </a:extLst>
          </p:cNvPr>
          <p:cNvSpPr>
            <a:spLocks noGrp="1"/>
          </p:cNvSpPr>
          <p:nvPr>
            <p:ph type="body" sz="quarter" idx="15" hasCustomPrompt="1"/>
          </p:nvPr>
        </p:nvSpPr>
        <p:spPr>
          <a:xfrm>
            <a:off x="576000" y="3915585"/>
            <a:ext cx="3773171" cy="646331"/>
          </a:xfrm>
          <a:prstGeom prst="rect">
            <a:avLst/>
          </a:prstGeom>
        </p:spPr>
        <p:txBody>
          <a:bodyPr anchor="t">
            <a:noAutofit/>
          </a:bodyPr>
          <a:lstStyle>
            <a:lvl1pPr marL="0" indent="0">
              <a:lnSpc>
                <a:spcPct val="100000"/>
              </a:lnSpc>
              <a:spcBef>
                <a:spcPts val="0"/>
              </a:spcBef>
              <a:buNone/>
              <a:defRPr sz="1400" spc="70" baseline="0">
                <a:solidFill>
                  <a:schemeClr val="accent1"/>
                </a:solidFill>
              </a:defRPr>
            </a:lvl1pPr>
          </a:lstStyle>
          <a:p>
            <a:pPr lvl="0"/>
            <a:r>
              <a:rPr lang="en-GB"/>
              <a:t>Click to add name </a:t>
            </a:r>
            <a:br>
              <a:rPr lang="en-GB"/>
            </a:br>
            <a:r>
              <a:rPr lang="en-GB"/>
              <a:t>Title, Business Unit</a:t>
            </a:r>
          </a:p>
          <a:p>
            <a:pPr lvl="0"/>
            <a:r>
              <a:rPr lang="en-GB"/>
              <a:t>And Date</a:t>
            </a:r>
          </a:p>
        </p:txBody>
      </p:sp>
      <p:sp>
        <p:nvSpPr>
          <p:cNvPr id="4" name="Date Placeholder 3">
            <a:extLst>
              <a:ext uri="{FF2B5EF4-FFF2-40B4-BE49-F238E27FC236}">
                <a16:creationId xmlns:a16="http://schemas.microsoft.com/office/drawing/2014/main" id="{5D196A54-183F-F74B-8324-CF71A0711D30}"/>
              </a:ext>
            </a:extLst>
          </p:cNvPr>
          <p:cNvSpPr>
            <a:spLocks noGrp="1"/>
          </p:cNvSpPr>
          <p:nvPr>
            <p:ph type="dt" sz="half" idx="16"/>
          </p:nvPr>
        </p:nvSpPr>
        <p:spPr/>
        <p:txBody>
          <a:bodyPr/>
          <a:lstStyle/>
          <a:p>
            <a:fld id="{6ACE0C8D-D801-4ECB-9A53-3759611A91E8}" type="datetime1">
              <a:rPr lang="sv-SE" smtClean="0"/>
              <a:t>2025-11-07</a:t>
            </a:fld>
            <a:endParaRPr lang="en-US"/>
          </a:p>
        </p:txBody>
      </p:sp>
      <p:sp>
        <p:nvSpPr>
          <p:cNvPr id="5" name="Footer Placeholder 4">
            <a:extLst>
              <a:ext uri="{FF2B5EF4-FFF2-40B4-BE49-F238E27FC236}">
                <a16:creationId xmlns:a16="http://schemas.microsoft.com/office/drawing/2014/main" id="{24EAD065-7888-074E-B49D-63044E991CC7}"/>
              </a:ext>
            </a:extLst>
          </p:cNvPr>
          <p:cNvSpPr>
            <a:spLocks noGrp="1"/>
          </p:cNvSpPr>
          <p:nvPr>
            <p:ph type="ftr" sz="quarter" idx="17"/>
          </p:nvPr>
        </p:nvSpPr>
        <p:spPr/>
        <p:txBody>
          <a:bodyPr/>
          <a:lstStyle/>
          <a:p>
            <a:r>
              <a:rPr lang="en-US"/>
              <a:t>Go to header/footer to change text </a:t>
            </a:r>
          </a:p>
        </p:txBody>
      </p:sp>
      <p:sp>
        <p:nvSpPr>
          <p:cNvPr id="6" name="Slide Number Placeholder 5">
            <a:extLst>
              <a:ext uri="{FF2B5EF4-FFF2-40B4-BE49-F238E27FC236}">
                <a16:creationId xmlns:a16="http://schemas.microsoft.com/office/drawing/2014/main" id="{488314F0-66D5-A844-9A11-CB77ADE28DCE}"/>
              </a:ext>
            </a:extLst>
          </p:cNvPr>
          <p:cNvSpPr>
            <a:spLocks noGrp="1"/>
          </p:cNvSpPr>
          <p:nvPr>
            <p:ph type="sldNum" sz="quarter" idx="18"/>
          </p:nvPr>
        </p:nvSpPr>
        <p:spPr/>
        <p:txBody>
          <a:bodyPr/>
          <a:lstStyle/>
          <a:p>
            <a:fld id="{EF8DBD5B-30F9-4F9C-AE39-E065C1AC514D}" type="slidenum">
              <a:rPr lang="en-US" smtClean="0"/>
              <a:pPr/>
              <a:t>‹#›</a:t>
            </a:fld>
            <a:endParaRPr lang="en-US"/>
          </a:p>
        </p:txBody>
      </p:sp>
      <p:sp>
        <p:nvSpPr>
          <p:cNvPr id="8" name="textruta 5">
            <a:extLst>
              <a:ext uri="{FF2B5EF4-FFF2-40B4-BE49-F238E27FC236}">
                <a16:creationId xmlns:a16="http://schemas.microsoft.com/office/drawing/2014/main" id="{753B49A9-6373-BE4F-ABC3-64C5AB184A78}"/>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GB" sz="900" baseline="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GB" sz="900" b="1" baseline="0">
                <a:solidFill>
                  <a:schemeClr val="tx1">
                    <a:lumMod val="65000"/>
                    <a:lumOff val="35000"/>
                  </a:schemeClr>
                </a:solidFill>
                <a:latin typeface="Arial" panose="020B0604020202020204" pitchFamily="34" charset="0"/>
                <a:cs typeface="Arial" panose="020B0604020202020204" pitchFamily="34" charset="0"/>
              </a:rPr>
              <a:t>right click the image </a:t>
            </a:r>
            <a:r>
              <a:rPr lang="en-GB" sz="900" baseline="0">
                <a:solidFill>
                  <a:schemeClr val="tx1">
                    <a:lumMod val="65000"/>
                    <a:lumOff val="35000"/>
                  </a:schemeClr>
                </a:solidFill>
                <a:latin typeface="Arial" panose="020B0604020202020204" pitchFamily="34" charset="0"/>
                <a:cs typeface="Arial" panose="020B0604020202020204" pitchFamily="34" charset="0"/>
              </a:rPr>
              <a:t>and use – </a:t>
            </a:r>
            <a:r>
              <a:rPr lang="en-GB" sz="900" b="1">
                <a:solidFill>
                  <a:schemeClr val="tx1">
                    <a:lumMod val="65000"/>
                    <a:lumOff val="35000"/>
                  </a:schemeClr>
                </a:solidFill>
                <a:latin typeface="Arial" panose="020B0604020202020204" pitchFamily="34" charset="0"/>
                <a:cs typeface="Arial" panose="020B0604020202020204" pitchFamily="34" charset="0"/>
              </a:rPr>
              <a:t>S</a:t>
            </a:r>
            <a:r>
              <a:rPr lang="en-GB" sz="900" b="1" baseline="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04E0EF0D-7851-6B40-A1EB-F8EEC09B316C}"/>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GB" sz="900" baseline="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GB" sz="900" b="1" baseline="0">
                <a:solidFill>
                  <a:schemeClr val="tx1">
                    <a:lumMod val="65000"/>
                    <a:lumOff val="35000"/>
                  </a:schemeClr>
                </a:solidFill>
                <a:latin typeface="Arial" panose="020B0604020202020204" pitchFamily="34" charset="0"/>
                <a:cs typeface="Arial" panose="020B0604020202020204" pitchFamily="34" charset="0"/>
              </a:rPr>
              <a:t>Format Background </a:t>
            </a:r>
            <a:r>
              <a:rPr lang="en-GB" sz="900" baseline="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GB" sz="900" b="1" baseline="0">
                <a:solidFill>
                  <a:schemeClr val="tx1">
                    <a:lumMod val="65000"/>
                    <a:lumOff val="35000"/>
                  </a:schemeClr>
                </a:solidFill>
                <a:latin typeface="Arial" panose="020B0604020202020204" pitchFamily="34" charset="0"/>
                <a:cs typeface="Arial" panose="020B0604020202020204" pitchFamily="34" charset="0"/>
              </a:rPr>
              <a:t>Solid fill</a:t>
            </a:r>
            <a:r>
              <a:rPr lang="en-GB" sz="900" baseline="0">
                <a:solidFill>
                  <a:schemeClr val="tx1">
                    <a:lumMod val="65000"/>
                    <a:lumOff val="35000"/>
                  </a:schemeClr>
                </a:solidFill>
                <a:latin typeface="Arial" panose="020B0604020202020204" pitchFamily="34" charset="0"/>
                <a:cs typeface="Arial" panose="020B0604020202020204" pitchFamily="34" charset="0"/>
              </a:rPr>
              <a:t> – </a:t>
            </a:r>
            <a:r>
              <a:rPr lang="en-GB" sz="900" b="1" baseline="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GB" sz="900" baseline="0">
              <a:solidFill>
                <a:schemeClr val="tx1">
                  <a:lumMod val="65000"/>
                  <a:lumOff val="35000"/>
                </a:schemeClr>
              </a:solidFill>
              <a:latin typeface="Arial" panose="020B0604020202020204" pitchFamily="34" charset="0"/>
              <a:cs typeface="Arial" panose="020B0604020202020204" pitchFamily="34" charset="0"/>
            </a:endParaRPr>
          </a:p>
          <a:p>
            <a:pPr algn="ctr"/>
            <a:endParaRPr lang="en-GB" sz="900" baseline="0">
              <a:solidFill>
                <a:schemeClr val="tx1">
                  <a:lumMod val="65000"/>
                  <a:lumOff val="35000"/>
                </a:schemeClr>
              </a:solidFill>
              <a:latin typeface="Arial" panose="020B0604020202020204" pitchFamily="34" charset="0"/>
              <a:cs typeface="Arial" panose="020B0604020202020204" pitchFamily="34" charset="0"/>
            </a:endParaRPr>
          </a:p>
          <a:p>
            <a:pPr algn="ctr"/>
            <a:endParaRPr lang="en-GB" sz="900" baseline="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A0AE1B99-39ED-B84C-B91C-49AAA1356FB8}"/>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ktangel 10">
            <a:extLst>
              <a:ext uri="{FF2B5EF4-FFF2-40B4-BE49-F238E27FC236}">
                <a16:creationId xmlns:a16="http://schemas.microsoft.com/office/drawing/2014/main" id="{76FFDE6E-E3A0-B64F-B635-EC4F5335CBB1}"/>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92925265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6 Tekst med halvbil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83718FC5-379A-3343-904E-06A5A117D84C}"/>
              </a:ext>
            </a:extLst>
          </p:cNvPr>
          <p:cNvSpPr>
            <a:spLocks noGrp="1"/>
          </p:cNvSpPr>
          <p:nvPr>
            <p:ph type="pic" sz="quarter" idx="18" hasCustomPrompt="1"/>
          </p:nvPr>
        </p:nvSpPr>
        <p:spPr>
          <a:xfrm>
            <a:off x="6094413" y="0"/>
            <a:ext cx="6095997" cy="6857997"/>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tx2"/>
                </a:solidFill>
              </a:defRPr>
            </a:lvl1pPr>
          </a:lstStyle>
          <a:p>
            <a:r>
              <a:rPr lang="nb-NO" noProof="0"/>
              <a:t>Klikk på ikonet for å legge til et bilde
</a:t>
            </a:r>
            <a:endParaRPr lang="en-US" noProof="0"/>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31027"/>
            <a:ext cx="5367178" cy="1365942"/>
          </a:xfrm>
          <a:prstGeom prst="rect">
            <a:avLst/>
          </a:prstGeom>
        </p:spPr>
        <p:txBody>
          <a:bodyPr anchor="t">
            <a:noAutofit/>
          </a:bodyPr>
          <a:lstStyle>
            <a:lvl1pPr marL="0" indent="0">
              <a:lnSpc>
                <a:spcPct val="85000"/>
              </a:lnSpc>
              <a:spcBef>
                <a:spcPts val="0"/>
              </a:spcBef>
              <a:buNone/>
              <a:defRPr sz="3600" spc="40" baseline="0">
                <a:solidFill>
                  <a:schemeClr val="tx2"/>
                </a:solidFill>
              </a:defRPr>
            </a:lvl1pPr>
          </a:lstStyle>
          <a:p>
            <a:pPr lvl="0"/>
            <a:r>
              <a:rPr lang="nb-NO" noProof="0"/>
              <a:t>Klikk for å legge til en overskrift på maksimalt tre linjer
</a:t>
            </a:r>
            <a:endParaRPr lang="en-US" noProof="0"/>
          </a:p>
        </p:txBody>
      </p:sp>
      <p:grpSp>
        <p:nvGrpSpPr>
          <p:cNvPr id="21" name="Grupp 32">
            <a:extLst>
              <a:ext uri="{FF2B5EF4-FFF2-40B4-BE49-F238E27FC236}">
                <a16:creationId xmlns:a16="http://schemas.microsoft.com/office/drawing/2014/main" id="{CF6F4381-F814-DC49-BAE8-DA80AFFD9E68}"/>
              </a:ext>
            </a:extLst>
          </p:cNvPr>
          <p:cNvGrpSpPr/>
          <p:nvPr userDrawn="1"/>
        </p:nvGrpSpPr>
        <p:grpSpPr>
          <a:xfrm>
            <a:off x="576140" y="6451484"/>
            <a:ext cx="615478" cy="91194"/>
            <a:chOff x="576140" y="6451484"/>
            <a:chExt cx="615478" cy="91194"/>
          </a:xfrm>
          <a:solidFill>
            <a:schemeClr val="tx2"/>
          </a:solidFill>
        </p:grpSpPr>
        <p:sp>
          <p:nvSpPr>
            <p:cNvPr id="22" name="Bild 2">
              <a:extLst>
                <a:ext uri="{FF2B5EF4-FFF2-40B4-BE49-F238E27FC236}">
                  <a16:creationId xmlns:a16="http://schemas.microsoft.com/office/drawing/2014/main" id="{62E9B87D-A5ED-B24D-896A-D5B9B26AB281}"/>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A0B698E7-BE43-3549-8D56-915B3552259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AE8F0FFE-43AD-8B46-AD52-5AAAB3A7E141}"/>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3" name="Bild 2">
              <a:extLst>
                <a:ext uri="{FF2B5EF4-FFF2-40B4-BE49-F238E27FC236}">
                  <a16:creationId xmlns:a16="http://schemas.microsoft.com/office/drawing/2014/main" id="{F449D80C-39D5-B049-8099-1AB0DFB21C56}"/>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4" name="Bild 2">
              <a:extLst>
                <a:ext uri="{FF2B5EF4-FFF2-40B4-BE49-F238E27FC236}">
                  <a16:creationId xmlns:a16="http://schemas.microsoft.com/office/drawing/2014/main" id="{20D2215C-82C7-5E49-AD19-A866B46120D1}"/>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5" name="Bild 2">
              <a:extLst>
                <a:ext uri="{FF2B5EF4-FFF2-40B4-BE49-F238E27FC236}">
                  <a16:creationId xmlns:a16="http://schemas.microsoft.com/office/drawing/2014/main" id="{70CBD1E9-7FEE-9349-9D43-444D469EBEE7}"/>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6" name="Bild 2">
              <a:extLst>
                <a:ext uri="{FF2B5EF4-FFF2-40B4-BE49-F238E27FC236}">
                  <a16:creationId xmlns:a16="http://schemas.microsoft.com/office/drawing/2014/main" id="{2BE0EC2B-5FD2-9449-827A-76C703008BD0}"/>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2" name="Platshållare för text 11">
            <a:extLst>
              <a:ext uri="{FF2B5EF4-FFF2-40B4-BE49-F238E27FC236}">
                <a16:creationId xmlns:a16="http://schemas.microsoft.com/office/drawing/2014/main" id="{2A42B50C-7FD1-C146-8ECB-95091B05A65D}"/>
              </a:ext>
            </a:extLst>
          </p:cNvPr>
          <p:cNvSpPr>
            <a:spLocks noGrp="1"/>
          </p:cNvSpPr>
          <p:nvPr>
            <p:ph type="body" sz="quarter" idx="20" hasCustomPrompt="1"/>
          </p:nvPr>
        </p:nvSpPr>
        <p:spPr>
          <a:xfrm>
            <a:off x="576000" y="2527200"/>
            <a:ext cx="5377125" cy="3600450"/>
          </a:xfrm>
        </p:spPr>
        <p:txBody>
          <a:bodyPr/>
          <a:lstStyle/>
          <a:p>
            <a:pPr lvl="0"/>
            <a:r>
              <a:rPr lang="nb-NO" noProof="0"/>
              <a:t>Klikk for å legge til brødtekst
</a:t>
            </a:r>
            <a:r>
              <a:rPr lang="en-US" noProof="0"/>
              <a:t>Second level</a:t>
            </a:r>
          </a:p>
          <a:p>
            <a:pPr lvl="2"/>
            <a:r>
              <a:rPr lang="en-US" noProof="0"/>
              <a:t>Third level</a:t>
            </a:r>
          </a:p>
          <a:p>
            <a:pPr lvl="3"/>
            <a:r>
              <a:rPr lang="en-US" noProof="0"/>
              <a:t>Fourth level </a:t>
            </a:r>
          </a:p>
          <a:p>
            <a:pPr lvl="4"/>
            <a:r>
              <a:rPr lang="en-US" noProof="0"/>
              <a:t>Fifth level</a:t>
            </a:r>
          </a:p>
        </p:txBody>
      </p:sp>
      <p:sp>
        <p:nvSpPr>
          <p:cNvPr id="16" name="Platshållare för datum 3">
            <a:extLst>
              <a:ext uri="{FF2B5EF4-FFF2-40B4-BE49-F238E27FC236}">
                <a16:creationId xmlns:a16="http://schemas.microsoft.com/office/drawing/2014/main" id="{E89DEF0D-E0BF-5D4C-9494-8D5AE0D65D02}"/>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60B678D7-614D-4AF1-A11B-ACE158540D3E}" type="datetime1">
              <a:rPr lang="nb-NO" noProof="0" smtClean="0"/>
              <a:t>07.11.2025</a:t>
            </a:fld>
            <a:endParaRPr lang="en-US" noProof="0"/>
          </a:p>
        </p:txBody>
      </p:sp>
      <p:sp>
        <p:nvSpPr>
          <p:cNvPr id="17" name="Platshållare för sidfot 4">
            <a:extLst>
              <a:ext uri="{FF2B5EF4-FFF2-40B4-BE49-F238E27FC236}">
                <a16:creationId xmlns:a16="http://schemas.microsoft.com/office/drawing/2014/main" id="{59120A69-D01F-A748-9537-2B83B4D28ADB}"/>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å til topp- og bunntekst for å endre tekst</a:t>
            </a:r>
          </a:p>
        </p:txBody>
      </p:sp>
      <p:sp>
        <p:nvSpPr>
          <p:cNvPr id="18" name="Platshållare för bildnummer 5">
            <a:extLst>
              <a:ext uri="{FF2B5EF4-FFF2-40B4-BE49-F238E27FC236}">
                <a16:creationId xmlns:a16="http://schemas.microsoft.com/office/drawing/2014/main" id="{943BB26A-3612-3A42-8216-56A3B027D321}"/>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25" name="Text Placeholder 4">
            <a:extLst>
              <a:ext uri="{FF2B5EF4-FFF2-40B4-BE49-F238E27FC236}">
                <a16:creationId xmlns:a16="http://schemas.microsoft.com/office/drawing/2014/main" id="{ADFA69F0-4DC9-E843-AD83-A7CA3C778BDC}"/>
              </a:ext>
            </a:extLst>
          </p:cNvPr>
          <p:cNvSpPr>
            <a:spLocks noGrp="1"/>
          </p:cNvSpPr>
          <p:nvPr>
            <p:ph type="body" sz="quarter" idx="21"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err="1"/>
              <a:t>Prosjekt</a:t>
            </a:r>
            <a:r>
              <a:rPr lang="en-US"/>
              <a:t>, By, Land</a:t>
            </a:r>
          </a:p>
        </p:txBody>
      </p:sp>
    </p:spTree>
    <p:extLst>
      <p:ext uri="{BB962C8B-B14F-4D97-AF65-F5344CB8AC3E}">
        <p14:creationId xmlns:p14="http://schemas.microsoft.com/office/powerpoint/2010/main" val="344881307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4 Diagram Bild">
    <p:bg>
      <p:bgRef idx="1001">
        <a:schemeClr val="bg1"/>
      </p:bgRef>
    </p:bg>
    <p:spTree>
      <p:nvGrpSpPr>
        <p:cNvPr id="1" name=""/>
        <p:cNvGrpSpPr/>
        <p:nvPr/>
      </p:nvGrpSpPr>
      <p:grpSpPr>
        <a:xfrm>
          <a:off x="0" y="0"/>
          <a:ext cx="0" cy="0"/>
          <a:chOff x="0" y="0"/>
          <a:chExt cx="0" cy="0"/>
        </a:xfrm>
      </p:grpSpPr>
      <p:sp>
        <p:nvSpPr>
          <p:cNvPr id="23" name="Picture Placeholder 10">
            <a:extLst>
              <a:ext uri="{FF2B5EF4-FFF2-40B4-BE49-F238E27FC236}">
                <a16:creationId xmlns:a16="http://schemas.microsoft.com/office/drawing/2014/main" id="{86E476F6-89CC-3C44-93CC-6B5D2DF6CACA}"/>
              </a:ext>
            </a:extLst>
          </p:cNvPr>
          <p:cNvSpPr>
            <a:spLocks noGrp="1"/>
          </p:cNvSpPr>
          <p:nvPr>
            <p:ph type="pic" sz="quarter" idx="18" hasCustomPrompt="1"/>
          </p:nvPr>
        </p:nvSpPr>
        <p:spPr>
          <a:xfrm>
            <a:off x="8128001" y="0"/>
            <a:ext cx="4062411" cy="6857997"/>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solidFill>
        </p:spPr>
        <p:txBody>
          <a:bodyPr wrap="square" lIns="36000" tIns="36000" rIns="36000" bIns="36000">
            <a:noAutofit/>
          </a:bodyPr>
          <a:lstStyle>
            <a:lvl1pPr marL="0" indent="0" algn="ctr">
              <a:buNone/>
              <a:defRPr sz="1300">
                <a:solidFill>
                  <a:schemeClr val="bg1"/>
                </a:solidFill>
              </a:defRPr>
            </a:lvl1pPr>
          </a:lstStyle>
          <a:p>
            <a:r>
              <a:rPr lang="en-US" noProof="0"/>
              <a:t>Click on the icon to add an image</a:t>
            </a: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2" y="720001"/>
            <a:ext cx="7253551" cy="860400"/>
          </a:xfrm>
          <a:prstGeom prst="rect">
            <a:avLst/>
          </a:prstGeom>
        </p:spPr>
        <p:txBody>
          <a:bodyPr anchor="t">
            <a:noAutofit/>
          </a:bodyPr>
          <a:lstStyle>
            <a:lvl1pPr marL="0" indent="0">
              <a:lnSpc>
                <a:spcPct val="85000"/>
              </a:lnSpc>
              <a:spcBef>
                <a:spcPts val="0"/>
              </a:spcBef>
              <a:buNone/>
              <a:defRPr sz="3600" spc="40" baseline="0">
                <a:solidFill>
                  <a:schemeClr val="tx2"/>
                </a:solidFill>
              </a:defRPr>
            </a:lvl1pPr>
          </a:lstStyle>
          <a:p>
            <a:pPr lvl="0"/>
            <a:r>
              <a:rPr lang="sv-SE" noProof="0"/>
              <a:t>Klicka för rubrik på maximalt två rader</a:t>
            </a:r>
          </a:p>
        </p:txBody>
      </p:sp>
      <p:sp>
        <p:nvSpPr>
          <p:cNvPr id="22" name="Chart Placeholder 4">
            <a:extLst>
              <a:ext uri="{FF2B5EF4-FFF2-40B4-BE49-F238E27FC236}">
                <a16:creationId xmlns:a16="http://schemas.microsoft.com/office/drawing/2014/main" id="{C3D3CB84-4C51-4944-9D93-F993A25F730B}"/>
              </a:ext>
            </a:extLst>
          </p:cNvPr>
          <p:cNvSpPr>
            <a:spLocks noGrp="1"/>
          </p:cNvSpPr>
          <p:nvPr>
            <p:ph type="chart" sz="quarter" idx="20" hasCustomPrompt="1"/>
          </p:nvPr>
        </p:nvSpPr>
        <p:spPr>
          <a:xfrm>
            <a:off x="576266" y="2098676"/>
            <a:ext cx="7253287" cy="4037487"/>
          </a:xfrm>
        </p:spPr>
        <p:txBody>
          <a:bodyPr/>
          <a:lstStyle>
            <a:lvl1pPr marL="12700" indent="0" algn="ctr">
              <a:buNone/>
              <a:defRPr sz="1300">
                <a:solidFill>
                  <a:schemeClr val="tx2"/>
                </a:solidFill>
              </a:defRPr>
            </a:lvl1pPr>
          </a:lstStyle>
          <a:p>
            <a:r>
              <a:rPr lang="sv-SE" noProof="0"/>
              <a:t>Klicka på ikonen för att infoga diagram</a:t>
            </a:r>
          </a:p>
        </p:txBody>
      </p:sp>
      <p:grpSp>
        <p:nvGrpSpPr>
          <p:cNvPr id="24" name="Grupp 32">
            <a:extLst>
              <a:ext uri="{FF2B5EF4-FFF2-40B4-BE49-F238E27FC236}">
                <a16:creationId xmlns:a16="http://schemas.microsoft.com/office/drawing/2014/main" id="{0166D808-3CB7-884E-95C7-EA74E9B4F048}"/>
              </a:ext>
            </a:extLst>
          </p:cNvPr>
          <p:cNvGrpSpPr/>
          <p:nvPr userDrawn="1"/>
        </p:nvGrpSpPr>
        <p:grpSpPr>
          <a:xfrm>
            <a:off x="576142" y="6451485"/>
            <a:ext cx="615479" cy="91195"/>
            <a:chOff x="576140" y="6451484"/>
            <a:chExt cx="615478" cy="91194"/>
          </a:xfrm>
          <a:solidFill>
            <a:schemeClr val="tx2"/>
          </a:solidFill>
        </p:grpSpPr>
        <p:sp>
          <p:nvSpPr>
            <p:cNvPr id="25" name="Bild 2">
              <a:extLst>
                <a:ext uri="{FF2B5EF4-FFF2-40B4-BE49-F238E27FC236}">
                  <a16:creationId xmlns:a16="http://schemas.microsoft.com/office/drawing/2014/main" id="{E6026D09-5D94-2047-81A1-BDED6F7CDCFD}"/>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sz="1400" noProof="0">
                <a:solidFill>
                  <a:schemeClr val="tx2"/>
                </a:solidFill>
              </a:endParaRPr>
            </a:p>
          </p:txBody>
        </p:sp>
        <p:sp>
          <p:nvSpPr>
            <p:cNvPr id="27" name="Bild 2">
              <a:extLst>
                <a:ext uri="{FF2B5EF4-FFF2-40B4-BE49-F238E27FC236}">
                  <a16:creationId xmlns:a16="http://schemas.microsoft.com/office/drawing/2014/main" id="{09D15658-F29E-EE41-AE3A-1E438ADAB93C}"/>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sz="1400" noProof="0">
                <a:solidFill>
                  <a:schemeClr val="tx2"/>
                </a:solidFill>
              </a:endParaRPr>
            </a:p>
          </p:txBody>
        </p:sp>
        <p:sp>
          <p:nvSpPr>
            <p:cNvPr id="28" name="Bild 2">
              <a:extLst>
                <a:ext uri="{FF2B5EF4-FFF2-40B4-BE49-F238E27FC236}">
                  <a16:creationId xmlns:a16="http://schemas.microsoft.com/office/drawing/2014/main" id="{9A3DDF5D-46F5-B344-8DAD-D5914874C3D5}"/>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sz="1400" noProof="0">
                <a:solidFill>
                  <a:schemeClr val="tx2"/>
                </a:solidFill>
              </a:endParaRPr>
            </a:p>
          </p:txBody>
        </p:sp>
        <p:sp>
          <p:nvSpPr>
            <p:cNvPr id="29" name="Bild 2">
              <a:extLst>
                <a:ext uri="{FF2B5EF4-FFF2-40B4-BE49-F238E27FC236}">
                  <a16:creationId xmlns:a16="http://schemas.microsoft.com/office/drawing/2014/main" id="{3A509201-ECF6-B64B-A0A7-231FAA504AB9}"/>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sz="1400" noProof="0">
                <a:solidFill>
                  <a:schemeClr val="tx2"/>
                </a:solidFill>
              </a:endParaRPr>
            </a:p>
          </p:txBody>
        </p:sp>
        <p:sp>
          <p:nvSpPr>
            <p:cNvPr id="30" name="Bild 2">
              <a:extLst>
                <a:ext uri="{FF2B5EF4-FFF2-40B4-BE49-F238E27FC236}">
                  <a16:creationId xmlns:a16="http://schemas.microsoft.com/office/drawing/2014/main" id="{A8421D0D-3339-7742-993A-EC5B51EBE591}"/>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sz="1400" noProof="0">
                <a:solidFill>
                  <a:schemeClr val="tx2"/>
                </a:solidFill>
              </a:endParaRPr>
            </a:p>
          </p:txBody>
        </p:sp>
        <p:sp>
          <p:nvSpPr>
            <p:cNvPr id="31" name="Bild 2">
              <a:extLst>
                <a:ext uri="{FF2B5EF4-FFF2-40B4-BE49-F238E27FC236}">
                  <a16:creationId xmlns:a16="http://schemas.microsoft.com/office/drawing/2014/main" id="{D82288C4-6EC8-9547-AC38-3AE9F31FE908}"/>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sz="1400" noProof="0">
                <a:solidFill>
                  <a:schemeClr val="tx2"/>
                </a:solidFill>
              </a:endParaRPr>
            </a:p>
          </p:txBody>
        </p:sp>
        <p:sp>
          <p:nvSpPr>
            <p:cNvPr id="32" name="Bild 2">
              <a:extLst>
                <a:ext uri="{FF2B5EF4-FFF2-40B4-BE49-F238E27FC236}">
                  <a16:creationId xmlns:a16="http://schemas.microsoft.com/office/drawing/2014/main" id="{66082E5D-4163-2F49-AA1C-B2405257920A}"/>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sz="1400" noProof="0">
                <a:solidFill>
                  <a:schemeClr val="tx2"/>
                </a:solidFill>
              </a:endParaRPr>
            </a:p>
          </p:txBody>
        </p:sp>
      </p:grpSp>
      <p:sp>
        <p:nvSpPr>
          <p:cNvPr id="16" name="Platshållare för datum 3">
            <a:extLst>
              <a:ext uri="{FF2B5EF4-FFF2-40B4-BE49-F238E27FC236}">
                <a16:creationId xmlns:a16="http://schemas.microsoft.com/office/drawing/2014/main" id="{8ADFF0B7-3A32-2C4B-BDF1-ECD3EE00D215}"/>
              </a:ext>
            </a:extLst>
          </p:cNvPr>
          <p:cNvSpPr>
            <a:spLocks noGrp="1"/>
          </p:cNvSpPr>
          <p:nvPr>
            <p:ph type="dt" sz="half" idx="2"/>
          </p:nvPr>
        </p:nvSpPr>
        <p:spPr>
          <a:xfrm>
            <a:off x="2185247" y="6454802"/>
            <a:ext cx="1878120" cy="112593"/>
          </a:xfrm>
          <a:prstGeom prst="rect">
            <a:avLst/>
          </a:prstGeom>
        </p:spPr>
        <p:txBody>
          <a:bodyPr vert="horz" lIns="0" tIns="0" rIns="0" bIns="0" rtlCol="0" anchor="b"/>
          <a:lstStyle>
            <a:lvl1pPr algn="l">
              <a:defRPr sz="800">
                <a:solidFill>
                  <a:schemeClr val="tx2"/>
                </a:solidFill>
              </a:defRPr>
            </a:lvl1pPr>
          </a:lstStyle>
          <a:p>
            <a:endParaRPr lang="en-US" noProof="0"/>
          </a:p>
        </p:txBody>
      </p:sp>
      <p:sp>
        <p:nvSpPr>
          <p:cNvPr id="17" name="Platshållare för sidfot 4">
            <a:extLst>
              <a:ext uri="{FF2B5EF4-FFF2-40B4-BE49-F238E27FC236}">
                <a16:creationId xmlns:a16="http://schemas.microsoft.com/office/drawing/2014/main" id="{EEEE660B-80A1-2741-8402-38F2598A8CA3}"/>
              </a:ext>
            </a:extLst>
          </p:cNvPr>
          <p:cNvSpPr>
            <a:spLocks noGrp="1"/>
          </p:cNvSpPr>
          <p:nvPr>
            <p:ph type="ftr" sz="quarter" idx="3"/>
          </p:nvPr>
        </p:nvSpPr>
        <p:spPr>
          <a:xfrm>
            <a:off x="4359277" y="6454802"/>
            <a:ext cx="3470275" cy="112593"/>
          </a:xfrm>
          <a:prstGeom prst="rect">
            <a:avLst/>
          </a:prstGeom>
        </p:spPr>
        <p:txBody>
          <a:bodyPr vert="horz" lIns="0" tIns="0" rIns="0" bIns="0" rtlCol="0" anchor="b"/>
          <a:lstStyle>
            <a:lvl1pPr algn="l">
              <a:defRPr sz="800">
                <a:solidFill>
                  <a:schemeClr val="tx2"/>
                </a:solidFill>
              </a:defRPr>
            </a:lvl1pPr>
          </a:lstStyle>
          <a:p>
            <a:r>
              <a:rPr lang="en-US" noProof="0"/>
              <a:t>Skanska Group - Climate report Q4 2022</a:t>
            </a:r>
          </a:p>
        </p:txBody>
      </p:sp>
      <p:sp>
        <p:nvSpPr>
          <p:cNvPr id="18" name="Platshållare för bildnummer 5">
            <a:extLst>
              <a:ext uri="{FF2B5EF4-FFF2-40B4-BE49-F238E27FC236}">
                <a16:creationId xmlns:a16="http://schemas.microsoft.com/office/drawing/2014/main" id="{921A1170-AB66-574D-93A2-A29BD448CFD2}"/>
              </a:ext>
            </a:extLst>
          </p:cNvPr>
          <p:cNvSpPr>
            <a:spLocks noGrp="1"/>
          </p:cNvSpPr>
          <p:nvPr>
            <p:ph type="sldNum" sz="quarter" idx="4"/>
          </p:nvPr>
        </p:nvSpPr>
        <p:spPr>
          <a:xfrm>
            <a:off x="10013315" y="6454802"/>
            <a:ext cx="1590676" cy="112593"/>
          </a:xfrm>
          <a:prstGeom prst="rect">
            <a:avLst/>
          </a:prstGeom>
        </p:spPr>
        <p:txBody>
          <a:bodyPr vert="horz" lIns="0" tIns="0" rIns="0" bIns="0" rtlCol="0" anchor="b"/>
          <a:lstStyle>
            <a:lvl1pPr algn="r">
              <a:defRPr sz="800">
                <a:solidFill>
                  <a:schemeClr val="bg1"/>
                </a:solidFill>
              </a:defRPr>
            </a:lvl1pPr>
          </a:lstStyle>
          <a:p>
            <a:fld id="{EF8DBD5B-30F9-4F9C-AE39-E065C1AC514D}" type="slidenum">
              <a:rPr lang="en-US" smtClean="0"/>
              <a:pPr/>
              <a:t>‹#›</a:t>
            </a:fld>
            <a:endParaRPr lang="en-US"/>
          </a:p>
        </p:txBody>
      </p:sp>
      <p:sp>
        <p:nvSpPr>
          <p:cNvPr id="21" name="Text Placeholder 4">
            <a:extLst>
              <a:ext uri="{FF2B5EF4-FFF2-40B4-BE49-F238E27FC236}">
                <a16:creationId xmlns:a16="http://schemas.microsoft.com/office/drawing/2014/main" id="{1ADD6777-A5E1-8143-BB10-30B94A4DA550}"/>
              </a:ext>
            </a:extLst>
          </p:cNvPr>
          <p:cNvSpPr>
            <a:spLocks noGrp="1"/>
          </p:cNvSpPr>
          <p:nvPr>
            <p:ph type="body" sz="quarter" idx="16" hasCustomPrompt="1"/>
          </p:nvPr>
        </p:nvSpPr>
        <p:spPr>
          <a:xfrm rot="5400000">
            <a:off x="10901733" y="752351"/>
            <a:ext cx="2093913" cy="589218"/>
          </a:xfrm>
        </p:spPr>
        <p:txBody>
          <a:bodyPr lIns="180000" tIns="180000" rIns="0" bIns="180000" anchor="ctr">
            <a:spAutoFit/>
          </a:bodyPr>
          <a:lstStyle>
            <a:lvl1pPr marL="6351" indent="0" algn="l">
              <a:buNone/>
              <a:defRPr sz="800">
                <a:solidFill>
                  <a:schemeClr val="bg1"/>
                </a:solidFill>
              </a:defRPr>
            </a:lvl1pPr>
            <a:lvl2pPr marL="180966" indent="0">
              <a:buNone/>
              <a:defRPr sz="800"/>
            </a:lvl2pPr>
            <a:lvl3pPr marL="357170" indent="0">
              <a:buNone/>
              <a:defRPr sz="800"/>
            </a:lvl3pPr>
            <a:lvl4pPr marL="539536" indent="0">
              <a:buNone/>
              <a:defRPr sz="800"/>
            </a:lvl4pPr>
            <a:lvl5pPr marL="715927" indent="0">
              <a:buNone/>
              <a:defRPr sz="800"/>
            </a:lvl5pPr>
          </a:lstStyle>
          <a:p>
            <a:pPr lvl="0"/>
            <a:r>
              <a:rPr lang="en-US"/>
              <a:t>Project City Country</a:t>
            </a:r>
          </a:p>
        </p:txBody>
      </p:sp>
    </p:spTree>
    <p:extLst>
      <p:ext uri="{BB962C8B-B14F-4D97-AF65-F5344CB8AC3E}">
        <p14:creationId xmlns:p14="http://schemas.microsoft.com/office/powerpoint/2010/main" val="2308176383"/>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Agenda m/ bilde">
    <p:bg>
      <p:bgPr>
        <a:solidFill>
          <a:schemeClr val="bg2"/>
        </a:solidFill>
        <a:effectLst/>
      </p:bgPr>
    </p:bg>
    <p:spTree>
      <p:nvGrpSpPr>
        <p:cNvPr id="1" name=""/>
        <p:cNvGrpSpPr/>
        <p:nvPr/>
      </p:nvGrpSpPr>
      <p:grpSpPr>
        <a:xfrm>
          <a:off x="0" y="0"/>
          <a:ext cx="0" cy="0"/>
          <a:chOff x="0" y="0"/>
          <a:chExt cx="0" cy="0"/>
        </a:xfrm>
      </p:grpSpPr>
      <p:sp>
        <p:nvSpPr>
          <p:cNvPr id="3" name="Picture Placeholder 10">
            <a:extLst>
              <a:ext uri="{FF2B5EF4-FFF2-40B4-BE49-F238E27FC236}">
                <a16:creationId xmlns:a16="http://schemas.microsoft.com/office/drawing/2014/main" id="{004CABBE-DFC7-384E-ADE5-A5EABE28017A}"/>
              </a:ext>
            </a:extLst>
          </p:cNvPr>
          <p:cNvSpPr>
            <a:spLocks noGrp="1"/>
          </p:cNvSpPr>
          <p:nvPr>
            <p:ph type="pic" sz="quarter" idx="20" hasCustomPrompt="1"/>
          </p:nvPr>
        </p:nvSpPr>
        <p:spPr>
          <a:xfrm>
            <a:off x="8142000" y="-1"/>
            <a:ext cx="4050000" cy="6868800"/>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tx2"/>
                </a:solidFill>
              </a:defRPr>
            </a:lvl1pPr>
          </a:lstStyle>
          <a:p>
            <a:r>
              <a:rPr lang="nb-NO" noProof="0" dirty="0"/>
              <a:t>Klikk på ikonet for å legge til et bilde</a:t>
            </a:r>
            <a:endParaRPr lang="en-US" noProof="0" dirty="0"/>
          </a:p>
        </p:txBody>
      </p:sp>
      <p:sp>
        <p:nvSpPr>
          <p:cNvPr id="5" name="Title 2">
            <a:extLst>
              <a:ext uri="{FF2B5EF4-FFF2-40B4-BE49-F238E27FC236}">
                <a16:creationId xmlns:a16="http://schemas.microsoft.com/office/drawing/2014/main" id="{B97AD55C-70F4-0A50-2C40-2812549AFAF7}"/>
              </a:ext>
            </a:extLst>
          </p:cNvPr>
          <p:cNvSpPr>
            <a:spLocks noGrp="1"/>
          </p:cNvSpPr>
          <p:nvPr>
            <p:ph type="title" hasCustomPrompt="1"/>
          </p:nvPr>
        </p:nvSpPr>
        <p:spPr>
          <a:xfrm>
            <a:off x="576000" y="730800"/>
            <a:ext cx="5377125" cy="576000"/>
          </a:xfrm>
        </p:spPr>
        <p:txBody>
          <a:bodyPr/>
          <a:lstStyle>
            <a:lvl1pPr>
              <a:defRPr>
                <a:solidFill>
                  <a:schemeClr val="tx2"/>
                </a:solidFill>
              </a:defRPr>
            </a:lvl1pPr>
          </a:lstStyle>
          <a:p>
            <a:r>
              <a:rPr lang="en-US" dirty="0" err="1"/>
              <a:t>Klikk</a:t>
            </a:r>
            <a:r>
              <a:rPr lang="en-US" dirty="0"/>
              <a:t> for </a:t>
            </a:r>
            <a:r>
              <a:rPr lang="en-US" dirty="0" err="1"/>
              <a:t>en</a:t>
            </a:r>
            <a:r>
              <a:rPr lang="en-US" dirty="0"/>
              <a:t> </a:t>
            </a:r>
            <a:r>
              <a:rPr lang="en-US" dirty="0" err="1"/>
              <a:t>kort</a:t>
            </a:r>
            <a:r>
              <a:rPr lang="en-US" dirty="0"/>
              <a:t> </a:t>
            </a:r>
            <a:r>
              <a:rPr lang="en-US" dirty="0" err="1"/>
              <a:t>overskrift</a:t>
            </a:r>
            <a:endParaRPr lang="en-US" dirty="0"/>
          </a:p>
        </p:txBody>
      </p:sp>
      <p:sp>
        <p:nvSpPr>
          <p:cNvPr id="40" name="Text Placeholder 3">
            <a:extLst>
              <a:ext uri="{FF2B5EF4-FFF2-40B4-BE49-F238E27FC236}">
                <a16:creationId xmlns:a16="http://schemas.microsoft.com/office/drawing/2014/main" id="{71F6E362-8923-6340-A1FF-64BF191D73D7}"/>
              </a:ext>
            </a:extLst>
          </p:cNvPr>
          <p:cNvSpPr>
            <a:spLocks noGrp="1"/>
          </p:cNvSpPr>
          <p:nvPr>
            <p:ph type="body" sz="quarter" idx="15" hasCustomPrompt="1"/>
          </p:nvPr>
        </p:nvSpPr>
        <p:spPr>
          <a:xfrm>
            <a:off x="576263" y="1746000"/>
            <a:ext cx="3481387" cy="4391999"/>
          </a:xfrm>
        </p:spPr>
        <p:txBody>
          <a:bodyPr/>
          <a:lstStyle>
            <a:lvl1pPr marL="342000" indent="-342000">
              <a:lnSpc>
                <a:spcPct val="100000"/>
              </a:lnSpc>
              <a:spcBef>
                <a:spcPts val="0"/>
              </a:spcBef>
              <a:spcAft>
                <a:spcPts val="1000"/>
              </a:spcAft>
              <a:buFont typeface="+mj-lt"/>
              <a:buAutoNum type="arabicPeriod"/>
              <a:defRPr sz="1800" spc="40" baseline="0">
                <a:solidFill>
                  <a:schemeClr val="tx2"/>
                </a:solidFill>
              </a:defRPr>
            </a:lvl1pPr>
            <a:lvl2pPr marL="342000" indent="-342000">
              <a:lnSpc>
                <a:spcPct val="100000"/>
              </a:lnSpc>
              <a:spcAft>
                <a:spcPts val="1000"/>
              </a:spcAft>
              <a:tabLst/>
              <a:defRPr sz="1800" spc="40" baseline="0"/>
            </a:lvl2pPr>
            <a:lvl3pPr>
              <a:defRPr sz="1400" spc="40" baseline="0"/>
            </a:lvl3pPr>
            <a:lvl4pPr>
              <a:defRPr sz="1200" spc="40" baseline="0"/>
            </a:lvl4pPr>
            <a:lvl5pPr>
              <a:defRPr sz="1100" spc="40" baseline="0"/>
            </a:lvl5pPr>
          </a:lstStyle>
          <a:p>
            <a:pPr lvl="0"/>
            <a:r>
              <a:rPr lang="en-US" noProof="0" dirty="0" err="1"/>
              <a:t>Klikk</a:t>
            </a:r>
            <a:r>
              <a:rPr lang="en-US" noProof="0" dirty="0"/>
              <a:t> for agenda</a:t>
            </a:r>
          </a:p>
        </p:txBody>
      </p:sp>
      <p:sp>
        <p:nvSpPr>
          <p:cNvPr id="4" name="Text Placeholder 4">
            <a:extLst>
              <a:ext uri="{FF2B5EF4-FFF2-40B4-BE49-F238E27FC236}">
                <a16:creationId xmlns:a16="http://schemas.microsoft.com/office/drawing/2014/main" id="{906C7BAE-8F30-9259-169A-271F25CB950C}"/>
              </a:ext>
            </a:extLst>
          </p:cNvPr>
          <p:cNvSpPr>
            <a:spLocks noGrp="1"/>
          </p:cNvSpPr>
          <p:nvPr>
            <p:ph type="body" sz="quarter" idx="24" hasCustomPrompt="1"/>
          </p:nvPr>
        </p:nvSpPr>
        <p:spPr>
          <a:xfrm rot="5400000">
            <a:off x="9788686" y="1916687"/>
            <a:ext cx="4320000"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sp>
        <p:nvSpPr>
          <p:cNvPr id="2" name="Logotype">
            <a:extLst>
              <a:ext uri="{FF2B5EF4-FFF2-40B4-BE49-F238E27FC236}">
                <a16:creationId xmlns:a16="http://schemas.microsoft.com/office/drawing/2014/main" id="{4B38F982-5835-282F-E6D5-27AC5440A466}"/>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Tree>
    <p:extLst>
      <p:ext uri="{BB962C8B-B14F-4D97-AF65-F5344CB8AC3E}">
        <p14:creationId xmlns:p14="http://schemas.microsoft.com/office/powerpoint/2010/main" val="31779940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Agenda bilde">
    <p:bg>
      <p:bgPr>
        <a:solidFill>
          <a:schemeClr val="tx2"/>
        </a:solidFill>
        <a:effectLst/>
      </p:bgPr>
    </p:bg>
    <p:spTree>
      <p:nvGrpSpPr>
        <p:cNvPr id="1" name=""/>
        <p:cNvGrpSpPr/>
        <p:nvPr/>
      </p:nvGrpSpPr>
      <p:grpSpPr>
        <a:xfrm>
          <a:off x="0" y="0"/>
          <a:ext cx="0" cy="0"/>
          <a:chOff x="0" y="0"/>
          <a:chExt cx="0" cy="0"/>
        </a:xfrm>
      </p:grpSpPr>
      <p:sp>
        <p:nvSpPr>
          <p:cNvPr id="39" name="Picture Placeholder 1">
            <a:extLst>
              <a:ext uri="{FF2B5EF4-FFF2-40B4-BE49-F238E27FC236}">
                <a16:creationId xmlns:a16="http://schemas.microsoft.com/office/drawing/2014/main" id="{9E321D00-36B4-854A-96FD-995EBC9F18B5}"/>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nb-NO" noProof="0" dirty="0"/>
              <a:t>Klikk på ikonet for å legge til et bilde</a:t>
            </a:r>
            <a:endParaRPr lang="en-US" noProof="0" dirty="0"/>
          </a:p>
        </p:txBody>
      </p:sp>
      <p:sp>
        <p:nvSpPr>
          <p:cNvPr id="5" name="Title 2">
            <a:extLst>
              <a:ext uri="{FF2B5EF4-FFF2-40B4-BE49-F238E27FC236}">
                <a16:creationId xmlns:a16="http://schemas.microsoft.com/office/drawing/2014/main" id="{B97AD55C-70F4-0A50-2C40-2812549AFAF7}"/>
              </a:ext>
            </a:extLst>
          </p:cNvPr>
          <p:cNvSpPr>
            <a:spLocks noGrp="1"/>
          </p:cNvSpPr>
          <p:nvPr>
            <p:ph type="title" hasCustomPrompt="1"/>
          </p:nvPr>
        </p:nvSpPr>
        <p:spPr>
          <a:xfrm>
            <a:off x="576000" y="730800"/>
            <a:ext cx="5377125" cy="576000"/>
          </a:xfrm>
        </p:spPr>
        <p:txBody>
          <a:bodyPr/>
          <a:lstStyle/>
          <a:p>
            <a:r>
              <a:rPr lang="en-US" dirty="0" err="1"/>
              <a:t>Klikk</a:t>
            </a:r>
            <a:r>
              <a:rPr lang="en-US" dirty="0"/>
              <a:t> for </a:t>
            </a:r>
            <a:r>
              <a:rPr lang="en-US" dirty="0" err="1"/>
              <a:t>en</a:t>
            </a:r>
            <a:r>
              <a:rPr lang="en-US" dirty="0"/>
              <a:t> </a:t>
            </a:r>
            <a:r>
              <a:rPr lang="en-US" dirty="0" err="1"/>
              <a:t>kort</a:t>
            </a:r>
            <a:r>
              <a:rPr lang="en-US" dirty="0"/>
              <a:t> </a:t>
            </a:r>
            <a:r>
              <a:rPr lang="en-US" dirty="0" err="1"/>
              <a:t>overskrift</a:t>
            </a:r>
            <a:endParaRPr lang="en-US" dirty="0"/>
          </a:p>
        </p:txBody>
      </p:sp>
      <p:sp>
        <p:nvSpPr>
          <p:cNvPr id="40" name="Text Placeholder 3">
            <a:extLst>
              <a:ext uri="{FF2B5EF4-FFF2-40B4-BE49-F238E27FC236}">
                <a16:creationId xmlns:a16="http://schemas.microsoft.com/office/drawing/2014/main" id="{71F6E362-8923-6340-A1FF-64BF191D73D7}"/>
              </a:ext>
            </a:extLst>
          </p:cNvPr>
          <p:cNvSpPr>
            <a:spLocks noGrp="1"/>
          </p:cNvSpPr>
          <p:nvPr>
            <p:ph type="body" sz="quarter" idx="15" hasCustomPrompt="1"/>
          </p:nvPr>
        </p:nvSpPr>
        <p:spPr>
          <a:xfrm>
            <a:off x="576263" y="1746000"/>
            <a:ext cx="3481387" cy="4391999"/>
          </a:xfrm>
        </p:spPr>
        <p:txBody>
          <a:bodyPr/>
          <a:lstStyle>
            <a:lvl1pPr marL="342000" indent="-342000">
              <a:lnSpc>
                <a:spcPct val="100000"/>
              </a:lnSpc>
              <a:spcBef>
                <a:spcPts val="0"/>
              </a:spcBef>
              <a:spcAft>
                <a:spcPts val="1000"/>
              </a:spcAft>
              <a:buFont typeface="+mj-lt"/>
              <a:buAutoNum type="arabicPeriod"/>
              <a:defRPr sz="1800" spc="40" baseline="0"/>
            </a:lvl1pPr>
            <a:lvl2pPr marL="342000" indent="-342000">
              <a:lnSpc>
                <a:spcPct val="100000"/>
              </a:lnSpc>
              <a:spcAft>
                <a:spcPts val="1000"/>
              </a:spcAft>
              <a:tabLst/>
              <a:defRPr sz="1800" spc="40" baseline="0"/>
            </a:lvl2pPr>
            <a:lvl3pPr>
              <a:defRPr sz="1400" spc="40" baseline="0"/>
            </a:lvl3pPr>
            <a:lvl4pPr>
              <a:defRPr sz="1200" spc="40" baseline="0"/>
            </a:lvl4pPr>
            <a:lvl5pPr>
              <a:defRPr sz="1100" spc="40" baseline="0"/>
            </a:lvl5pPr>
          </a:lstStyle>
          <a:p>
            <a:pPr lvl="0"/>
            <a:r>
              <a:rPr lang="en-US" noProof="0" dirty="0" err="1"/>
              <a:t>Klikk</a:t>
            </a:r>
            <a:r>
              <a:rPr lang="en-US" noProof="0" dirty="0"/>
              <a:t> for agenda</a:t>
            </a:r>
          </a:p>
        </p:txBody>
      </p:sp>
      <p:sp>
        <p:nvSpPr>
          <p:cNvPr id="16" name="Project Text Placeholder 4">
            <a:extLst>
              <a:ext uri="{FF2B5EF4-FFF2-40B4-BE49-F238E27FC236}">
                <a16:creationId xmlns:a16="http://schemas.microsoft.com/office/drawing/2014/main" id="{8AAA2FCE-F264-5543-8138-9D199FF97531}"/>
              </a:ext>
            </a:extLst>
          </p:cNvPr>
          <p:cNvSpPr>
            <a:spLocks noGrp="1"/>
          </p:cNvSpPr>
          <p:nvPr>
            <p:ph type="body" sz="quarter" idx="16" hasCustomPrompt="1"/>
          </p:nvPr>
        </p:nvSpPr>
        <p:spPr>
          <a:xfrm rot="5400000">
            <a:off x="9788686" y="1916687"/>
            <a:ext cx="4320000"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grpSp>
        <p:nvGrpSpPr>
          <p:cNvPr id="6" name="Instructions">
            <a:extLst>
              <a:ext uri="{FF2B5EF4-FFF2-40B4-BE49-F238E27FC236}">
                <a16:creationId xmlns:a16="http://schemas.microsoft.com/office/drawing/2014/main" id="{BF6E60A6-FAA9-4CC9-8FD4-795949D469BB}"/>
              </a:ext>
            </a:extLst>
          </p:cNvPr>
          <p:cNvGrpSpPr/>
          <p:nvPr userDrawn="1"/>
        </p:nvGrpSpPr>
        <p:grpSpPr>
          <a:xfrm>
            <a:off x="12395260" y="-12189"/>
            <a:ext cx="1681523" cy="2112003"/>
            <a:chOff x="12395260" y="-12189"/>
            <a:chExt cx="1681523" cy="2112003"/>
          </a:xfrm>
        </p:grpSpPr>
        <p:sp>
          <p:nvSpPr>
            <p:cNvPr id="8" name="textruta 5">
              <a:extLst>
                <a:ext uri="{FF2B5EF4-FFF2-40B4-BE49-F238E27FC236}">
                  <a16:creationId xmlns:a16="http://schemas.microsoft.com/office/drawing/2014/main" id="{52378F2C-FB46-444B-B9E1-375B7ADD4B13}"/>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83DB998B-6166-B149-AE9C-B422BE1B47A4}"/>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9EEE8BC0-6652-EC43-AA7F-F1FAA638F0F5}"/>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2330825F-2C3A-E940-8BCE-84CDB2959E3C}"/>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Tree>
    <p:extLst>
      <p:ext uri="{BB962C8B-B14F-4D97-AF65-F5344CB8AC3E}">
        <p14:creationId xmlns:p14="http://schemas.microsoft.com/office/powerpoint/2010/main" val="24119601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Agenda 2 Kolonner Bilde">
    <p:bg>
      <p:bgPr>
        <a:solidFill>
          <a:schemeClr val="bg1"/>
        </a:solidFill>
        <a:effectLst/>
      </p:bgPr>
    </p:bg>
    <p:spTree>
      <p:nvGrpSpPr>
        <p:cNvPr id="1" name=""/>
        <p:cNvGrpSpPr/>
        <p:nvPr/>
      </p:nvGrpSpPr>
      <p:grpSpPr>
        <a:xfrm>
          <a:off x="0" y="0"/>
          <a:ext cx="0" cy="0"/>
          <a:chOff x="0" y="0"/>
          <a:chExt cx="0" cy="0"/>
        </a:xfrm>
      </p:grpSpPr>
      <p:sp>
        <p:nvSpPr>
          <p:cNvPr id="39" name="Picture Placeholder 1">
            <a:extLst>
              <a:ext uri="{FF2B5EF4-FFF2-40B4-BE49-F238E27FC236}">
                <a16:creationId xmlns:a16="http://schemas.microsoft.com/office/drawing/2014/main" id="{9E321D00-36B4-854A-96FD-995EBC9F18B5}"/>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nb-NO" noProof="0" dirty="0"/>
              <a:t>Hvis bildeplassholderikonet er under tekstboksen, velger du den grå plassholderboksen og går deretter til «Sett inn» i toppmenyen og legger til bilde. IKKE flytt tekstboksen!</a:t>
            </a:r>
            <a:endParaRPr lang="en-US" noProof="0" dirty="0"/>
          </a:p>
        </p:txBody>
      </p:sp>
      <p:sp>
        <p:nvSpPr>
          <p:cNvPr id="2" name="Title 2">
            <a:extLst>
              <a:ext uri="{FF2B5EF4-FFF2-40B4-BE49-F238E27FC236}">
                <a16:creationId xmlns:a16="http://schemas.microsoft.com/office/drawing/2014/main" id="{8BF943A2-AD7D-CB0B-7E5E-E0C6CF9466C5}"/>
              </a:ext>
            </a:extLst>
          </p:cNvPr>
          <p:cNvSpPr>
            <a:spLocks noGrp="1"/>
          </p:cNvSpPr>
          <p:nvPr>
            <p:ph type="title" hasCustomPrompt="1"/>
          </p:nvPr>
        </p:nvSpPr>
        <p:spPr>
          <a:xfrm>
            <a:off x="576000" y="730800"/>
            <a:ext cx="5377125" cy="576000"/>
          </a:xfrm>
        </p:spPr>
        <p:txBody>
          <a:bodyPr/>
          <a:lstStyle>
            <a:lvl1pPr>
              <a:defRPr>
                <a:solidFill>
                  <a:schemeClr val="bg1"/>
                </a:solidFill>
              </a:defRPr>
            </a:lvl1pPr>
          </a:lstStyle>
          <a:p>
            <a:r>
              <a:rPr lang="en-US" dirty="0" err="1"/>
              <a:t>Klikk</a:t>
            </a:r>
            <a:r>
              <a:rPr lang="en-US" dirty="0"/>
              <a:t> for </a:t>
            </a:r>
            <a:r>
              <a:rPr lang="en-US" dirty="0" err="1"/>
              <a:t>en</a:t>
            </a:r>
            <a:r>
              <a:rPr lang="en-US" dirty="0"/>
              <a:t> </a:t>
            </a:r>
            <a:r>
              <a:rPr lang="en-US" dirty="0" err="1"/>
              <a:t>kort</a:t>
            </a:r>
            <a:r>
              <a:rPr lang="en-US" dirty="0"/>
              <a:t> </a:t>
            </a:r>
            <a:r>
              <a:rPr lang="en-US" dirty="0" err="1"/>
              <a:t>overskrift</a:t>
            </a:r>
            <a:endParaRPr lang="en-US" dirty="0"/>
          </a:p>
        </p:txBody>
      </p:sp>
      <p:sp>
        <p:nvSpPr>
          <p:cNvPr id="9" name="Text Placeholder 3">
            <a:extLst>
              <a:ext uri="{FF2B5EF4-FFF2-40B4-BE49-F238E27FC236}">
                <a16:creationId xmlns:a16="http://schemas.microsoft.com/office/drawing/2014/main" id="{A02FE398-BCDE-144D-BB12-B6AB8C96E842}"/>
              </a:ext>
            </a:extLst>
          </p:cNvPr>
          <p:cNvSpPr>
            <a:spLocks noGrp="1"/>
          </p:cNvSpPr>
          <p:nvPr>
            <p:ph type="body" sz="quarter" idx="15" hasCustomPrompt="1"/>
          </p:nvPr>
        </p:nvSpPr>
        <p:spPr>
          <a:xfrm>
            <a:off x="576263" y="1746000"/>
            <a:ext cx="7253287" cy="4391999"/>
          </a:xfrm>
        </p:spPr>
        <p:txBody>
          <a:bodyPr numCol="2" spcCol="288000"/>
          <a:lstStyle>
            <a:lvl1pPr marL="342000" indent="-342000">
              <a:lnSpc>
                <a:spcPct val="100000"/>
              </a:lnSpc>
              <a:spcBef>
                <a:spcPts val="0"/>
              </a:spcBef>
              <a:spcAft>
                <a:spcPts val="1000"/>
              </a:spcAft>
              <a:buFont typeface="+mj-lt"/>
              <a:buAutoNum type="arabicPeriod"/>
              <a:defRPr sz="1800" spc="40" baseline="0">
                <a:solidFill>
                  <a:schemeClr val="bg1"/>
                </a:solidFill>
              </a:defRPr>
            </a:lvl1pPr>
            <a:lvl2pPr marL="342000" indent="-342000">
              <a:lnSpc>
                <a:spcPct val="100000"/>
              </a:lnSpc>
              <a:spcBef>
                <a:spcPts val="0"/>
              </a:spcBef>
              <a:spcAft>
                <a:spcPts val="1000"/>
              </a:spcAft>
              <a:tabLst/>
              <a:defRPr sz="1800" spc="40" baseline="0">
                <a:solidFill>
                  <a:schemeClr val="bg1"/>
                </a:solidFill>
              </a:defRPr>
            </a:lvl2pPr>
            <a:lvl3pPr>
              <a:defRPr sz="1400" spc="40" baseline="0">
                <a:solidFill>
                  <a:schemeClr val="bg1"/>
                </a:solidFill>
              </a:defRPr>
            </a:lvl3pPr>
            <a:lvl4pPr>
              <a:defRPr sz="1200" spc="40" baseline="0">
                <a:solidFill>
                  <a:schemeClr val="bg1"/>
                </a:solidFill>
              </a:defRPr>
            </a:lvl4pPr>
            <a:lvl5pPr>
              <a:defRPr sz="1100" spc="40" baseline="0">
                <a:solidFill>
                  <a:schemeClr val="bg1"/>
                </a:solidFill>
              </a:defRPr>
            </a:lvl5pPr>
          </a:lstStyle>
          <a:p>
            <a:pPr lvl="0"/>
            <a:r>
              <a:rPr lang="en-US" noProof="0" dirty="0" err="1"/>
              <a:t>Klikk</a:t>
            </a:r>
            <a:r>
              <a:rPr lang="en-US" noProof="0" dirty="0"/>
              <a:t> for agenda</a:t>
            </a:r>
          </a:p>
        </p:txBody>
      </p:sp>
      <p:sp>
        <p:nvSpPr>
          <p:cNvPr id="17" name="Project Text Placeholder 4">
            <a:extLst>
              <a:ext uri="{FF2B5EF4-FFF2-40B4-BE49-F238E27FC236}">
                <a16:creationId xmlns:a16="http://schemas.microsoft.com/office/drawing/2014/main" id="{22B95E08-D2D3-1343-AAFC-765955B17A7B}"/>
              </a:ext>
            </a:extLst>
          </p:cNvPr>
          <p:cNvSpPr>
            <a:spLocks noGrp="1"/>
          </p:cNvSpPr>
          <p:nvPr>
            <p:ph type="body" sz="quarter" idx="16" hasCustomPrompt="1"/>
          </p:nvPr>
        </p:nvSpPr>
        <p:spPr>
          <a:xfrm rot="5400000">
            <a:off x="9788686" y="1916687"/>
            <a:ext cx="4320000"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grpSp>
        <p:nvGrpSpPr>
          <p:cNvPr id="3" name="Instructions">
            <a:extLst>
              <a:ext uri="{FF2B5EF4-FFF2-40B4-BE49-F238E27FC236}">
                <a16:creationId xmlns:a16="http://schemas.microsoft.com/office/drawing/2014/main" id="{F4B787C9-0650-27D9-DA9C-8928F6B1913A}"/>
              </a:ext>
            </a:extLst>
          </p:cNvPr>
          <p:cNvGrpSpPr/>
          <p:nvPr userDrawn="1"/>
        </p:nvGrpSpPr>
        <p:grpSpPr>
          <a:xfrm>
            <a:off x="12395260" y="-12189"/>
            <a:ext cx="1681523" cy="2112003"/>
            <a:chOff x="12395260" y="-12189"/>
            <a:chExt cx="1681523" cy="2112003"/>
          </a:xfrm>
        </p:grpSpPr>
        <p:sp>
          <p:nvSpPr>
            <p:cNvPr id="8" name="textruta 5">
              <a:extLst>
                <a:ext uri="{FF2B5EF4-FFF2-40B4-BE49-F238E27FC236}">
                  <a16:creationId xmlns:a16="http://schemas.microsoft.com/office/drawing/2014/main" id="{00284F2E-F31D-BF4B-994C-3E331A29D073}"/>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0" name="textruta 9">
              <a:extLst>
                <a:ext uri="{FF2B5EF4-FFF2-40B4-BE49-F238E27FC236}">
                  <a16:creationId xmlns:a16="http://schemas.microsoft.com/office/drawing/2014/main" id="{E1BCA37F-BCB7-E04A-BF96-DF2F97908106}"/>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dirty="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dirty="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dirty="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dirty="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dirty="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dirty="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dirty="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dirty="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11" name="Rektangel 10">
              <a:extLst>
                <a:ext uri="{FF2B5EF4-FFF2-40B4-BE49-F238E27FC236}">
                  <a16:creationId xmlns:a16="http://schemas.microsoft.com/office/drawing/2014/main" id="{81504CAB-86DC-7B40-8E88-8772421ABA81}"/>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ktangel 11">
              <a:extLst>
                <a:ext uri="{FF2B5EF4-FFF2-40B4-BE49-F238E27FC236}">
                  <a16:creationId xmlns:a16="http://schemas.microsoft.com/office/drawing/2014/main" id="{F7F99CA5-DEDA-AF48-B232-7095F0A1D6DD}"/>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Tree>
    <p:extLst>
      <p:ext uri="{BB962C8B-B14F-4D97-AF65-F5344CB8AC3E}">
        <p14:creationId xmlns:p14="http://schemas.microsoft.com/office/powerpoint/2010/main" val="37386879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Sitatslide">
    <p:bg>
      <p:bgPr>
        <a:solidFill>
          <a:schemeClr val="tx2"/>
        </a:solidFill>
        <a:effectLst/>
      </p:bgPr>
    </p:bg>
    <p:spTree>
      <p:nvGrpSpPr>
        <p:cNvPr id="1" name=""/>
        <p:cNvGrpSpPr/>
        <p:nvPr/>
      </p:nvGrpSpPr>
      <p:grpSpPr>
        <a:xfrm>
          <a:off x="0" y="0"/>
          <a:ext cx="0" cy="0"/>
          <a:chOff x="0" y="0"/>
          <a:chExt cx="0" cy="0"/>
        </a:xfrm>
      </p:grpSpPr>
      <p:sp>
        <p:nvSpPr>
          <p:cNvPr id="8" name="Picture Placeholder 1">
            <a:extLst>
              <a:ext uri="{FF2B5EF4-FFF2-40B4-BE49-F238E27FC236}">
                <a16:creationId xmlns:a16="http://schemas.microsoft.com/office/drawing/2014/main" id="{3CBA7EE4-EB8C-8F45-95DB-49CBDE2D978D}"/>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nb-NO" noProof="0" dirty="0"/>
              <a:t>Hvis bildeplassholderikonet er under tekstboksen, velger du den grå plassholderboksen og går deretter til «Sett inn» i toppmenyen og legger til bilde. IKKE flytt tekstboksen!</a:t>
            </a:r>
            <a:endParaRPr lang="en-US" noProof="0" dirty="0"/>
          </a:p>
        </p:txBody>
      </p:sp>
      <p:sp>
        <p:nvSpPr>
          <p:cNvPr id="2" name="Title 2">
            <a:extLst>
              <a:ext uri="{FF2B5EF4-FFF2-40B4-BE49-F238E27FC236}">
                <a16:creationId xmlns:a16="http://schemas.microsoft.com/office/drawing/2014/main" id="{40632015-5CBE-32E9-D2D4-829F5C9FA156}"/>
              </a:ext>
            </a:extLst>
          </p:cNvPr>
          <p:cNvSpPr>
            <a:spLocks noGrp="1"/>
          </p:cNvSpPr>
          <p:nvPr>
            <p:ph type="title" hasCustomPrompt="1"/>
          </p:nvPr>
        </p:nvSpPr>
        <p:spPr>
          <a:xfrm>
            <a:off x="576000" y="1852246"/>
            <a:ext cx="7253550" cy="2312681"/>
          </a:xfrm>
        </p:spPr>
        <p:txBody>
          <a:bodyPr anchor="b"/>
          <a:lstStyle/>
          <a:p>
            <a:r>
              <a:rPr lang="nb-NO" dirty="0"/>
              <a:t>Klikk for å legge til et sitat på maksimalt fire linjer</a:t>
            </a:r>
            <a:endParaRPr lang="en-US" dirty="0"/>
          </a:p>
        </p:txBody>
      </p:sp>
      <p:sp>
        <p:nvSpPr>
          <p:cNvPr id="9" name="Text Placeholder 3">
            <a:extLst>
              <a:ext uri="{FF2B5EF4-FFF2-40B4-BE49-F238E27FC236}">
                <a16:creationId xmlns:a16="http://schemas.microsoft.com/office/drawing/2014/main" id="{02F1B97F-3A95-9446-9E62-C3B80BE6BCE7}"/>
              </a:ext>
            </a:extLst>
          </p:cNvPr>
          <p:cNvSpPr>
            <a:spLocks noGrp="1"/>
          </p:cNvSpPr>
          <p:nvPr>
            <p:ph type="body" sz="quarter" idx="19" hasCustomPrompt="1"/>
          </p:nvPr>
        </p:nvSpPr>
        <p:spPr>
          <a:xfrm>
            <a:off x="576263" y="4426246"/>
            <a:ext cx="4064000" cy="112593"/>
          </a:xfrm>
          <a:prstGeom prst="rect">
            <a:avLst/>
          </a:prstGeom>
        </p:spPr>
        <p:txBody>
          <a:bodyPr anchor="t">
            <a:noAutofit/>
          </a:bodyPr>
          <a:lstStyle>
            <a:lvl1pPr marL="171450" indent="-171450" algn="l">
              <a:lnSpc>
                <a:spcPct val="85000"/>
              </a:lnSpc>
              <a:spcBef>
                <a:spcPts val="0"/>
              </a:spcBef>
              <a:buFont typeface="System Font Regular"/>
              <a:buChar char="–"/>
              <a:defRPr sz="1200" cap="none" spc="70" baseline="0">
                <a:solidFill>
                  <a:schemeClr val="tx2"/>
                </a:solidFill>
              </a:defRPr>
            </a:lvl1pPr>
          </a:lstStyle>
          <a:p>
            <a:pPr lvl="0"/>
            <a:r>
              <a:rPr lang="nb-NO" noProof="0" dirty="0"/>
              <a:t>Klikk for å legge til forfatter / avsender</a:t>
            </a:r>
            <a:endParaRPr lang="en-US" noProof="0" dirty="0"/>
          </a:p>
        </p:txBody>
      </p:sp>
      <p:sp>
        <p:nvSpPr>
          <p:cNvPr id="18" name="Project Text Placeholder 4">
            <a:extLst>
              <a:ext uri="{FF2B5EF4-FFF2-40B4-BE49-F238E27FC236}">
                <a16:creationId xmlns:a16="http://schemas.microsoft.com/office/drawing/2014/main" id="{646776D4-7C75-C249-9960-04B14FEA5E29}"/>
              </a:ext>
            </a:extLst>
          </p:cNvPr>
          <p:cNvSpPr>
            <a:spLocks noGrp="1"/>
          </p:cNvSpPr>
          <p:nvPr>
            <p:ph type="body" sz="quarter" idx="20" hasCustomPrompt="1"/>
          </p:nvPr>
        </p:nvSpPr>
        <p:spPr>
          <a:xfrm rot="5400000">
            <a:off x="9788686" y="1916687"/>
            <a:ext cx="4320000"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grpSp>
        <p:nvGrpSpPr>
          <p:cNvPr id="3" name="Instructions">
            <a:extLst>
              <a:ext uri="{FF2B5EF4-FFF2-40B4-BE49-F238E27FC236}">
                <a16:creationId xmlns:a16="http://schemas.microsoft.com/office/drawing/2014/main" id="{4FBF31C0-9DC4-A4AC-63C4-1208E41FF4A2}"/>
              </a:ext>
            </a:extLst>
          </p:cNvPr>
          <p:cNvGrpSpPr/>
          <p:nvPr userDrawn="1"/>
        </p:nvGrpSpPr>
        <p:grpSpPr>
          <a:xfrm>
            <a:off x="12395260" y="-12189"/>
            <a:ext cx="1681523" cy="2112003"/>
            <a:chOff x="12395260" y="-12189"/>
            <a:chExt cx="1681523" cy="2112003"/>
          </a:xfrm>
        </p:grpSpPr>
        <p:sp>
          <p:nvSpPr>
            <p:cNvPr id="10" name="textruta 5">
              <a:extLst>
                <a:ext uri="{FF2B5EF4-FFF2-40B4-BE49-F238E27FC236}">
                  <a16:creationId xmlns:a16="http://schemas.microsoft.com/office/drawing/2014/main" id="{6125E698-E501-F948-80A2-6E99F56F7359}"/>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1" name="textruta 10">
              <a:extLst>
                <a:ext uri="{FF2B5EF4-FFF2-40B4-BE49-F238E27FC236}">
                  <a16:creationId xmlns:a16="http://schemas.microsoft.com/office/drawing/2014/main" id="{F96DE2D7-6EC7-F04E-BCD5-54998471501A}"/>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2" name="Rektangel 11">
              <a:extLst>
                <a:ext uri="{FF2B5EF4-FFF2-40B4-BE49-F238E27FC236}">
                  <a16:creationId xmlns:a16="http://schemas.microsoft.com/office/drawing/2014/main" id="{51356C9E-5E92-A04E-A4AA-821A446C8B64}"/>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Rektangel 12">
              <a:extLst>
                <a:ext uri="{FF2B5EF4-FFF2-40B4-BE49-F238E27FC236}">
                  <a16:creationId xmlns:a16="http://schemas.microsoft.com/office/drawing/2014/main" id="{15B3ED12-EA8B-F946-BFC3-D77E68E2793F}"/>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Tree>
    <p:extLst>
      <p:ext uri="{BB962C8B-B14F-4D97-AF65-F5344CB8AC3E}">
        <p14:creationId xmlns:p14="http://schemas.microsoft.com/office/powerpoint/2010/main" val="24537589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Sitatslide blå">
    <p:bg>
      <p:bgRef idx="1001">
        <a:schemeClr val="bg2"/>
      </p:bgRef>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49F08F1-62E0-A4D7-FB7F-142D02D50053}"/>
              </a:ext>
            </a:extLst>
          </p:cNvPr>
          <p:cNvSpPr>
            <a:spLocks noGrp="1"/>
          </p:cNvSpPr>
          <p:nvPr>
            <p:ph type="title" hasCustomPrompt="1"/>
          </p:nvPr>
        </p:nvSpPr>
        <p:spPr>
          <a:xfrm>
            <a:off x="576000" y="1852246"/>
            <a:ext cx="7253550" cy="2312681"/>
          </a:xfrm>
        </p:spPr>
        <p:txBody>
          <a:bodyPr anchor="b"/>
          <a:lstStyle/>
          <a:p>
            <a:r>
              <a:rPr lang="nb-NO" dirty="0"/>
              <a:t>Klikk for å legge til et sitat på maksimalt fire linjer</a:t>
            </a:r>
            <a:endParaRPr lang="en-US" dirty="0"/>
          </a:p>
        </p:txBody>
      </p:sp>
      <p:sp>
        <p:nvSpPr>
          <p:cNvPr id="9" name="Text Placeholder 2">
            <a:extLst>
              <a:ext uri="{FF2B5EF4-FFF2-40B4-BE49-F238E27FC236}">
                <a16:creationId xmlns:a16="http://schemas.microsoft.com/office/drawing/2014/main" id="{02F1B97F-3A95-9446-9E62-C3B80BE6BCE7}"/>
              </a:ext>
            </a:extLst>
          </p:cNvPr>
          <p:cNvSpPr>
            <a:spLocks noGrp="1"/>
          </p:cNvSpPr>
          <p:nvPr>
            <p:ph type="body" sz="quarter" idx="19" hasCustomPrompt="1"/>
          </p:nvPr>
        </p:nvSpPr>
        <p:spPr>
          <a:xfrm>
            <a:off x="576263" y="4426246"/>
            <a:ext cx="4064000" cy="112593"/>
          </a:xfrm>
          <a:prstGeom prst="rect">
            <a:avLst/>
          </a:prstGeom>
        </p:spPr>
        <p:txBody>
          <a:bodyPr anchor="t">
            <a:noAutofit/>
          </a:bodyPr>
          <a:lstStyle>
            <a:lvl1pPr marL="171450" indent="-171450" algn="l">
              <a:lnSpc>
                <a:spcPct val="85000"/>
              </a:lnSpc>
              <a:spcBef>
                <a:spcPts val="0"/>
              </a:spcBef>
              <a:buFont typeface="System Font Regular"/>
              <a:buChar char="–"/>
              <a:defRPr sz="1200" cap="none" spc="70" baseline="0">
                <a:solidFill>
                  <a:schemeClr val="tx2"/>
                </a:solidFill>
              </a:defRPr>
            </a:lvl1pPr>
          </a:lstStyle>
          <a:p>
            <a:pPr lvl="0"/>
            <a:r>
              <a:rPr lang="nb-NO" noProof="0" dirty="0"/>
              <a:t>Klikk for å legge til forfatter / avsender</a:t>
            </a:r>
            <a:endParaRPr lang="en-US" noProof="0" dirty="0"/>
          </a:p>
        </p:txBody>
      </p:sp>
      <p:sp>
        <p:nvSpPr>
          <p:cNvPr id="2" name="Logotype">
            <a:extLst>
              <a:ext uri="{FF2B5EF4-FFF2-40B4-BE49-F238E27FC236}">
                <a16:creationId xmlns:a16="http://schemas.microsoft.com/office/drawing/2014/main" id="{75DE0D03-ED90-604B-EF99-06D652DC39D6}"/>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Tree>
    <p:extLst>
      <p:ext uri="{BB962C8B-B14F-4D97-AF65-F5344CB8AC3E}">
        <p14:creationId xmlns:p14="http://schemas.microsoft.com/office/powerpoint/2010/main" val="3354409114"/>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Sitatslide grå">
    <p:bg>
      <p:bgRef idx="1001">
        <a:schemeClr val="bg2"/>
      </p:bgRef>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FB2B4D8-F9F0-3BA2-B4F8-602A8BAB6DD2}"/>
              </a:ext>
            </a:extLst>
          </p:cNvPr>
          <p:cNvSpPr>
            <a:spLocks noGrp="1"/>
          </p:cNvSpPr>
          <p:nvPr>
            <p:ph type="title" hasCustomPrompt="1"/>
          </p:nvPr>
        </p:nvSpPr>
        <p:spPr>
          <a:xfrm>
            <a:off x="576000" y="1852246"/>
            <a:ext cx="7253550" cy="2312681"/>
          </a:xfrm>
        </p:spPr>
        <p:txBody>
          <a:bodyPr anchor="b"/>
          <a:lstStyle/>
          <a:p>
            <a:r>
              <a:rPr lang="nb-NO" dirty="0"/>
              <a:t>Klikk for å legge til et sitat på maksimalt fire linjer</a:t>
            </a:r>
            <a:endParaRPr lang="en-US" dirty="0"/>
          </a:p>
        </p:txBody>
      </p:sp>
      <p:sp>
        <p:nvSpPr>
          <p:cNvPr id="9" name="Text Placeholder 2">
            <a:extLst>
              <a:ext uri="{FF2B5EF4-FFF2-40B4-BE49-F238E27FC236}">
                <a16:creationId xmlns:a16="http://schemas.microsoft.com/office/drawing/2014/main" id="{02F1B97F-3A95-9446-9E62-C3B80BE6BCE7}"/>
              </a:ext>
            </a:extLst>
          </p:cNvPr>
          <p:cNvSpPr>
            <a:spLocks noGrp="1"/>
          </p:cNvSpPr>
          <p:nvPr>
            <p:ph type="body" sz="quarter" idx="19" hasCustomPrompt="1"/>
          </p:nvPr>
        </p:nvSpPr>
        <p:spPr>
          <a:xfrm>
            <a:off x="576263" y="4426246"/>
            <a:ext cx="4064000" cy="112593"/>
          </a:xfrm>
          <a:prstGeom prst="rect">
            <a:avLst/>
          </a:prstGeom>
        </p:spPr>
        <p:txBody>
          <a:bodyPr anchor="t">
            <a:noAutofit/>
          </a:bodyPr>
          <a:lstStyle>
            <a:lvl1pPr marL="171450" indent="-171450" algn="l">
              <a:lnSpc>
                <a:spcPct val="85000"/>
              </a:lnSpc>
              <a:spcBef>
                <a:spcPts val="0"/>
              </a:spcBef>
              <a:buFont typeface="System Font Regular"/>
              <a:buChar char="–"/>
              <a:defRPr sz="1200" cap="none" spc="70" baseline="0">
                <a:solidFill>
                  <a:schemeClr val="tx2"/>
                </a:solidFill>
              </a:defRPr>
            </a:lvl1pPr>
          </a:lstStyle>
          <a:p>
            <a:pPr lvl="0"/>
            <a:r>
              <a:rPr lang="nb-NO" noProof="0" dirty="0"/>
              <a:t>Klikk for å legge til forfatter / avsender</a:t>
            </a:r>
            <a:endParaRPr lang="en-US" noProof="0" dirty="0"/>
          </a:p>
        </p:txBody>
      </p:sp>
      <p:sp>
        <p:nvSpPr>
          <p:cNvPr id="2" name="Logotype">
            <a:extLst>
              <a:ext uri="{FF2B5EF4-FFF2-40B4-BE49-F238E27FC236}">
                <a16:creationId xmlns:a16="http://schemas.microsoft.com/office/drawing/2014/main" id="{A3C82FBC-6AC0-D95D-BC65-BB7302E7D6A6}"/>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Tree>
    <p:extLst>
      <p:ext uri="{BB962C8B-B14F-4D97-AF65-F5344CB8AC3E}">
        <p14:creationId xmlns:p14="http://schemas.microsoft.com/office/powerpoint/2010/main" val="2522047594"/>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 Overskri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0F1E6C-C53C-2CFF-F6FE-A309E9B75D7C}"/>
              </a:ext>
            </a:extLst>
          </p:cNvPr>
          <p:cNvSpPr>
            <a:spLocks noGrp="1"/>
          </p:cNvSpPr>
          <p:nvPr>
            <p:ph type="title" hasCustomPrompt="1"/>
          </p:nvPr>
        </p:nvSpPr>
        <p:spPr>
          <a:xfrm>
            <a:off x="576000" y="730800"/>
            <a:ext cx="11021062" cy="860400"/>
          </a:xfrm>
        </p:spPr>
        <p:txBody>
          <a:bodyPr/>
          <a:lstStyle/>
          <a:p>
            <a:r>
              <a:rPr lang="nb-NO" dirty="0"/>
              <a:t>Klikk for å legge til en overskrift på maksimalt to linjer</a:t>
            </a:r>
            <a:endParaRPr lang="en-US" dirty="0"/>
          </a:p>
        </p:txBody>
      </p:sp>
      <p:sp>
        <p:nvSpPr>
          <p:cNvPr id="2" name="Logotype">
            <a:extLst>
              <a:ext uri="{FF2B5EF4-FFF2-40B4-BE49-F238E27FC236}">
                <a16:creationId xmlns:a16="http://schemas.microsoft.com/office/drawing/2014/main" id="{0ADF6E21-4608-42FD-C853-2C6FCA961DF3}"/>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7" name="Text Placeholder 7">
            <a:extLst>
              <a:ext uri="{FF2B5EF4-FFF2-40B4-BE49-F238E27FC236}">
                <a16:creationId xmlns:a16="http://schemas.microsoft.com/office/drawing/2014/main" id="{C498FE64-A371-BE91-CA87-1ACA50BCE949}"/>
              </a:ext>
            </a:extLst>
          </p:cNvPr>
          <p:cNvSpPr>
            <a:spLocks noGrp="1"/>
          </p:cNvSpPr>
          <p:nvPr>
            <p:ph type="body" sz="quarter" idx="25" hasCustomPrompt="1"/>
          </p:nvPr>
        </p:nvSpPr>
        <p:spPr>
          <a:xfrm>
            <a:off x="576262" y="291600"/>
            <a:ext cx="5180400" cy="180000"/>
          </a:xfrm>
        </p:spPr>
        <p:txBody>
          <a:bodyPr/>
          <a:lstStyle>
            <a:lvl1pPr marL="6350" indent="0">
              <a:buNone/>
              <a:defRPr sz="1200"/>
            </a:lvl1pPr>
          </a:lstStyle>
          <a:p>
            <a:pPr lvl="0"/>
            <a:r>
              <a:rPr lang="nb-NO" dirty="0"/>
              <a:t>Klikk for å legge til kapittel</a:t>
            </a:r>
            <a:endParaRPr lang="en-US" dirty="0"/>
          </a:p>
        </p:txBody>
      </p:sp>
    </p:spTree>
    <p:extLst>
      <p:ext uri="{BB962C8B-B14F-4D97-AF65-F5344CB8AC3E}">
        <p14:creationId xmlns:p14="http://schemas.microsoft.com/office/powerpoint/2010/main" val="533087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Tittel start Grå">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FB249709-F0C2-D4E5-B4E1-5CB461F38CC5}"/>
              </a:ext>
            </a:extLst>
          </p:cNvPr>
          <p:cNvSpPr>
            <a:spLocks noGrp="1"/>
          </p:cNvSpPr>
          <p:nvPr>
            <p:ph type="title" hasCustomPrompt="1"/>
          </p:nvPr>
        </p:nvSpPr>
        <p:spPr>
          <a:xfrm>
            <a:off x="575999" y="1845591"/>
            <a:ext cx="7178815" cy="1903912"/>
          </a:xfrm>
        </p:spPr>
        <p:txBody>
          <a:bodyPr anchor="b"/>
          <a:lstStyle>
            <a:lvl1pPr>
              <a:lnSpc>
                <a:spcPct val="85000"/>
              </a:lnSpc>
              <a:defRPr sz="4200" spc="40" baseline="0">
                <a:solidFill>
                  <a:schemeClr val="tx2"/>
                </a:solidFill>
              </a:defRPr>
            </a:lvl1pPr>
          </a:lstStyle>
          <a:p>
            <a:r>
              <a:rPr lang="nb-NO" dirty="0"/>
              <a:t>Klikk for å legge til en overskrift på maksimalt to linjer</a:t>
            </a:r>
            <a:endParaRPr lang="en-US" dirty="0"/>
          </a:p>
        </p:txBody>
      </p:sp>
      <p:sp>
        <p:nvSpPr>
          <p:cNvPr id="17" name="Text Placeholder 18">
            <a:extLst>
              <a:ext uri="{FF2B5EF4-FFF2-40B4-BE49-F238E27FC236}">
                <a16:creationId xmlns:a16="http://schemas.microsoft.com/office/drawing/2014/main" id="{13062C08-0B1B-AD44-AD72-AA0948D72B37}"/>
              </a:ext>
            </a:extLst>
          </p:cNvPr>
          <p:cNvSpPr>
            <a:spLocks noGrp="1"/>
          </p:cNvSpPr>
          <p:nvPr>
            <p:ph type="body" sz="quarter" idx="15" hasCustomPrompt="1"/>
          </p:nvPr>
        </p:nvSpPr>
        <p:spPr>
          <a:xfrm>
            <a:off x="576000" y="3915585"/>
            <a:ext cx="3773171" cy="646331"/>
          </a:xfrm>
          <a:prstGeom prst="rect">
            <a:avLst/>
          </a:prstGeom>
        </p:spPr>
        <p:txBody>
          <a:bodyPr anchor="t">
            <a:noAutofit/>
          </a:bodyPr>
          <a:lstStyle>
            <a:lvl1pPr marL="0" indent="0">
              <a:lnSpc>
                <a:spcPct val="100000"/>
              </a:lnSpc>
              <a:spcBef>
                <a:spcPts val="0"/>
              </a:spcBef>
              <a:buNone/>
              <a:defRPr sz="1400" spc="70" baseline="0">
                <a:solidFill>
                  <a:schemeClr val="accent1"/>
                </a:solidFill>
              </a:defRPr>
            </a:lvl1pPr>
          </a:lstStyle>
          <a:p>
            <a:pPr lvl="0"/>
            <a:r>
              <a:rPr lang="nb-NO" dirty="0"/>
              <a:t>Klikk for å legge til navn, tittel, Forretningsenhet og dato</a:t>
            </a:r>
            <a:endParaRPr lang="en-GB" dirty="0"/>
          </a:p>
        </p:txBody>
      </p:sp>
      <p:sp>
        <p:nvSpPr>
          <p:cNvPr id="3" name="Logotype">
            <a:extLst>
              <a:ext uri="{FF2B5EF4-FFF2-40B4-BE49-F238E27FC236}">
                <a16:creationId xmlns:a16="http://schemas.microsoft.com/office/drawing/2014/main" id="{D0AF55FE-CF72-CFAE-0C18-AE86B321A904}"/>
              </a:ext>
            </a:extLst>
          </p:cNvPr>
          <p:cNvSpPr/>
          <p:nvPr/>
        </p:nvSpPr>
        <p:spPr>
          <a:xfrm>
            <a:off x="576139" y="356679"/>
            <a:ext cx="1060123" cy="157076"/>
          </a:xfrm>
          <a:custGeom>
            <a:avLst/>
            <a:gdLst>
              <a:gd name="connsiteX0" fmla="*/ 981639 w 1060123"/>
              <a:gd name="connsiteY0" fmla="*/ 32820 h 157076"/>
              <a:gd name="connsiteX1" fmla="*/ 961991 w 1060123"/>
              <a:gd name="connsiteY1" fmla="*/ 93059 h 157076"/>
              <a:gd name="connsiteX2" fmla="*/ 1001935 w 1060123"/>
              <a:gd name="connsiteY2" fmla="*/ 93059 h 157076"/>
              <a:gd name="connsiteX3" fmla="*/ 365214 w 1060123"/>
              <a:gd name="connsiteY3" fmla="*/ 32820 h 157076"/>
              <a:gd name="connsiteX4" fmla="*/ 345566 w 1060123"/>
              <a:gd name="connsiteY4" fmla="*/ 93059 h 157076"/>
              <a:gd name="connsiteX5" fmla="*/ 385509 w 1060123"/>
              <a:gd name="connsiteY5" fmla="*/ 93059 h 157076"/>
              <a:gd name="connsiteX6" fmla="*/ 957997 w 1060123"/>
              <a:gd name="connsiteY6" fmla="*/ 109 h 157076"/>
              <a:gd name="connsiteX7" fmla="*/ 1004202 w 1060123"/>
              <a:gd name="connsiteY7" fmla="*/ 109 h 157076"/>
              <a:gd name="connsiteX8" fmla="*/ 1060123 w 1060123"/>
              <a:gd name="connsiteY8" fmla="*/ 157076 h 157076"/>
              <a:gd name="connsiteX9" fmla="*/ 1022447 w 1060123"/>
              <a:gd name="connsiteY9" fmla="*/ 157076 h 157076"/>
              <a:gd name="connsiteX10" fmla="*/ 1012191 w 1060123"/>
              <a:gd name="connsiteY10" fmla="*/ 125013 h 157076"/>
              <a:gd name="connsiteX11" fmla="*/ 952059 w 1060123"/>
              <a:gd name="connsiteY11" fmla="*/ 125013 h 157076"/>
              <a:gd name="connsiteX12" fmla="*/ 942127 w 1060123"/>
              <a:gd name="connsiteY12" fmla="*/ 157076 h 157076"/>
              <a:gd name="connsiteX13" fmla="*/ 903803 w 1060123"/>
              <a:gd name="connsiteY13" fmla="*/ 157076 h 157076"/>
              <a:gd name="connsiteX14" fmla="*/ 664467 w 1060123"/>
              <a:gd name="connsiteY14" fmla="*/ 109 h 157076"/>
              <a:gd name="connsiteX15" fmla="*/ 738632 w 1060123"/>
              <a:gd name="connsiteY15" fmla="*/ 109 h 157076"/>
              <a:gd name="connsiteX16" fmla="*/ 738632 w 1060123"/>
              <a:gd name="connsiteY16" fmla="*/ 33251 h 157076"/>
              <a:gd name="connsiteX17" fmla="*/ 664467 w 1060123"/>
              <a:gd name="connsiteY17" fmla="*/ 33251 h 157076"/>
              <a:gd name="connsiteX18" fmla="*/ 649677 w 1060123"/>
              <a:gd name="connsiteY18" fmla="*/ 47825 h 157076"/>
              <a:gd name="connsiteX19" fmla="*/ 664467 w 1060123"/>
              <a:gd name="connsiteY19" fmla="*/ 62399 h 157076"/>
              <a:gd name="connsiteX20" fmla="*/ 707217 w 1060123"/>
              <a:gd name="connsiteY20" fmla="*/ 62399 h 157076"/>
              <a:gd name="connsiteX21" fmla="*/ 749643 w 1060123"/>
              <a:gd name="connsiteY21" fmla="*/ 108172 h 157076"/>
              <a:gd name="connsiteX22" fmla="*/ 700308 w 1060123"/>
              <a:gd name="connsiteY22" fmla="*/ 157076 h 157076"/>
              <a:gd name="connsiteX23" fmla="*/ 622148 w 1060123"/>
              <a:gd name="connsiteY23" fmla="*/ 157076 h 157076"/>
              <a:gd name="connsiteX24" fmla="*/ 622148 w 1060123"/>
              <a:gd name="connsiteY24" fmla="*/ 122746 h 157076"/>
              <a:gd name="connsiteX25" fmla="*/ 701603 w 1060123"/>
              <a:gd name="connsiteY25" fmla="*/ 122746 h 157076"/>
              <a:gd name="connsiteX26" fmla="*/ 715745 w 1060123"/>
              <a:gd name="connsiteY26" fmla="*/ 108172 h 157076"/>
              <a:gd name="connsiteX27" fmla="*/ 701603 w 1060123"/>
              <a:gd name="connsiteY27" fmla="*/ 93598 h 157076"/>
              <a:gd name="connsiteX28" fmla="*/ 664467 w 1060123"/>
              <a:gd name="connsiteY28" fmla="*/ 93598 h 157076"/>
              <a:gd name="connsiteX29" fmla="*/ 615779 w 1060123"/>
              <a:gd name="connsiteY29" fmla="*/ 47825 h 157076"/>
              <a:gd name="connsiteX30" fmla="*/ 664467 w 1060123"/>
              <a:gd name="connsiteY30" fmla="*/ 109 h 157076"/>
              <a:gd name="connsiteX31" fmla="*/ 457192 w 1060123"/>
              <a:gd name="connsiteY31" fmla="*/ 109 h 157076"/>
              <a:gd name="connsiteX32" fmla="*/ 494221 w 1060123"/>
              <a:gd name="connsiteY32" fmla="*/ 109 h 157076"/>
              <a:gd name="connsiteX33" fmla="*/ 557267 w 1060123"/>
              <a:gd name="connsiteY33" fmla="*/ 98780 h 157076"/>
              <a:gd name="connsiteX34" fmla="*/ 557267 w 1060123"/>
              <a:gd name="connsiteY34" fmla="*/ 109 h 157076"/>
              <a:gd name="connsiteX35" fmla="*/ 593432 w 1060123"/>
              <a:gd name="connsiteY35" fmla="*/ 109 h 157076"/>
              <a:gd name="connsiteX36" fmla="*/ 593648 w 1060123"/>
              <a:gd name="connsiteY36" fmla="*/ 123178 h 157076"/>
              <a:gd name="connsiteX37" fmla="*/ 593756 w 1060123"/>
              <a:gd name="connsiteY37" fmla="*/ 157076 h 157076"/>
              <a:gd name="connsiteX38" fmla="*/ 556079 w 1060123"/>
              <a:gd name="connsiteY38" fmla="*/ 157076 h 157076"/>
              <a:gd name="connsiteX39" fmla="*/ 556079 w 1060123"/>
              <a:gd name="connsiteY39" fmla="*/ 156752 h 157076"/>
              <a:gd name="connsiteX40" fmla="*/ 493573 w 1060123"/>
              <a:gd name="connsiteY40" fmla="*/ 60240 h 157076"/>
              <a:gd name="connsiteX41" fmla="*/ 493573 w 1060123"/>
              <a:gd name="connsiteY41" fmla="*/ 157076 h 157076"/>
              <a:gd name="connsiteX42" fmla="*/ 457192 w 1060123"/>
              <a:gd name="connsiteY42" fmla="*/ 157076 h 157076"/>
              <a:gd name="connsiteX43" fmla="*/ 341571 w 1060123"/>
              <a:gd name="connsiteY43" fmla="*/ 109 h 157076"/>
              <a:gd name="connsiteX44" fmla="*/ 387776 w 1060123"/>
              <a:gd name="connsiteY44" fmla="*/ 109 h 157076"/>
              <a:gd name="connsiteX45" fmla="*/ 443697 w 1060123"/>
              <a:gd name="connsiteY45" fmla="*/ 157076 h 157076"/>
              <a:gd name="connsiteX46" fmla="*/ 405913 w 1060123"/>
              <a:gd name="connsiteY46" fmla="*/ 157076 h 157076"/>
              <a:gd name="connsiteX47" fmla="*/ 395657 w 1060123"/>
              <a:gd name="connsiteY47" fmla="*/ 125013 h 157076"/>
              <a:gd name="connsiteX48" fmla="*/ 335526 w 1060123"/>
              <a:gd name="connsiteY48" fmla="*/ 125013 h 157076"/>
              <a:gd name="connsiteX49" fmla="*/ 325594 w 1060123"/>
              <a:gd name="connsiteY49" fmla="*/ 157076 h 157076"/>
              <a:gd name="connsiteX50" fmla="*/ 287270 w 1060123"/>
              <a:gd name="connsiteY50" fmla="*/ 157076 h 157076"/>
              <a:gd name="connsiteX51" fmla="*/ 48688 w 1060123"/>
              <a:gd name="connsiteY51" fmla="*/ 109 h 157076"/>
              <a:gd name="connsiteX52" fmla="*/ 122853 w 1060123"/>
              <a:gd name="connsiteY52" fmla="*/ 109 h 157076"/>
              <a:gd name="connsiteX53" fmla="*/ 122853 w 1060123"/>
              <a:gd name="connsiteY53" fmla="*/ 33251 h 157076"/>
              <a:gd name="connsiteX54" fmla="*/ 48688 w 1060123"/>
              <a:gd name="connsiteY54" fmla="*/ 33251 h 157076"/>
              <a:gd name="connsiteX55" fmla="*/ 33898 w 1060123"/>
              <a:gd name="connsiteY55" fmla="*/ 47825 h 157076"/>
              <a:gd name="connsiteX56" fmla="*/ 48688 w 1060123"/>
              <a:gd name="connsiteY56" fmla="*/ 62399 h 157076"/>
              <a:gd name="connsiteX57" fmla="*/ 91438 w 1060123"/>
              <a:gd name="connsiteY57" fmla="*/ 62399 h 157076"/>
              <a:gd name="connsiteX58" fmla="*/ 133756 w 1060123"/>
              <a:gd name="connsiteY58" fmla="*/ 108172 h 157076"/>
              <a:gd name="connsiteX59" fmla="*/ 84421 w 1060123"/>
              <a:gd name="connsiteY59" fmla="*/ 157076 h 157076"/>
              <a:gd name="connsiteX60" fmla="*/ 6261 w 1060123"/>
              <a:gd name="connsiteY60" fmla="*/ 157076 h 157076"/>
              <a:gd name="connsiteX61" fmla="*/ 6261 w 1060123"/>
              <a:gd name="connsiteY61" fmla="*/ 122746 h 157076"/>
              <a:gd name="connsiteX62" fmla="*/ 85824 w 1060123"/>
              <a:gd name="connsiteY62" fmla="*/ 122746 h 157076"/>
              <a:gd name="connsiteX63" fmla="*/ 99966 w 1060123"/>
              <a:gd name="connsiteY63" fmla="*/ 108172 h 157076"/>
              <a:gd name="connsiteX64" fmla="*/ 85824 w 1060123"/>
              <a:gd name="connsiteY64" fmla="*/ 93598 h 157076"/>
              <a:gd name="connsiteX65" fmla="*/ 48688 w 1060123"/>
              <a:gd name="connsiteY65" fmla="*/ 93598 h 157076"/>
              <a:gd name="connsiteX66" fmla="*/ 0 w 1060123"/>
              <a:gd name="connsiteY66" fmla="*/ 47825 h 157076"/>
              <a:gd name="connsiteX67" fmla="*/ 48688 w 1060123"/>
              <a:gd name="connsiteY67" fmla="*/ 109 h 157076"/>
              <a:gd name="connsiteX68" fmla="*/ 771342 w 1060123"/>
              <a:gd name="connsiteY68" fmla="*/ 0 h 157076"/>
              <a:gd name="connsiteX69" fmla="*/ 807615 w 1060123"/>
              <a:gd name="connsiteY69" fmla="*/ 0 h 157076"/>
              <a:gd name="connsiteX70" fmla="*/ 807615 w 1060123"/>
              <a:gd name="connsiteY70" fmla="*/ 66285 h 157076"/>
              <a:gd name="connsiteX71" fmla="*/ 859218 w 1060123"/>
              <a:gd name="connsiteY71" fmla="*/ 0 h 157076"/>
              <a:gd name="connsiteX72" fmla="*/ 901429 w 1060123"/>
              <a:gd name="connsiteY72" fmla="*/ 0 h 157076"/>
              <a:gd name="connsiteX73" fmla="*/ 842053 w 1060123"/>
              <a:gd name="connsiteY73" fmla="*/ 78592 h 157076"/>
              <a:gd name="connsiteX74" fmla="*/ 901429 w 1060123"/>
              <a:gd name="connsiteY74" fmla="*/ 157076 h 157076"/>
              <a:gd name="connsiteX75" fmla="*/ 859218 w 1060123"/>
              <a:gd name="connsiteY75" fmla="*/ 157076 h 157076"/>
              <a:gd name="connsiteX76" fmla="*/ 807615 w 1060123"/>
              <a:gd name="connsiteY76" fmla="*/ 90791 h 157076"/>
              <a:gd name="connsiteX77" fmla="*/ 807615 w 1060123"/>
              <a:gd name="connsiteY77" fmla="*/ 157076 h 157076"/>
              <a:gd name="connsiteX78" fmla="*/ 771342 w 1060123"/>
              <a:gd name="connsiteY78" fmla="*/ 157076 h 157076"/>
              <a:gd name="connsiteX79" fmla="*/ 154916 w 1060123"/>
              <a:gd name="connsiteY79" fmla="*/ 0 h 157076"/>
              <a:gd name="connsiteX80" fmla="*/ 191081 w 1060123"/>
              <a:gd name="connsiteY80" fmla="*/ 0 h 157076"/>
              <a:gd name="connsiteX81" fmla="*/ 191081 w 1060123"/>
              <a:gd name="connsiteY81" fmla="*/ 66285 h 157076"/>
              <a:gd name="connsiteX82" fmla="*/ 242684 w 1060123"/>
              <a:gd name="connsiteY82" fmla="*/ 0 h 157076"/>
              <a:gd name="connsiteX83" fmla="*/ 285003 w 1060123"/>
              <a:gd name="connsiteY83" fmla="*/ 0 h 157076"/>
              <a:gd name="connsiteX84" fmla="*/ 225519 w 1060123"/>
              <a:gd name="connsiteY84" fmla="*/ 78592 h 157076"/>
              <a:gd name="connsiteX85" fmla="*/ 285003 w 1060123"/>
              <a:gd name="connsiteY85" fmla="*/ 157076 h 157076"/>
              <a:gd name="connsiteX86" fmla="*/ 242684 w 1060123"/>
              <a:gd name="connsiteY86" fmla="*/ 157076 h 157076"/>
              <a:gd name="connsiteX87" fmla="*/ 191081 w 1060123"/>
              <a:gd name="connsiteY87" fmla="*/ 90791 h 157076"/>
              <a:gd name="connsiteX88" fmla="*/ 191081 w 1060123"/>
              <a:gd name="connsiteY88" fmla="*/ 157076 h 157076"/>
              <a:gd name="connsiteX89" fmla="*/ 154916 w 1060123"/>
              <a:gd name="connsiteY89" fmla="*/ 157076 h 157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060123" h="157076">
                <a:moveTo>
                  <a:pt x="981639" y="32820"/>
                </a:moveTo>
                <a:lnTo>
                  <a:pt x="961991" y="93059"/>
                </a:lnTo>
                <a:lnTo>
                  <a:pt x="1001935" y="93059"/>
                </a:lnTo>
                <a:close/>
                <a:moveTo>
                  <a:pt x="365214" y="32820"/>
                </a:moveTo>
                <a:lnTo>
                  <a:pt x="345566" y="93059"/>
                </a:lnTo>
                <a:lnTo>
                  <a:pt x="385509" y="93059"/>
                </a:lnTo>
                <a:close/>
                <a:moveTo>
                  <a:pt x="957997" y="109"/>
                </a:moveTo>
                <a:lnTo>
                  <a:pt x="1004202" y="109"/>
                </a:lnTo>
                <a:lnTo>
                  <a:pt x="1060123" y="157076"/>
                </a:lnTo>
                <a:lnTo>
                  <a:pt x="1022447" y="157076"/>
                </a:lnTo>
                <a:lnTo>
                  <a:pt x="1012191" y="125013"/>
                </a:lnTo>
                <a:lnTo>
                  <a:pt x="952059" y="125013"/>
                </a:lnTo>
                <a:lnTo>
                  <a:pt x="942127" y="157076"/>
                </a:lnTo>
                <a:lnTo>
                  <a:pt x="903803" y="157076"/>
                </a:lnTo>
                <a:close/>
                <a:moveTo>
                  <a:pt x="664467" y="109"/>
                </a:moveTo>
                <a:lnTo>
                  <a:pt x="738632" y="109"/>
                </a:lnTo>
                <a:lnTo>
                  <a:pt x="738632" y="33251"/>
                </a:lnTo>
                <a:lnTo>
                  <a:pt x="664467" y="33251"/>
                </a:lnTo>
                <a:cubicBezTo>
                  <a:pt x="654427" y="33251"/>
                  <a:pt x="649677" y="40160"/>
                  <a:pt x="649677" y="47825"/>
                </a:cubicBezTo>
                <a:cubicBezTo>
                  <a:pt x="649677" y="55490"/>
                  <a:pt x="654427" y="62399"/>
                  <a:pt x="664467" y="62399"/>
                </a:cubicBezTo>
                <a:lnTo>
                  <a:pt x="707217" y="62399"/>
                </a:lnTo>
                <a:cubicBezTo>
                  <a:pt x="731183" y="62399"/>
                  <a:pt x="749643" y="79456"/>
                  <a:pt x="749643" y="108172"/>
                </a:cubicBezTo>
                <a:cubicBezTo>
                  <a:pt x="749643" y="140019"/>
                  <a:pt x="731291" y="157076"/>
                  <a:pt x="700308" y="157076"/>
                </a:cubicBezTo>
                <a:lnTo>
                  <a:pt x="622148" y="157076"/>
                </a:lnTo>
                <a:lnTo>
                  <a:pt x="622148" y="122746"/>
                </a:lnTo>
                <a:lnTo>
                  <a:pt x="701603" y="122746"/>
                </a:lnTo>
                <a:cubicBezTo>
                  <a:pt x="710995" y="122746"/>
                  <a:pt x="715745" y="115837"/>
                  <a:pt x="715745" y="108172"/>
                </a:cubicBezTo>
                <a:cubicBezTo>
                  <a:pt x="715745" y="100723"/>
                  <a:pt x="710995" y="93598"/>
                  <a:pt x="701603" y="93598"/>
                </a:cubicBezTo>
                <a:lnTo>
                  <a:pt x="664467" y="93598"/>
                </a:lnTo>
                <a:cubicBezTo>
                  <a:pt x="637046" y="93598"/>
                  <a:pt x="615779" y="77837"/>
                  <a:pt x="615779" y="47825"/>
                </a:cubicBezTo>
                <a:cubicBezTo>
                  <a:pt x="615779" y="17814"/>
                  <a:pt x="634239" y="109"/>
                  <a:pt x="664467" y="109"/>
                </a:cubicBezTo>
                <a:close/>
                <a:moveTo>
                  <a:pt x="457192" y="109"/>
                </a:moveTo>
                <a:lnTo>
                  <a:pt x="494221" y="109"/>
                </a:lnTo>
                <a:lnTo>
                  <a:pt x="557267" y="98780"/>
                </a:lnTo>
                <a:lnTo>
                  <a:pt x="557267" y="109"/>
                </a:lnTo>
                <a:lnTo>
                  <a:pt x="593432" y="109"/>
                </a:lnTo>
                <a:lnTo>
                  <a:pt x="593648" y="123178"/>
                </a:lnTo>
                <a:lnTo>
                  <a:pt x="593756" y="157076"/>
                </a:lnTo>
                <a:lnTo>
                  <a:pt x="556079" y="157076"/>
                </a:lnTo>
                <a:lnTo>
                  <a:pt x="556079" y="156752"/>
                </a:lnTo>
                <a:lnTo>
                  <a:pt x="493573" y="60240"/>
                </a:lnTo>
                <a:lnTo>
                  <a:pt x="493573" y="157076"/>
                </a:lnTo>
                <a:lnTo>
                  <a:pt x="457192" y="157076"/>
                </a:lnTo>
                <a:close/>
                <a:moveTo>
                  <a:pt x="341571" y="109"/>
                </a:moveTo>
                <a:lnTo>
                  <a:pt x="387776" y="109"/>
                </a:lnTo>
                <a:lnTo>
                  <a:pt x="443697" y="157076"/>
                </a:lnTo>
                <a:lnTo>
                  <a:pt x="405913" y="157076"/>
                </a:lnTo>
                <a:lnTo>
                  <a:pt x="395657" y="125013"/>
                </a:lnTo>
                <a:lnTo>
                  <a:pt x="335526" y="125013"/>
                </a:lnTo>
                <a:lnTo>
                  <a:pt x="325594" y="157076"/>
                </a:lnTo>
                <a:lnTo>
                  <a:pt x="287270" y="157076"/>
                </a:lnTo>
                <a:close/>
                <a:moveTo>
                  <a:pt x="48688" y="109"/>
                </a:moveTo>
                <a:lnTo>
                  <a:pt x="122853" y="109"/>
                </a:lnTo>
                <a:lnTo>
                  <a:pt x="122853" y="33251"/>
                </a:lnTo>
                <a:lnTo>
                  <a:pt x="48688" y="33251"/>
                </a:lnTo>
                <a:cubicBezTo>
                  <a:pt x="38648" y="33251"/>
                  <a:pt x="33898" y="40160"/>
                  <a:pt x="33898" y="47825"/>
                </a:cubicBezTo>
                <a:cubicBezTo>
                  <a:pt x="33898" y="55490"/>
                  <a:pt x="38648" y="62399"/>
                  <a:pt x="48688" y="62399"/>
                </a:cubicBezTo>
                <a:lnTo>
                  <a:pt x="91438" y="62399"/>
                </a:lnTo>
                <a:cubicBezTo>
                  <a:pt x="115404" y="62399"/>
                  <a:pt x="133756" y="79456"/>
                  <a:pt x="133756" y="108172"/>
                </a:cubicBezTo>
                <a:cubicBezTo>
                  <a:pt x="133756" y="140019"/>
                  <a:pt x="115404" y="157076"/>
                  <a:pt x="84421" y="157076"/>
                </a:cubicBezTo>
                <a:lnTo>
                  <a:pt x="6261" y="157076"/>
                </a:lnTo>
                <a:lnTo>
                  <a:pt x="6261" y="122746"/>
                </a:lnTo>
                <a:lnTo>
                  <a:pt x="85824" y="122746"/>
                </a:lnTo>
                <a:cubicBezTo>
                  <a:pt x="95216" y="122746"/>
                  <a:pt x="99966" y="115837"/>
                  <a:pt x="99966" y="108172"/>
                </a:cubicBezTo>
                <a:cubicBezTo>
                  <a:pt x="99966" y="100723"/>
                  <a:pt x="95216" y="93598"/>
                  <a:pt x="85824" y="93598"/>
                </a:cubicBezTo>
                <a:lnTo>
                  <a:pt x="48688" y="93598"/>
                </a:lnTo>
                <a:cubicBezTo>
                  <a:pt x="21267" y="93598"/>
                  <a:pt x="0" y="77837"/>
                  <a:pt x="0" y="47825"/>
                </a:cubicBezTo>
                <a:cubicBezTo>
                  <a:pt x="0" y="17814"/>
                  <a:pt x="18352" y="109"/>
                  <a:pt x="48688" y="109"/>
                </a:cubicBezTo>
                <a:close/>
                <a:moveTo>
                  <a:pt x="771342" y="0"/>
                </a:moveTo>
                <a:lnTo>
                  <a:pt x="807615" y="0"/>
                </a:lnTo>
                <a:lnTo>
                  <a:pt x="807615" y="66285"/>
                </a:lnTo>
                <a:lnTo>
                  <a:pt x="859218" y="0"/>
                </a:lnTo>
                <a:lnTo>
                  <a:pt x="901429" y="0"/>
                </a:lnTo>
                <a:lnTo>
                  <a:pt x="842053" y="78592"/>
                </a:lnTo>
                <a:lnTo>
                  <a:pt x="901429" y="157076"/>
                </a:lnTo>
                <a:lnTo>
                  <a:pt x="859218" y="157076"/>
                </a:lnTo>
                <a:lnTo>
                  <a:pt x="807615" y="90791"/>
                </a:lnTo>
                <a:lnTo>
                  <a:pt x="807615" y="157076"/>
                </a:lnTo>
                <a:lnTo>
                  <a:pt x="771342" y="157076"/>
                </a:lnTo>
                <a:close/>
                <a:moveTo>
                  <a:pt x="154916" y="0"/>
                </a:moveTo>
                <a:lnTo>
                  <a:pt x="191081" y="0"/>
                </a:lnTo>
                <a:lnTo>
                  <a:pt x="191081" y="66285"/>
                </a:lnTo>
                <a:lnTo>
                  <a:pt x="242684" y="0"/>
                </a:lnTo>
                <a:lnTo>
                  <a:pt x="285003" y="0"/>
                </a:lnTo>
                <a:lnTo>
                  <a:pt x="225519" y="78592"/>
                </a:lnTo>
                <a:lnTo>
                  <a:pt x="285003" y="157076"/>
                </a:lnTo>
                <a:lnTo>
                  <a:pt x="242684" y="157076"/>
                </a:lnTo>
                <a:lnTo>
                  <a:pt x="191081" y="90791"/>
                </a:lnTo>
                <a:lnTo>
                  <a:pt x="191081" y="157076"/>
                </a:lnTo>
                <a:lnTo>
                  <a:pt x="154916" y="157076"/>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Tree>
    <p:extLst>
      <p:ext uri="{BB962C8B-B14F-4D97-AF65-F5344CB8AC3E}">
        <p14:creationId xmlns:p14="http://schemas.microsoft.com/office/powerpoint/2010/main" val="33678391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 Overskrift og teks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7A9A021-BDE5-5E2A-FE50-3227D8637A59}"/>
              </a:ext>
            </a:extLst>
          </p:cNvPr>
          <p:cNvSpPr>
            <a:spLocks noGrp="1"/>
          </p:cNvSpPr>
          <p:nvPr>
            <p:ph type="title" hasCustomPrompt="1"/>
          </p:nvPr>
        </p:nvSpPr>
        <p:spPr>
          <a:xfrm>
            <a:off x="576000" y="730800"/>
            <a:ext cx="7253550" cy="860400"/>
          </a:xfrm>
        </p:spPr>
        <p:txBody>
          <a:bodyPr/>
          <a:lstStyle/>
          <a:p>
            <a:r>
              <a:rPr lang="nb-NO" dirty="0"/>
              <a:t>Klikk for å legge til en overskrift på maksimalt to linjer</a:t>
            </a:r>
            <a:endParaRPr lang="en-US" dirty="0"/>
          </a:p>
        </p:txBody>
      </p:sp>
      <p:sp>
        <p:nvSpPr>
          <p:cNvPr id="25" name="Text Placeholder 3">
            <a:extLst>
              <a:ext uri="{FF2B5EF4-FFF2-40B4-BE49-F238E27FC236}">
                <a16:creationId xmlns:a16="http://schemas.microsoft.com/office/drawing/2014/main" id="{2E8EBC9E-D535-B04E-BD8C-391B61C35F12}"/>
              </a:ext>
            </a:extLst>
          </p:cNvPr>
          <p:cNvSpPr>
            <a:spLocks noGrp="1"/>
          </p:cNvSpPr>
          <p:nvPr>
            <p:ph type="body" sz="quarter" idx="20" hasCustomPrompt="1"/>
          </p:nvPr>
        </p:nvSpPr>
        <p:spPr>
          <a:xfrm>
            <a:off x="576000" y="2527200"/>
            <a:ext cx="7253550" cy="3600450"/>
          </a:xfrm>
        </p:spPr>
        <p:txBody>
          <a:bodyPr/>
          <a:lstStyle>
            <a:lvl1pPr>
              <a:defRPr/>
            </a:lvl1pPr>
            <a:lvl2pPr>
              <a:defRPr/>
            </a:lvl2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brødtekst</a:t>
            </a:r>
            <a:endParaRPr lang="en-US" noProof="0" dirty="0"/>
          </a:p>
        </p:txBody>
      </p:sp>
      <p:sp>
        <p:nvSpPr>
          <p:cNvPr id="2" name="Logotype">
            <a:extLst>
              <a:ext uri="{FF2B5EF4-FFF2-40B4-BE49-F238E27FC236}">
                <a16:creationId xmlns:a16="http://schemas.microsoft.com/office/drawing/2014/main" id="{33766D45-8961-DE3E-A8E4-7A4A33116BD1}"/>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7" name="Text Placeholder 7">
            <a:extLst>
              <a:ext uri="{FF2B5EF4-FFF2-40B4-BE49-F238E27FC236}">
                <a16:creationId xmlns:a16="http://schemas.microsoft.com/office/drawing/2014/main" id="{67BA10CE-8DDB-41AB-81CC-691680B9DD3D}"/>
              </a:ext>
            </a:extLst>
          </p:cNvPr>
          <p:cNvSpPr>
            <a:spLocks noGrp="1"/>
          </p:cNvSpPr>
          <p:nvPr>
            <p:ph type="body" sz="quarter" idx="25" hasCustomPrompt="1"/>
          </p:nvPr>
        </p:nvSpPr>
        <p:spPr>
          <a:xfrm>
            <a:off x="576262" y="291600"/>
            <a:ext cx="5180400" cy="180000"/>
          </a:xfrm>
        </p:spPr>
        <p:txBody>
          <a:bodyPr/>
          <a:lstStyle>
            <a:lvl1pPr marL="6350" indent="0">
              <a:buNone/>
              <a:defRPr sz="1200"/>
            </a:lvl1pPr>
          </a:lstStyle>
          <a:p>
            <a:pPr lvl="0"/>
            <a:r>
              <a:rPr lang="nb-NO" dirty="0"/>
              <a:t>Klikk for å legge til kapittel</a:t>
            </a:r>
            <a:endParaRPr lang="en-US" dirty="0"/>
          </a:p>
        </p:txBody>
      </p:sp>
    </p:spTree>
    <p:extLst>
      <p:ext uri="{BB962C8B-B14F-4D97-AF65-F5344CB8AC3E}">
        <p14:creationId xmlns:p14="http://schemas.microsoft.com/office/powerpoint/2010/main" val="19411135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 Tekst og halvbil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83718FC5-379A-3343-904E-06A5A117D84C}"/>
              </a:ext>
            </a:extLst>
          </p:cNvPr>
          <p:cNvSpPr>
            <a:spLocks noGrp="1"/>
          </p:cNvSpPr>
          <p:nvPr>
            <p:ph type="pic" sz="quarter" idx="18" hasCustomPrompt="1"/>
          </p:nvPr>
        </p:nvSpPr>
        <p:spPr>
          <a:xfrm>
            <a:off x="6096003" y="0"/>
            <a:ext cx="6095997" cy="6857997"/>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tx2"/>
                </a:solidFill>
              </a:defRPr>
            </a:lvl1pPr>
          </a:lstStyle>
          <a:p>
            <a:r>
              <a:rPr lang="nb-NO" noProof="0" dirty="0"/>
              <a:t>Klikk på ikonet for å legge til et bilde</a:t>
            </a:r>
            <a:endParaRPr lang="en-US" noProof="0" dirty="0"/>
          </a:p>
        </p:txBody>
      </p:sp>
      <p:sp>
        <p:nvSpPr>
          <p:cNvPr id="2" name="Title 1">
            <a:extLst>
              <a:ext uri="{FF2B5EF4-FFF2-40B4-BE49-F238E27FC236}">
                <a16:creationId xmlns:a16="http://schemas.microsoft.com/office/drawing/2014/main" id="{D51B5B98-C89D-6A93-0B14-0B076A4FCF8C}"/>
              </a:ext>
            </a:extLst>
          </p:cNvPr>
          <p:cNvSpPr>
            <a:spLocks noGrp="1"/>
          </p:cNvSpPr>
          <p:nvPr>
            <p:ph type="title" hasCustomPrompt="1"/>
          </p:nvPr>
        </p:nvSpPr>
        <p:spPr>
          <a:xfrm>
            <a:off x="576000" y="730800"/>
            <a:ext cx="5181333" cy="1365942"/>
          </a:xfrm>
        </p:spPr>
        <p:txBody>
          <a:bodyPr/>
          <a:lstStyle/>
          <a:p>
            <a:r>
              <a:rPr lang="nb-NO" dirty="0"/>
              <a:t>Klikk for å legge til en overskrift på maksimalt tre linjer</a:t>
            </a:r>
            <a:endParaRPr lang="en-US" dirty="0"/>
          </a:p>
        </p:txBody>
      </p:sp>
      <p:sp>
        <p:nvSpPr>
          <p:cNvPr id="12" name="Text Placeholder 2">
            <a:extLst>
              <a:ext uri="{FF2B5EF4-FFF2-40B4-BE49-F238E27FC236}">
                <a16:creationId xmlns:a16="http://schemas.microsoft.com/office/drawing/2014/main" id="{2A42B50C-7FD1-C146-8ECB-95091B05A65D}"/>
              </a:ext>
            </a:extLst>
          </p:cNvPr>
          <p:cNvSpPr>
            <a:spLocks noGrp="1"/>
          </p:cNvSpPr>
          <p:nvPr>
            <p:ph type="body" sz="quarter" idx="20" hasCustomPrompt="1"/>
          </p:nvPr>
        </p:nvSpPr>
        <p:spPr>
          <a:xfrm>
            <a:off x="576000" y="2527200"/>
            <a:ext cx="5181333" cy="3600450"/>
          </a:xfrm>
        </p:spPr>
        <p:txBody>
          <a:body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brødtekst</a:t>
            </a:r>
            <a:endParaRPr lang="en-US" noProof="0" dirty="0"/>
          </a:p>
        </p:txBody>
      </p:sp>
      <p:sp>
        <p:nvSpPr>
          <p:cNvPr id="25" name="Text Placeholder 4">
            <a:extLst>
              <a:ext uri="{FF2B5EF4-FFF2-40B4-BE49-F238E27FC236}">
                <a16:creationId xmlns:a16="http://schemas.microsoft.com/office/drawing/2014/main" id="{ADFA69F0-4DC9-E843-AD83-A7CA3C778BDC}"/>
              </a:ext>
            </a:extLst>
          </p:cNvPr>
          <p:cNvSpPr>
            <a:spLocks noGrp="1"/>
          </p:cNvSpPr>
          <p:nvPr>
            <p:ph type="body" sz="quarter" idx="21" hasCustomPrompt="1"/>
          </p:nvPr>
        </p:nvSpPr>
        <p:spPr>
          <a:xfrm rot="5400000">
            <a:off x="9788686" y="1916687"/>
            <a:ext cx="4320000"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sp>
        <p:nvSpPr>
          <p:cNvPr id="3" name="Logotype">
            <a:extLst>
              <a:ext uri="{FF2B5EF4-FFF2-40B4-BE49-F238E27FC236}">
                <a16:creationId xmlns:a16="http://schemas.microsoft.com/office/drawing/2014/main" id="{1FA5222F-5F5C-D231-9199-F1B836804604}"/>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8" name="Text Placeholder 7">
            <a:extLst>
              <a:ext uri="{FF2B5EF4-FFF2-40B4-BE49-F238E27FC236}">
                <a16:creationId xmlns:a16="http://schemas.microsoft.com/office/drawing/2014/main" id="{29FD068F-2789-FB5C-A1CD-0B6E4FA14399}"/>
              </a:ext>
            </a:extLst>
          </p:cNvPr>
          <p:cNvSpPr>
            <a:spLocks noGrp="1"/>
          </p:cNvSpPr>
          <p:nvPr>
            <p:ph type="body" sz="quarter" idx="25" hasCustomPrompt="1"/>
          </p:nvPr>
        </p:nvSpPr>
        <p:spPr>
          <a:xfrm>
            <a:off x="576262" y="291600"/>
            <a:ext cx="5180400" cy="180000"/>
          </a:xfrm>
        </p:spPr>
        <p:txBody>
          <a:bodyPr/>
          <a:lstStyle>
            <a:lvl1pPr marL="6350" indent="0">
              <a:buNone/>
              <a:defRPr sz="1200"/>
            </a:lvl1pPr>
          </a:lstStyle>
          <a:p>
            <a:pPr lvl="0"/>
            <a:r>
              <a:rPr lang="nb-NO" dirty="0"/>
              <a:t>Klikk for å legge til kapittel</a:t>
            </a:r>
            <a:endParaRPr lang="en-US" dirty="0"/>
          </a:p>
        </p:txBody>
      </p:sp>
    </p:spTree>
    <p:extLst>
      <p:ext uri="{BB962C8B-B14F-4D97-AF65-F5344CB8AC3E}">
        <p14:creationId xmlns:p14="http://schemas.microsoft.com/office/powerpoint/2010/main" val="1861981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 Tekst og to bilder">
    <p:spTree>
      <p:nvGrpSpPr>
        <p:cNvPr id="1" name=""/>
        <p:cNvGrpSpPr/>
        <p:nvPr/>
      </p:nvGrpSpPr>
      <p:grpSpPr>
        <a:xfrm>
          <a:off x="0" y="0"/>
          <a:ext cx="0" cy="0"/>
          <a:chOff x="0" y="0"/>
          <a:chExt cx="0" cy="0"/>
        </a:xfrm>
      </p:grpSpPr>
      <p:sp>
        <p:nvSpPr>
          <p:cNvPr id="17" name="Picture Placeholder 13">
            <a:extLst>
              <a:ext uri="{FF2B5EF4-FFF2-40B4-BE49-F238E27FC236}">
                <a16:creationId xmlns:a16="http://schemas.microsoft.com/office/drawing/2014/main" id="{9D64F04D-9016-D648-A564-243328D5CF42}"/>
              </a:ext>
            </a:extLst>
          </p:cNvPr>
          <p:cNvSpPr>
            <a:spLocks noGrp="1"/>
          </p:cNvSpPr>
          <p:nvPr>
            <p:ph type="pic" sz="quarter" idx="20" hasCustomPrompt="1"/>
          </p:nvPr>
        </p:nvSpPr>
        <p:spPr>
          <a:xfrm>
            <a:off x="6094800" y="3"/>
            <a:ext cx="6097200"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chemeClr val="accent6">
              <a:lumMod val="90000"/>
            </a:schemeClr>
          </a:solidFill>
        </p:spPr>
        <p:txBody>
          <a:bodyPr wrap="square" lIns="36000" tIns="36000" rIns="36000" bIns="36000" anchor="t">
            <a:noAutofit/>
          </a:bodyPr>
          <a:lstStyle>
            <a:lvl1pPr marL="0" indent="0" algn="ctr">
              <a:buNone/>
              <a:defRPr sz="1300">
                <a:solidFill>
                  <a:schemeClr val="tx2"/>
                </a:solidFill>
              </a:defRPr>
            </a:lvl1pPr>
          </a:lstStyle>
          <a:p>
            <a:r>
              <a:rPr lang="nb-NO" noProof="0" dirty="0"/>
              <a:t>Klikk på ikonet for å legge til et bilde</a:t>
            </a:r>
            <a:endParaRPr lang="en-US" noProof="0" dirty="0"/>
          </a:p>
        </p:txBody>
      </p:sp>
      <p:sp>
        <p:nvSpPr>
          <p:cNvPr id="18" name="Picture Placeholder 17">
            <a:extLst>
              <a:ext uri="{FF2B5EF4-FFF2-40B4-BE49-F238E27FC236}">
                <a16:creationId xmlns:a16="http://schemas.microsoft.com/office/drawing/2014/main" id="{F0C79A00-1FF1-DE4A-B834-AE197A728667}"/>
              </a:ext>
            </a:extLst>
          </p:cNvPr>
          <p:cNvSpPr>
            <a:spLocks noGrp="1"/>
          </p:cNvSpPr>
          <p:nvPr>
            <p:ph type="pic" sz="quarter" idx="21" hasCustomPrompt="1"/>
          </p:nvPr>
        </p:nvSpPr>
        <p:spPr>
          <a:xfrm>
            <a:off x="6094800" y="3429002"/>
            <a:ext cx="6097200"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chemeClr val="accent6">
              <a:lumMod val="90000"/>
            </a:schemeClr>
          </a:solidFill>
        </p:spPr>
        <p:txBody>
          <a:bodyPr wrap="square" lIns="36000" tIns="36000" rIns="36000" bIns="36000" anchor="t">
            <a:noAutofit/>
          </a:bodyPr>
          <a:lstStyle>
            <a:lvl1pPr marL="0" indent="0" algn="ctr">
              <a:buNone/>
              <a:defRPr sz="1300">
                <a:solidFill>
                  <a:schemeClr val="tx2"/>
                </a:solidFill>
              </a:defRPr>
            </a:lvl1pPr>
          </a:lstStyle>
          <a:p>
            <a:r>
              <a:rPr lang="nb-NO" noProof="0" dirty="0"/>
              <a:t>Klikk på ikonet for å legge til et bilde</a:t>
            </a:r>
            <a:endParaRPr lang="en-US" noProof="0" dirty="0"/>
          </a:p>
        </p:txBody>
      </p:sp>
      <p:sp>
        <p:nvSpPr>
          <p:cNvPr id="3" name="Title 1">
            <a:extLst>
              <a:ext uri="{FF2B5EF4-FFF2-40B4-BE49-F238E27FC236}">
                <a16:creationId xmlns:a16="http://schemas.microsoft.com/office/drawing/2014/main" id="{9B6CB813-EF7D-2E1D-269E-104AB7611DB7}"/>
              </a:ext>
            </a:extLst>
          </p:cNvPr>
          <p:cNvSpPr>
            <a:spLocks noGrp="1"/>
          </p:cNvSpPr>
          <p:nvPr>
            <p:ph type="title" hasCustomPrompt="1"/>
          </p:nvPr>
        </p:nvSpPr>
        <p:spPr>
          <a:xfrm>
            <a:off x="576000" y="730800"/>
            <a:ext cx="5184000" cy="1365942"/>
          </a:xfrm>
        </p:spPr>
        <p:txBody>
          <a:bodyPr/>
          <a:lstStyle/>
          <a:p>
            <a:r>
              <a:rPr lang="nb-NO" dirty="0"/>
              <a:t>Klikk for å legge til en overskrift på maksimalt tre linjer</a:t>
            </a:r>
            <a:endParaRPr lang="en-US" dirty="0"/>
          </a:p>
        </p:txBody>
      </p:sp>
      <p:sp>
        <p:nvSpPr>
          <p:cNvPr id="28" name="Text Placeholder 2">
            <a:extLst>
              <a:ext uri="{FF2B5EF4-FFF2-40B4-BE49-F238E27FC236}">
                <a16:creationId xmlns:a16="http://schemas.microsoft.com/office/drawing/2014/main" id="{6EA4EC91-4073-7042-8C47-9A5C07E48A82}"/>
              </a:ext>
            </a:extLst>
          </p:cNvPr>
          <p:cNvSpPr>
            <a:spLocks noGrp="1"/>
          </p:cNvSpPr>
          <p:nvPr>
            <p:ph type="body" sz="quarter" idx="22" hasCustomPrompt="1"/>
          </p:nvPr>
        </p:nvSpPr>
        <p:spPr>
          <a:xfrm>
            <a:off x="576000" y="2527200"/>
            <a:ext cx="5184000" cy="3600450"/>
          </a:xfrm>
        </p:spPr>
        <p:txBody>
          <a:body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brødtekst</a:t>
            </a:r>
            <a:endParaRPr lang="en-US" noProof="0" dirty="0"/>
          </a:p>
        </p:txBody>
      </p:sp>
      <p:sp>
        <p:nvSpPr>
          <p:cNvPr id="27" name="Text Placeholder 4">
            <a:extLst>
              <a:ext uri="{FF2B5EF4-FFF2-40B4-BE49-F238E27FC236}">
                <a16:creationId xmlns:a16="http://schemas.microsoft.com/office/drawing/2014/main" id="{72EE66E8-7924-5B47-AFDD-577EDE917188}"/>
              </a:ext>
            </a:extLst>
          </p:cNvPr>
          <p:cNvSpPr>
            <a:spLocks noGrp="1"/>
          </p:cNvSpPr>
          <p:nvPr>
            <p:ph type="body" sz="quarter" idx="16" hasCustomPrompt="1"/>
          </p:nvPr>
        </p:nvSpPr>
        <p:spPr>
          <a:xfrm rot="5400000">
            <a:off x="10526686" y="1178687"/>
            <a:ext cx="2844000"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sp>
        <p:nvSpPr>
          <p:cNvPr id="29" name="Text Placeholder 4">
            <a:extLst>
              <a:ext uri="{FF2B5EF4-FFF2-40B4-BE49-F238E27FC236}">
                <a16:creationId xmlns:a16="http://schemas.microsoft.com/office/drawing/2014/main" id="{F0ECC550-5076-C14C-9AC3-F7D9B43AE5CC}"/>
              </a:ext>
            </a:extLst>
          </p:cNvPr>
          <p:cNvSpPr>
            <a:spLocks noGrp="1"/>
          </p:cNvSpPr>
          <p:nvPr>
            <p:ph type="body" sz="quarter" idx="23" hasCustomPrompt="1"/>
          </p:nvPr>
        </p:nvSpPr>
        <p:spPr>
          <a:xfrm rot="5400000">
            <a:off x="10526686" y="4607689"/>
            <a:ext cx="2844000"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sp>
        <p:nvSpPr>
          <p:cNvPr id="2" name="Logotype">
            <a:extLst>
              <a:ext uri="{FF2B5EF4-FFF2-40B4-BE49-F238E27FC236}">
                <a16:creationId xmlns:a16="http://schemas.microsoft.com/office/drawing/2014/main" id="{151936B8-4B3C-3E11-92C2-3310A4BBEBC4}"/>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7" name="Text Placeholder 7">
            <a:extLst>
              <a:ext uri="{FF2B5EF4-FFF2-40B4-BE49-F238E27FC236}">
                <a16:creationId xmlns:a16="http://schemas.microsoft.com/office/drawing/2014/main" id="{21F28719-8132-0CA5-D888-24F0C3EF8A53}"/>
              </a:ext>
            </a:extLst>
          </p:cNvPr>
          <p:cNvSpPr>
            <a:spLocks noGrp="1"/>
          </p:cNvSpPr>
          <p:nvPr>
            <p:ph type="body" sz="quarter" idx="27" hasCustomPrompt="1"/>
          </p:nvPr>
        </p:nvSpPr>
        <p:spPr>
          <a:xfrm>
            <a:off x="576262" y="291600"/>
            <a:ext cx="5180400" cy="180000"/>
          </a:xfrm>
        </p:spPr>
        <p:txBody>
          <a:bodyPr/>
          <a:lstStyle>
            <a:lvl1pPr marL="6350" indent="0">
              <a:buNone/>
              <a:defRPr sz="1200"/>
            </a:lvl1pPr>
          </a:lstStyle>
          <a:p>
            <a:pPr lvl="0"/>
            <a:r>
              <a:rPr lang="nb-NO" dirty="0"/>
              <a:t>Klikk for å legge til kapittel</a:t>
            </a:r>
            <a:endParaRPr lang="en-US" dirty="0"/>
          </a:p>
        </p:txBody>
      </p:sp>
    </p:spTree>
    <p:extLst>
      <p:ext uri="{BB962C8B-B14F-4D97-AF65-F5344CB8AC3E}">
        <p14:creationId xmlns:p14="http://schemas.microsoft.com/office/powerpoint/2010/main" val="34039614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 Tekst og smalt bil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83718FC5-379A-3343-904E-06A5A117D84C}"/>
              </a:ext>
            </a:extLst>
          </p:cNvPr>
          <p:cNvSpPr>
            <a:spLocks noGrp="1"/>
          </p:cNvSpPr>
          <p:nvPr>
            <p:ph type="pic" sz="quarter" idx="18" hasCustomPrompt="1"/>
          </p:nvPr>
        </p:nvSpPr>
        <p:spPr>
          <a:xfrm>
            <a:off x="8142000" y="-1"/>
            <a:ext cx="4050000" cy="6868800"/>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tx2"/>
                </a:solidFill>
              </a:defRPr>
            </a:lvl1pPr>
          </a:lstStyle>
          <a:p>
            <a:r>
              <a:rPr lang="nb-NO" noProof="0" dirty="0"/>
              <a:t>Klikk på ikonet for å legge til et bilde</a:t>
            </a:r>
            <a:endParaRPr lang="en-US" noProof="0" dirty="0"/>
          </a:p>
        </p:txBody>
      </p:sp>
      <p:sp>
        <p:nvSpPr>
          <p:cNvPr id="3" name="Title 1">
            <a:extLst>
              <a:ext uri="{FF2B5EF4-FFF2-40B4-BE49-F238E27FC236}">
                <a16:creationId xmlns:a16="http://schemas.microsoft.com/office/drawing/2014/main" id="{D8D3A030-7966-00B7-79F7-55D33BFE00C4}"/>
              </a:ext>
            </a:extLst>
          </p:cNvPr>
          <p:cNvSpPr>
            <a:spLocks noGrp="1"/>
          </p:cNvSpPr>
          <p:nvPr>
            <p:ph type="title" hasCustomPrompt="1"/>
          </p:nvPr>
        </p:nvSpPr>
        <p:spPr>
          <a:xfrm>
            <a:off x="576000" y="730800"/>
            <a:ext cx="7253550" cy="860400"/>
          </a:xfrm>
        </p:spPr>
        <p:txBody>
          <a:bodyPr/>
          <a:lstStyle/>
          <a:p>
            <a:r>
              <a:rPr lang="nb-NO" dirty="0"/>
              <a:t>Klikk for å legge til en overskrift på maksimalt to linjer</a:t>
            </a:r>
            <a:endParaRPr lang="en-US" dirty="0"/>
          </a:p>
        </p:txBody>
      </p:sp>
      <p:sp>
        <p:nvSpPr>
          <p:cNvPr id="7" name="Text Placeholder 2">
            <a:extLst>
              <a:ext uri="{FF2B5EF4-FFF2-40B4-BE49-F238E27FC236}">
                <a16:creationId xmlns:a16="http://schemas.microsoft.com/office/drawing/2014/main" id="{B13006E6-B0BE-505F-1BDE-76F6ED16161E}"/>
              </a:ext>
            </a:extLst>
          </p:cNvPr>
          <p:cNvSpPr>
            <a:spLocks noGrp="1"/>
          </p:cNvSpPr>
          <p:nvPr>
            <p:ph type="body" sz="quarter" idx="22" hasCustomPrompt="1"/>
          </p:nvPr>
        </p:nvSpPr>
        <p:spPr>
          <a:xfrm>
            <a:off x="576000" y="2527200"/>
            <a:ext cx="7253550" cy="3600450"/>
          </a:xfrm>
        </p:spPr>
        <p:txBody>
          <a:bodyPr/>
          <a:lstStyle>
            <a:lvl1pPr>
              <a:defRPr/>
            </a:lvl1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brødtekst</a:t>
            </a:r>
            <a:endParaRPr lang="en-US" noProof="0" dirty="0"/>
          </a:p>
        </p:txBody>
      </p:sp>
      <p:sp>
        <p:nvSpPr>
          <p:cNvPr id="29" name="Text Placeholder 4">
            <a:extLst>
              <a:ext uri="{FF2B5EF4-FFF2-40B4-BE49-F238E27FC236}">
                <a16:creationId xmlns:a16="http://schemas.microsoft.com/office/drawing/2014/main" id="{451A2045-A8EE-6E45-9F6D-0E79C884BB53}"/>
              </a:ext>
            </a:extLst>
          </p:cNvPr>
          <p:cNvSpPr>
            <a:spLocks noGrp="1"/>
          </p:cNvSpPr>
          <p:nvPr>
            <p:ph type="body" sz="quarter" idx="24" hasCustomPrompt="1"/>
          </p:nvPr>
        </p:nvSpPr>
        <p:spPr>
          <a:xfrm rot="5400000">
            <a:off x="9788686" y="1916687"/>
            <a:ext cx="4320000"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sp>
        <p:nvSpPr>
          <p:cNvPr id="2" name="Logotype">
            <a:extLst>
              <a:ext uri="{FF2B5EF4-FFF2-40B4-BE49-F238E27FC236}">
                <a16:creationId xmlns:a16="http://schemas.microsoft.com/office/drawing/2014/main" id="{C0586384-EB19-7D03-ED0E-96149E3EB767}"/>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8" name="Text Placeholder 7">
            <a:extLst>
              <a:ext uri="{FF2B5EF4-FFF2-40B4-BE49-F238E27FC236}">
                <a16:creationId xmlns:a16="http://schemas.microsoft.com/office/drawing/2014/main" id="{3A73E7EA-E98C-E55D-70DE-A3E70F33FE45}"/>
              </a:ext>
            </a:extLst>
          </p:cNvPr>
          <p:cNvSpPr>
            <a:spLocks noGrp="1"/>
          </p:cNvSpPr>
          <p:nvPr>
            <p:ph type="body" sz="quarter" idx="28" hasCustomPrompt="1"/>
          </p:nvPr>
        </p:nvSpPr>
        <p:spPr>
          <a:xfrm>
            <a:off x="576262" y="291600"/>
            <a:ext cx="5180400" cy="180000"/>
          </a:xfrm>
        </p:spPr>
        <p:txBody>
          <a:bodyPr/>
          <a:lstStyle>
            <a:lvl1pPr marL="6350" indent="0">
              <a:buNone/>
              <a:defRPr sz="1200"/>
            </a:lvl1pPr>
          </a:lstStyle>
          <a:p>
            <a:pPr lvl="0"/>
            <a:r>
              <a:rPr lang="nb-NO" dirty="0"/>
              <a:t>Klikk for å legge til kapittel</a:t>
            </a:r>
            <a:endParaRPr lang="en-US" dirty="0"/>
          </a:p>
        </p:txBody>
      </p:sp>
    </p:spTree>
    <p:extLst>
      <p:ext uri="{BB962C8B-B14F-4D97-AF65-F5344CB8AC3E}">
        <p14:creationId xmlns:p14="http://schemas.microsoft.com/office/powerpoint/2010/main" val="8507136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 Tekst og smalt bilde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83718FC5-379A-3343-904E-06A5A117D84C}"/>
              </a:ext>
            </a:extLst>
          </p:cNvPr>
          <p:cNvSpPr>
            <a:spLocks noGrp="1"/>
          </p:cNvSpPr>
          <p:nvPr>
            <p:ph type="pic" sz="quarter" idx="18" hasCustomPrompt="1"/>
          </p:nvPr>
        </p:nvSpPr>
        <p:spPr>
          <a:xfrm>
            <a:off x="8142000" y="-1"/>
            <a:ext cx="4050000" cy="6868800"/>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tx2"/>
                </a:solidFill>
              </a:defRPr>
            </a:lvl1pPr>
          </a:lstStyle>
          <a:p>
            <a:r>
              <a:rPr lang="nb-NO" noProof="0" dirty="0"/>
              <a:t>Klikk på ikonet for å legge til et bilde</a:t>
            </a:r>
            <a:endParaRPr lang="en-US" noProof="0" dirty="0"/>
          </a:p>
        </p:txBody>
      </p:sp>
      <p:sp>
        <p:nvSpPr>
          <p:cNvPr id="3" name="Title 1">
            <a:extLst>
              <a:ext uri="{FF2B5EF4-FFF2-40B4-BE49-F238E27FC236}">
                <a16:creationId xmlns:a16="http://schemas.microsoft.com/office/drawing/2014/main" id="{D8D3A030-7966-00B7-79F7-55D33BFE00C4}"/>
              </a:ext>
            </a:extLst>
          </p:cNvPr>
          <p:cNvSpPr>
            <a:spLocks noGrp="1"/>
          </p:cNvSpPr>
          <p:nvPr>
            <p:ph type="title" hasCustomPrompt="1"/>
          </p:nvPr>
        </p:nvSpPr>
        <p:spPr>
          <a:xfrm>
            <a:off x="576000" y="730800"/>
            <a:ext cx="7253550" cy="860400"/>
          </a:xfrm>
        </p:spPr>
        <p:txBody>
          <a:bodyPr/>
          <a:lstStyle/>
          <a:p>
            <a:r>
              <a:rPr lang="nb-NO" dirty="0"/>
              <a:t>Klikk for å legge til en overskrift på maksimalt to linjer</a:t>
            </a:r>
            <a:endParaRPr lang="en-US" dirty="0"/>
          </a:p>
        </p:txBody>
      </p:sp>
      <p:sp>
        <p:nvSpPr>
          <p:cNvPr id="8" name="Text Placeholder 7">
            <a:extLst>
              <a:ext uri="{FF2B5EF4-FFF2-40B4-BE49-F238E27FC236}">
                <a16:creationId xmlns:a16="http://schemas.microsoft.com/office/drawing/2014/main" id="{2E443046-6083-654F-90A3-8BC37A592844}"/>
              </a:ext>
            </a:extLst>
          </p:cNvPr>
          <p:cNvSpPr>
            <a:spLocks noGrp="1"/>
          </p:cNvSpPr>
          <p:nvPr>
            <p:ph type="body" sz="quarter" idx="19" hasCustomPrompt="1"/>
          </p:nvPr>
        </p:nvSpPr>
        <p:spPr>
          <a:xfrm>
            <a:off x="576000" y="2527201"/>
            <a:ext cx="3481650" cy="353159"/>
          </a:xfrm>
        </p:spPr>
        <p:txBody>
          <a:bodyPr/>
          <a:lstStyle>
            <a:lvl1pPr marL="0" indent="0">
              <a:lnSpc>
                <a:spcPct val="100000"/>
              </a:lnSpc>
              <a:spcBef>
                <a:spcPts val="0"/>
              </a:spcBef>
              <a:spcAft>
                <a:spcPts val="2000"/>
              </a:spcAft>
              <a:buNone/>
              <a:defRPr sz="1800" b="1" spc="40" baseline="0"/>
            </a:lvl1pPr>
            <a:lvl2pPr marL="180000">
              <a:lnSpc>
                <a:spcPct val="100000"/>
              </a:lnSpc>
              <a:spcBef>
                <a:spcPts val="0"/>
              </a:spcBef>
              <a:spcAft>
                <a:spcPts val="600"/>
              </a:spcAft>
              <a:defRPr sz="1800" spc="40" baseline="0"/>
            </a:lvl2pPr>
            <a:lvl3pPr marL="404813" indent="-182563">
              <a:tabLst/>
              <a:defRPr sz="1400" spc="40" baseline="0"/>
            </a:lvl3pPr>
            <a:lvl4pPr marL="536575" indent="-131763">
              <a:tabLst/>
              <a:defRPr sz="1200" spc="40" baseline="0"/>
            </a:lvl4pPr>
            <a:lvl5pPr marL="627063" indent="-130175">
              <a:tabLst/>
              <a:defRPr sz="1100" spc="40" baseline="0"/>
            </a:lvl5pPr>
          </a:lstStyle>
          <a:p>
            <a:pPr lvl="0"/>
            <a:r>
              <a:rPr lang="nb-NO" noProof="0" dirty="0"/>
              <a:t>Klikk for å legge til overskrift</a:t>
            </a:r>
            <a:endParaRPr lang="en-US" noProof="0" dirty="0"/>
          </a:p>
        </p:txBody>
      </p:sp>
      <p:sp>
        <p:nvSpPr>
          <p:cNvPr id="16" name="Text Placeholder 7">
            <a:extLst>
              <a:ext uri="{FF2B5EF4-FFF2-40B4-BE49-F238E27FC236}">
                <a16:creationId xmlns:a16="http://schemas.microsoft.com/office/drawing/2014/main" id="{E67F9331-98D1-9C4B-905A-0ADF2E53F9BE}"/>
              </a:ext>
            </a:extLst>
          </p:cNvPr>
          <p:cNvSpPr>
            <a:spLocks noGrp="1"/>
          </p:cNvSpPr>
          <p:nvPr>
            <p:ph type="body" sz="quarter" idx="20" hasCustomPrompt="1"/>
          </p:nvPr>
        </p:nvSpPr>
        <p:spPr>
          <a:xfrm>
            <a:off x="4360747" y="2527201"/>
            <a:ext cx="3470274" cy="353159"/>
          </a:xfrm>
        </p:spPr>
        <p:txBody>
          <a:bodyPr/>
          <a:lstStyle>
            <a:lvl1pPr marL="0" indent="0">
              <a:lnSpc>
                <a:spcPct val="100000"/>
              </a:lnSpc>
              <a:spcBef>
                <a:spcPts val="0"/>
              </a:spcBef>
              <a:spcAft>
                <a:spcPts val="2000"/>
              </a:spcAft>
              <a:buNone/>
              <a:defRPr sz="1800" b="1" spc="40" baseline="0"/>
            </a:lvl1pPr>
            <a:lvl2pPr marL="180000">
              <a:lnSpc>
                <a:spcPct val="100000"/>
              </a:lnSpc>
              <a:spcBef>
                <a:spcPts val="0"/>
              </a:spcBef>
              <a:spcAft>
                <a:spcPts val="600"/>
              </a:spcAft>
              <a:defRPr sz="1800" spc="40" baseline="0"/>
            </a:lvl2pPr>
            <a:lvl3pPr marL="404813" indent="-182563">
              <a:tabLst/>
              <a:defRPr sz="1400" spc="40" baseline="0"/>
            </a:lvl3pPr>
            <a:lvl4pPr marL="536575" indent="-131763">
              <a:tabLst/>
              <a:defRPr sz="1200" spc="40" baseline="0"/>
            </a:lvl4pPr>
            <a:lvl5pPr marL="627063" indent="-130175">
              <a:tabLst/>
              <a:defRPr sz="1100" spc="40" baseline="0"/>
            </a:lvl5pPr>
          </a:lstStyle>
          <a:p>
            <a:pPr lvl="0"/>
            <a:r>
              <a:rPr lang="nb-NO" noProof="0" dirty="0"/>
              <a:t>Klikk for å legge til overskrift</a:t>
            </a:r>
            <a:endParaRPr lang="en-US" noProof="0" dirty="0"/>
          </a:p>
        </p:txBody>
      </p:sp>
      <p:sp>
        <p:nvSpPr>
          <p:cNvPr id="18" name="Text Placerholder 8">
            <a:extLst>
              <a:ext uri="{FF2B5EF4-FFF2-40B4-BE49-F238E27FC236}">
                <a16:creationId xmlns:a16="http://schemas.microsoft.com/office/drawing/2014/main" id="{B167AB32-6297-C042-8F90-85FF79E8A715}"/>
              </a:ext>
            </a:extLst>
          </p:cNvPr>
          <p:cNvSpPr>
            <a:spLocks noGrp="1"/>
          </p:cNvSpPr>
          <p:nvPr>
            <p:ph type="body" sz="quarter" idx="22" hasCustomPrompt="1"/>
          </p:nvPr>
        </p:nvSpPr>
        <p:spPr>
          <a:xfrm>
            <a:off x="576001" y="3101340"/>
            <a:ext cx="3481650" cy="3027998"/>
          </a:xfrm>
        </p:spPr>
        <p:txBody>
          <a:body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brødtekst</a:t>
            </a:r>
            <a:endParaRPr lang="en-US" noProof="0" dirty="0"/>
          </a:p>
        </p:txBody>
      </p:sp>
      <p:sp>
        <p:nvSpPr>
          <p:cNvPr id="20" name="Text Placeholder 9">
            <a:extLst>
              <a:ext uri="{FF2B5EF4-FFF2-40B4-BE49-F238E27FC236}">
                <a16:creationId xmlns:a16="http://schemas.microsoft.com/office/drawing/2014/main" id="{A3BB055C-51F0-9547-B732-F77893221A8A}"/>
              </a:ext>
            </a:extLst>
          </p:cNvPr>
          <p:cNvSpPr>
            <a:spLocks noGrp="1"/>
          </p:cNvSpPr>
          <p:nvPr>
            <p:ph type="body" sz="quarter" idx="23" hasCustomPrompt="1"/>
          </p:nvPr>
        </p:nvSpPr>
        <p:spPr>
          <a:xfrm>
            <a:off x="4360747" y="3101340"/>
            <a:ext cx="3468803" cy="3027998"/>
          </a:xfrm>
        </p:spPr>
        <p:txBody>
          <a:body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brødtekst</a:t>
            </a:r>
            <a:endParaRPr lang="en-US" noProof="0" dirty="0"/>
          </a:p>
        </p:txBody>
      </p:sp>
      <p:sp>
        <p:nvSpPr>
          <p:cNvPr id="29" name="Text Placeholder 4">
            <a:extLst>
              <a:ext uri="{FF2B5EF4-FFF2-40B4-BE49-F238E27FC236}">
                <a16:creationId xmlns:a16="http://schemas.microsoft.com/office/drawing/2014/main" id="{451A2045-A8EE-6E45-9F6D-0E79C884BB53}"/>
              </a:ext>
            </a:extLst>
          </p:cNvPr>
          <p:cNvSpPr>
            <a:spLocks noGrp="1"/>
          </p:cNvSpPr>
          <p:nvPr>
            <p:ph type="body" sz="quarter" idx="24" hasCustomPrompt="1"/>
          </p:nvPr>
        </p:nvSpPr>
        <p:spPr>
          <a:xfrm rot="5400000">
            <a:off x="9788686" y="1916687"/>
            <a:ext cx="4320000"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sp>
        <p:nvSpPr>
          <p:cNvPr id="2" name="Logotype">
            <a:extLst>
              <a:ext uri="{FF2B5EF4-FFF2-40B4-BE49-F238E27FC236}">
                <a16:creationId xmlns:a16="http://schemas.microsoft.com/office/drawing/2014/main" id="{C0586384-EB19-7D03-ED0E-96149E3EB767}"/>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7" name="Text Placeholder 7">
            <a:extLst>
              <a:ext uri="{FF2B5EF4-FFF2-40B4-BE49-F238E27FC236}">
                <a16:creationId xmlns:a16="http://schemas.microsoft.com/office/drawing/2014/main" id="{5F20C410-7934-3ACA-178D-1D5FE6D6F484}"/>
              </a:ext>
            </a:extLst>
          </p:cNvPr>
          <p:cNvSpPr>
            <a:spLocks noGrp="1"/>
          </p:cNvSpPr>
          <p:nvPr>
            <p:ph type="body" sz="quarter" idx="28" hasCustomPrompt="1"/>
          </p:nvPr>
        </p:nvSpPr>
        <p:spPr>
          <a:xfrm>
            <a:off x="576262" y="291600"/>
            <a:ext cx="5180400" cy="180000"/>
          </a:xfrm>
        </p:spPr>
        <p:txBody>
          <a:bodyPr/>
          <a:lstStyle>
            <a:lvl1pPr marL="6350" indent="0">
              <a:buNone/>
              <a:defRPr sz="1200"/>
            </a:lvl1pPr>
          </a:lstStyle>
          <a:p>
            <a:pPr lvl="0"/>
            <a:r>
              <a:rPr lang="nb-NO" dirty="0"/>
              <a:t>Klikk for å legge til kapittel</a:t>
            </a:r>
            <a:endParaRPr lang="en-US" dirty="0"/>
          </a:p>
        </p:txBody>
      </p:sp>
    </p:spTree>
    <p:extLst>
      <p:ext uri="{BB962C8B-B14F-4D97-AF65-F5344CB8AC3E}">
        <p14:creationId xmlns:p14="http://schemas.microsoft.com/office/powerpoint/2010/main" val="36546212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 Fullt bilde med tekst">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CBA7EE4-EB8C-8F45-95DB-49CBDE2D978D}"/>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nb-NO" noProof="0" dirty="0"/>
              <a:t>Hvis bildeplassholderikonet er under tekstboksen, velger du den grå plassholderboksen og går deretter til sett inn i toppmenyen og legger til bilde. IKKE flytt tekstboksen!</a:t>
            </a:r>
            <a:endParaRPr lang="en-US" noProof="0" dirty="0"/>
          </a:p>
        </p:txBody>
      </p:sp>
      <p:sp>
        <p:nvSpPr>
          <p:cNvPr id="2" name="Title 1">
            <a:extLst>
              <a:ext uri="{FF2B5EF4-FFF2-40B4-BE49-F238E27FC236}">
                <a16:creationId xmlns:a16="http://schemas.microsoft.com/office/drawing/2014/main" id="{EF2824EB-6A97-75F5-097F-D67104AB13D2}"/>
              </a:ext>
            </a:extLst>
          </p:cNvPr>
          <p:cNvSpPr>
            <a:spLocks noGrp="1"/>
          </p:cNvSpPr>
          <p:nvPr>
            <p:ph type="title" hasCustomPrompt="1"/>
          </p:nvPr>
        </p:nvSpPr>
        <p:spPr>
          <a:xfrm>
            <a:off x="576000" y="730800"/>
            <a:ext cx="7253550" cy="860400"/>
          </a:xfrm>
        </p:spPr>
        <p:txBody>
          <a:bodyPr/>
          <a:lstStyle>
            <a:lvl1pPr>
              <a:defRPr>
                <a:solidFill>
                  <a:schemeClr val="bg1"/>
                </a:solidFill>
              </a:defRPr>
            </a:lvl1pPr>
          </a:lstStyle>
          <a:p>
            <a:r>
              <a:rPr lang="nb-NO" dirty="0"/>
              <a:t>Klikk for å legge til en overskrift på maksimalt to linjer</a:t>
            </a:r>
            <a:endParaRPr lang="en-US" dirty="0"/>
          </a:p>
        </p:txBody>
      </p:sp>
      <p:sp>
        <p:nvSpPr>
          <p:cNvPr id="11" name="Text Placeholder 2">
            <a:extLst>
              <a:ext uri="{FF2B5EF4-FFF2-40B4-BE49-F238E27FC236}">
                <a16:creationId xmlns:a16="http://schemas.microsoft.com/office/drawing/2014/main" id="{C5482E94-5FA1-1F47-8B93-C0D85448BA6E}"/>
              </a:ext>
            </a:extLst>
          </p:cNvPr>
          <p:cNvSpPr>
            <a:spLocks noGrp="1"/>
          </p:cNvSpPr>
          <p:nvPr>
            <p:ph type="body" sz="quarter" idx="22" hasCustomPrompt="1"/>
          </p:nvPr>
        </p:nvSpPr>
        <p:spPr>
          <a:xfrm>
            <a:off x="576000" y="2527200"/>
            <a:ext cx="7253550" cy="3600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brødtekst</a:t>
            </a:r>
            <a:endParaRPr lang="en-US" noProof="0" dirty="0"/>
          </a:p>
        </p:txBody>
      </p:sp>
      <p:sp>
        <p:nvSpPr>
          <p:cNvPr id="20" name="Text Placeholder 4">
            <a:extLst>
              <a:ext uri="{FF2B5EF4-FFF2-40B4-BE49-F238E27FC236}">
                <a16:creationId xmlns:a16="http://schemas.microsoft.com/office/drawing/2014/main" id="{9C994672-C586-454D-ABE5-E160AD756DE0}"/>
              </a:ext>
            </a:extLst>
          </p:cNvPr>
          <p:cNvSpPr>
            <a:spLocks noGrp="1"/>
          </p:cNvSpPr>
          <p:nvPr>
            <p:ph type="body" sz="quarter" idx="23" hasCustomPrompt="1"/>
          </p:nvPr>
        </p:nvSpPr>
        <p:spPr>
          <a:xfrm rot="5400000">
            <a:off x="9788686" y="1916687"/>
            <a:ext cx="4320000"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grpSp>
        <p:nvGrpSpPr>
          <p:cNvPr id="6" name="Instructions">
            <a:extLst>
              <a:ext uri="{FF2B5EF4-FFF2-40B4-BE49-F238E27FC236}">
                <a16:creationId xmlns:a16="http://schemas.microsoft.com/office/drawing/2014/main" id="{DA7A8982-B322-28CD-1BBA-6B2926123896}"/>
              </a:ext>
            </a:extLst>
          </p:cNvPr>
          <p:cNvGrpSpPr/>
          <p:nvPr userDrawn="1"/>
        </p:nvGrpSpPr>
        <p:grpSpPr>
          <a:xfrm>
            <a:off x="12395260" y="-12189"/>
            <a:ext cx="1681523" cy="2112003"/>
            <a:chOff x="12395260" y="-12189"/>
            <a:chExt cx="1681523" cy="2112003"/>
          </a:xfrm>
        </p:grpSpPr>
        <p:sp>
          <p:nvSpPr>
            <p:cNvPr id="12" name="textruta 5">
              <a:extLst>
                <a:ext uri="{FF2B5EF4-FFF2-40B4-BE49-F238E27FC236}">
                  <a16:creationId xmlns:a16="http://schemas.microsoft.com/office/drawing/2014/main" id="{45196D91-67ED-F14C-AA23-1BB0E2429AAA}"/>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dirty="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dirty="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dirty="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dirty="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dirty="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3" name="textruta 12">
              <a:extLst>
                <a:ext uri="{FF2B5EF4-FFF2-40B4-BE49-F238E27FC236}">
                  <a16:creationId xmlns:a16="http://schemas.microsoft.com/office/drawing/2014/main" id="{E0F263F1-6466-534C-AD87-EA9164E74147}"/>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dirty="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dirty="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dirty="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dirty="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dirty="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dirty="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dirty="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dirty="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14" name="Rektangel 13">
              <a:extLst>
                <a:ext uri="{FF2B5EF4-FFF2-40B4-BE49-F238E27FC236}">
                  <a16:creationId xmlns:a16="http://schemas.microsoft.com/office/drawing/2014/main" id="{916D287D-EFE0-9C43-8645-225101052B01}"/>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bg1"/>
                </a:solidFill>
              </a:endParaRPr>
            </a:p>
          </p:txBody>
        </p:sp>
        <p:sp>
          <p:nvSpPr>
            <p:cNvPr id="15" name="Rektangel 14">
              <a:extLst>
                <a:ext uri="{FF2B5EF4-FFF2-40B4-BE49-F238E27FC236}">
                  <a16:creationId xmlns:a16="http://schemas.microsoft.com/office/drawing/2014/main" id="{5C7F710D-EE3C-7646-9CC3-62F39C8BE8FF}"/>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bg1"/>
                </a:solidFill>
              </a:endParaRPr>
            </a:p>
          </p:txBody>
        </p:sp>
      </p:grpSp>
      <p:sp>
        <p:nvSpPr>
          <p:cNvPr id="7" name="Text Placeholder 7">
            <a:extLst>
              <a:ext uri="{FF2B5EF4-FFF2-40B4-BE49-F238E27FC236}">
                <a16:creationId xmlns:a16="http://schemas.microsoft.com/office/drawing/2014/main" id="{82F5B1D4-7CF8-B2EF-D127-3E79364B6B11}"/>
              </a:ext>
            </a:extLst>
          </p:cNvPr>
          <p:cNvSpPr>
            <a:spLocks noGrp="1"/>
          </p:cNvSpPr>
          <p:nvPr>
            <p:ph type="body" sz="quarter" idx="27" hasCustomPrompt="1"/>
          </p:nvPr>
        </p:nvSpPr>
        <p:spPr>
          <a:xfrm>
            <a:off x="576262" y="291600"/>
            <a:ext cx="5180400" cy="180000"/>
          </a:xfrm>
        </p:spPr>
        <p:txBody>
          <a:bodyPr/>
          <a:lstStyle>
            <a:lvl1pPr marL="6350" indent="0">
              <a:buNone/>
              <a:defRPr sz="1200">
                <a:solidFill>
                  <a:schemeClr val="bg1"/>
                </a:solidFill>
              </a:defRPr>
            </a:lvl1pPr>
          </a:lstStyle>
          <a:p>
            <a:pPr lvl="0"/>
            <a:r>
              <a:rPr lang="nb-NO" dirty="0"/>
              <a:t>Klikk for å legge til kapittel</a:t>
            </a:r>
            <a:endParaRPr lang="en-US" dirty="0"/>
          </a:p>
        </p:txBody>
      </p:sp>
    </p:spTree>
    <p:extLst>
      <p:ext uri="{BB962C8B-B14F-4D97-AF65-F5344CB8AC3E}">
        <p14:creationId xmlns:p14="http://schemas.microsoft.com/office/powerpoint/2010/main" val="23062445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 Bildeslide">
    <p:bg>
      <p:bgPr>
        <a:solidFill>
          <a:schemeClr val="bg1"/>
        </a:solidFill>
        <a:effectLst/>
      </p:bgPr>
    </p:bg>
    <p:spTree>
      <p:nvGrpSpPr>
        <p:cNvPr id="1" name=""/>
        <p:cNvGrpSpPr/>
        <p:nvPr/>
      </p:nvGrpSpPr>
      <p:grpSpPr>
        <a:xfrm>
          <a:off x="0" y="0"/>
          <a:ext cx="0" cy="0"/>
          <a:chOff x="0" y="0"/>
          <a:chExt cx="0" cy="0"/>
        </a:xfrm>
      </p:grpSpPr>
      <p:sp>
        <p:nvSpPr>
          <p:cNvPr id="8" name="Picture Placeholder 1">
            <a:extLst>
              <a:ext uri="{FF2B5EF4-FFF2-40B4-BE49-F238E27FC236}">
                <a16:creationId xmlns:a16="http://schemas.microsoft.com/office/drawing/2014/main" id="{3CBA7EE4-EB8C-8F45-95DB-49CBDE2D978D}"/>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nb-NO" noProof="0" dirty="0"/>
              <a:t>Klikk på ikonet for å legge til et bilde</a:t>
            </a:r>
            <a:endParaRPr lang="en-US" noProof="0" dirty="0"/>
          </a:p>
        </p:txBody>
      </p:sp>
      <p:sp>
        <p:nvSpPr>
          <p:cNvPr id="16" name="Project Text Placeholder 2">
            <a:extLst>
              <a:ext uri="{FF2B5EF4-FFF2-40B4-BE49-F238E27FC236}">
                <a16:creationId xmlns:a16="http://schemas.microsoft.com/office/drawing/2014/main" id="{E37CECB8-B1B6-D144-BD70-CFF979706847}"/>
              </a:ext>
            </a:extLst>
          </p:cNvPr>
          <p:cNvSpPr>
            <a:spLocks noGrp="1"/>
          </p:cNvSpPr>
          <p:nvPr>
            <p:ph type="body" sz="quarter" idx="14" hasCustomPrompt="1"/>
          </p:nvPr>
        </p:nvSpPr>
        <p:spPr>
          <a:xfrm rot="5400000">
            <a:off x="9788686" y="1916687"/>
            <a:ext cx="4320000"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grpSp>
        <p:nvGrpSpPr>
          <p:cNvPr id="2" name="Instructions">
            <a:extLst>
              <a:ext uri="{FF2B5EF4-FFF2-40B4-BE49-F238E27FC236}">
                <a16:creationId xmlns:a16="http://schemas.microsoft.com/office/drawing/2014/main" id="{E807F031-E76A-9D08-5DE1-3D50373E52D4}"/>
              </a:ext>
            </a:extLst>
          </p:cNvPr>
          <p:cNvGrpSpPr/>
          <p:nvPr userDrawn="1"/>
        </p:nvGrpSpPr>
        <p:grpSpPr>
          <a:xfrm>
            <a:off x="12395260" y="-12189"/>
            <a:ext cx="1681523" cy="2112003"/>
            <a:chOff x="12395260" y="-12189"/>
            <a:chExt cx="1681523" cy="2112003"/>
          </a:xfrm>
        </p:grpSpPr>
        <p:sp>
          <p:nvSpPr>
            <p:cNvPr id="6" name="textruta 5">
              <a:extLst>
                <a:ext uri="{FF2B5EF4-FFF2-40B4-BE49-F238E27FC236}">
                  <a16:creationId xmlns:a16="http://schemas.microsoft.com/office/drawing/2014/main" id="{CAF12B7D-4908-C140-8479-BBA74C392BFA}"/>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6D001312-59F0-0442-8F6B-117B57EE550F}"/>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05ECD74A-D0B6-194F-B25C-1455CC84FABD}"/>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E8C8C4A5-D430-0940-8213-633339896161}"/>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Tree>
    <p:extLst>
      <p:ext uri="{BB962C8B-B14F-4D97-AF65-F5344CB8AC3E}">
        <p14:creationId xmlns:p14="http://schemas.microsoft.com/office/powerpoint/2010/main" val="3831931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 Videoslide">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7A464D3A-71AD-CC4E-A666-6026DBFB2FDC}"/>
              </a:ext>
            </a:extLst>
          </p:cNvPr>
          <p:cNvSpPr>
            <a:spLocks noGrp="1"/>
          </p:cNvSpPr>
          <p:nvPr>
            <p:ph type="media" sz="quarter" idx="13" hasCustomPrompt="1"/>
          </p:nvPr>
        </p:nvSpPr>
        <p:spPr>
          <a:xfrm>
            <a:off x="0" y="0"/>
            <a:ext cx="12192000" cy="6858000"/>
          </a:xfrm>
          <a:solidFill>
            <a:srgbClr val="ECECEC"/>
          </a:solidFill>
        </p:spPr>
        <p:txBody>
          <a:bodyPr lIns="36000" tIns="36000" rIns="36000" bIns="36000"/>
          <a:lstStyle>
            <a:lvl1pPr marL="12700" indent="0" algn="ctr">
              <a:buNone/>
              <a:defRPr sz="1300"/>
            </a:lvl1pPr>
          </a:lstStyle>
          <a:p>
            <a:r>
              <a:rPr lang="nb-NO" noProof="0" dirty="0"/>
              <a:t>Klikk for å legge til medier</a:t>
            </a:r>
            <a:endParaRPr lang="en-US" noProof="0" dirty="0"/>
          </a:p>
        </p:txBody>
      </p:sp>
    </p:spTree>
    <p:extLst>
      <p:ext uri="{BB962C8B-B14F-4D97-AF65-F5344CB8AC3E}">
        <p14:creationId xmlns:p14="http://schemas.microsoft.com/office/powerpoint/2010/main" val="9482607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 Tre bilder med tekst">
    <p:bg>
      <p:bgPr>
        <a:solidFill>
          <a:schemeClr val="bg1"/>
        </a:solidFill>
        <a:effectLst/>
      </p:bgPr>
    </p:bg>
    <p:spTree>
      <p:nvGrpSpPr>
        <p:cNvPr id="1" name=""/>
        <p:cNvGrpSpPr/>
        <p:nvPr/>
      </p:nvGrpSpPr>
      <p:grpSpPr>
        <a:xfrm>
          <a:off x="0" y="0"/>
          <a:ext cx="0" cy="0"/>
          <a:chOff x="0" y="0"/>
          <a:chExt cx="0" cy="0"/>
        </a:xfrm>
      </p:grpSpPr>
      <p:sp>
        <p:nvSpPr>
          <p:cNvPr id="25" name="Picture Placeholder 2">
            <a:extLst>
              <a:ext uri="{FF2B5EF4-FFF2-40B4-BE49-F238E27FC236}">
                <a16:creationId xmlns:a16="http://schemas.microsoft.com/office/drawing/2014/main" id="{7FFAF88D-4CA3-474F-A41C-BB68F020FECF}"/>
              </a:ext>
            </a:extLst>
          </p:cNvPr>
          <p:cNvSpPr>
            <a:spLocks noGrp="1"/>
          </p:cNvSpPr>
          <p:nvPr>
            <p:ph type="pic" sz="quarter" idx="13" hasCustomPrompt="1"/>
          </p:nvPr>
        </p:nvSpPr>
        <p:spPr>
          <a:xfrm>
            <a:off x="5" y="5"/>
            <a:ext cx="4072023" cy="6857997"/>
          </a:xfrm>
          <a:custGeom>
            <a:avLst/>
            <a:gdLst>
              <a:gd name="connsiteX0" fmla="*/ 1146049 w 4072023"/>
              <a:gd name="connsiteY0" fmla="*/ 6470534 h 6857997"/>
              <a:gd name="connsiteX1" fmla="*/ 1157832 w 4072023"/>
              <a:gd name="connsiteY1" fmla="*/ 6505507 h 6857997"/>
              <a:gd name="connsiteX2" fmla="*/ 1134642 w 4072023"/>
              <a:gd name="connsiteY2" fmla="*/ 6505507 h 6857997"/>
              <a:gd name="connsiteX3" fmla="*/ 788170 w 4072023"/>
              <a:gd name="connsiteY3" fmla="*/ 6470534 h 6857997"/>
              <a:gd name="connsiteX4" fmla="*/ 799953 w 4072023"/>
              <a:gd name="connsiteY4" fmla="*/ 6505507 h 6857997"/>
              <a:gd name="connsiteX5" fmla="*/ 776763 w 4072023"/>
              <a:gd name="connsiteY5" fmla="*/ 6505507 h 6857997"/>
              <a:gd name="connsiteX6" fmla="*/ 1132323 w 4072023"/>
              <a:gd name="connsiteY6" fmla="*/ 6451543 h 6857997"/>
              <a:gd name="connsiteX7" fmla="*/ 1100860 w 4072023"/>
              <a:gd name="connsiteY7" fmla="*/ 6542674 h 6857997"/>
              <a:gd name="connsiteX8" fmla="*/ 1123110 w 4072023"/>
              <a:gd name="connsiteY8" fmla="*/ 6542674 h 6857997"/>
              <a:gd name="connsiteX9" fmla="*/ 1128876 w 4072023"/>
              <a:gd name="connsiteY9" fmla="*/ 6524060 h 6857997"/>
              <a:gd name="connsiteX10" fmla="*/ 1163786 w 4072023"/>
              <a:gd name="connsiteY10" fmla="*/ 6524060 h 6857997"/>
              <a:gd name="connsiteX11" fmla="*/ 1169741 w 4072023"/>
              <a:gd name="connsiteY11" fmla="*/ 6542674 h 6857997"/>
              <a:gd name="connsiteX12" fmla="*/ 1191615 w 4072023"/>
              <a:gd name="connsiteY12" fmla="*/ 6542674 h 6857997"/>
              <a:gd name="connsiteX13" fmla="*/ 1159148 w 4072023"/>
              <a:gd name="connsiteY13" fmla="*/ 6451543 h 6857997"/>
              <a:gd name="connsiteX14" fmla="*/ 961907 w 4072023"/>
              <a:gd name="connsiteY14" fmla="*/ 6451543 h 6857997"/>
              <a:gd name="connsiteX15" fmla="*/ 933640 w 4072023"/>
              <a:gd name="connsiteY15" fmla="*/ 6479246 h 6857997"/>
              <a:gd name="connsiteX16" fmla="*/ 961907 w 4072023"/>
              <a:gd name="connsiteY16" fmla="*/ 6505821 h 6857997"/>
              <a:gd name="connsiteX17" fmla="*/ 983468 w 4072023"/>
              <a:gd name="connsiteY17" fmla="*/ 6505821 h 6857997"/>
              <a:gd name="connsiteX18" fmla="*/ 991678 w 4072023"/>
              <a:gd name="connsiteY18" fmla="*/ 6514282 h 6857997"/>
              <a:gd name="connsiteX19" fmla="*/ 983468 w 4072023"/>
              <a:gd name="connsiteY19" fmla="*/ 6522743 h 6857997"/>
              <a:gd name="connsiteX20" fmla="*/ 937338 w 4072023"/>
              <a:gd name="connsiteY20" fmla="*/ 6522743 h 6857997"/>
              <a:gd name="connsiteX21" fmla="*/ 937338 w 4072023"/>
              <a:gd name="connsiteY21" fmla="*/ 6542674 h 6857997"/>
              <a:gd name="connsiteX22" fmla="*/ 982716 w 4072023"/>
              <a:gd name="connsiteY22" fmla="*/ 6542674 h 6857997"/>
              <a:gd name="connsiteX23" fmla="*/ 1011358 w 4072023"/>
              <a:gd name="connsiteY23" fmla="*/ 6514282 h 6857997"/>
              <a:gd name="connsiteX24" fmla="*/ 986727 w 4072023"/>
              <a:gd name="connsiteY24" fmla="*/ 6487707 h 6857997"/>
              <a:gd name="connsiteX25" fmla="*/ 961907 w 4072023"/>
              <a:gd name="connsiteY25" fmla="*/ 6487707 h 6857997"/>
              <a:gd name="connsiteX26" fmla="*/ 953321 w 4072023"/>
              <a:gd name="connsiteY26" fmla="*/ 6479246 h 6857997"/>
              <a:gd name="connsiteX27" fmla="*/ 961907 w 4072023"/>
              <a:gd name="connsiteY27" fmla="*/ 6470785 h 6857997"/>
              <a:gd name="connsiteX28" fmla="*/ 1004965 w 4072023"/>
              <a:gd name="connsiteY28" fmla="*/ 6470785 h 6857997"/>
              <a:gd name="connsiteX29" fmla="*/ 1004965 w 4072023"/>
              <a:gd name="connsiteY29" fmla="*/ 6451543 h 6857997"/>
              <a:gd name="connsiteX30" fmla="*/ 841570 w 4072023"/>
              <a:gd name="connsiteY30" fmla="*/ 6451543 h 6857997"/>
              <a:gd name="connsiteX31" fmla="*/ 841570 w 4072023"/>
              <a:gd name="connsiteY31" fmla="*/ 6542674 h 6857997"/>
              <a:gd name="connsiteX32" fmla="*/ 862692 w 4072023"/>
              <a:gd name="connsiteY32" fmla="*/ 6542674 h 6857997"/>
              <a:gd name="connsiteX33" fmla="*/ 862692 w 4072023"/>
              <a:gd name="connsiteY33" fmla="*/ 6486454 h 6857997"/>
              <a:gd name="connsiteX34" fmla="*/ 898981 w 4072023"/>
              <a:gd name="connsiteY34" fmla="*/ 6542486 h 6857997"/>
              <a:gd name="connsiteX35" fmla="*/ 898981 w 4072023"/>
              <a:gd name="connsiteY35" fmla="*/ 6542674 h 6857997"/>
              <a:gd name="connsiteX36" fmla="*/ 920855 w 4072023"/>
              <a:gd name="connsiteY36" fmla="*/ 6542674 h 6857997"/>
              <a:gd name="connsiteX37" fmla="*/ 920793 w 4072023"/>
              <a:gd name="connsiteY37" fmla="*/ 6522994 h 6857997"/>
              <a:gd name="connsiteX38" fmla="*/ 920667 w 4072023"/>
              <a:gd name="connsiteY38" fmla="*/ 6451543 h 6857997"/>
              <a:gd name="connsiteX39" fmla="*/ 899671 w 4072023"/>
              <a:gd name="connsiteY39" fmla="*/ 6451543 h 6857997"/>
              <a:gd name="connsiteX40" fmla="*/ 899671 w 4072023"/>
              <a:gd name="connsiteY40" fmla="*/ 6508829 h 6857997"/>
              <a:gd name="connsiteX41" fmla="*/ 863068 w 4072023"/>
              <a:gd name="connsiteY41" fmla="*/ 6451543 h 6857997"/>
              <a:gd name="connsiteX42" fmla="*/ 774444 w 4072023"/>
              <a:gd name="connsiteY42" fmla="*/ 6451543 h 6857997"/>
              <a:gd name="connsiteX43" fmla="*/ 742918 w 4072023"/>
              <a:gd name="connsiteY43" fmla="*/ 6542674 h 6857997"/>
              <a:gd name="connsiteX44" fmla="*/ 765168 w 4072023"/>
              <a:gd name="connsiteY44" fmla="*/ 6542674 h 6857997"/>
              <a:gd name="connsiteX45" fmla="*/ 770934 w 4072023"/>
              <a:gd name="connsiteY45" fmla="*/ 6524060 h 6857997"/>
              <a:gd name="connsiteX46" fmla="*/ 805845 w 4072023"/>
              <a:gd name="connsiteY46" fmla="*/ 6524060 h 6857997"/>
              <a:gd name="connsiteX47" fmla="*/ 811799 w 4072023"/>
              <a:gd name="connsiteY47" fmla="*/ 6542674 h 6857997"/>
              <a:gd name="connsiteX48" fmla="*/ 833735 w 4072023"/>
              <a:gd name="connsiteY48" fmla="*/ 6542674 h 6857997"/>
              <a:gd name="connsiteX49" fmla="*/ 801269 w 4072023"/>
              <a:gd name="connsiteY49" fmla="*/ 6451543 h 6857997"/>
              <a:gd name="connsiteX50" fmla="*/ 604404 w 4072023"/>
              <a:gd name="connsiteY50" fmla="*/ 6451543 h 6857997"/>
              <a:gd name="connsiteX51" fmla="*/ 576137 w 4072023"/>
              <a:gd name="connsiteY51" fmla="*/ 6479246 h 6857997"/>
              <a:gd name="connsiteX52" fmla="*/ 604404 w 4072023"/>
              <a:gd name="connsiteY52" fmla="*/ 6505821 h 6857997"/>
              <a:gd name="connsiteX53" fmla="*/ 625964 w 4072023"/>
              <a:gd name="connsiteY53" fmla="*/ 6505821 h 6857997"/>
              <a:gd name="connsiteX54" fmla="*/ 634174 w 4072023"/>
              <a:gd name="connsiteY54" fmla="*/ 6514282 h 6857997"/>
              <a:gd name="connsiteX55" fmla="*/ 625964 w 4072023"/>
              <a:gd name="connsiteY55" fmla="*/ 6522743 h 6857997"/>
              <a:gd name="connsiteX56" fmla="*/ 579772 w 4072023"/>
              <a:gd name="connsiteY56" fmla="*/ 6522743 h 6857997"/>
              <a:gd name="connsiteX57" fmla="*/ 579772 w 4072023"/>
              <a:gd name="connsiteY57" fmla="*/ 6542674 h 6857997"/>
              <a:gd name="connsiteX58" fmla="*/ 625149 w 4072023"/>
              <a:gd name="connsiteY58" fmla="*/ 6542674 h 6857997"/>
              <a:gd name="connsiteX59" fmla="*/ 653792 w 4072023"/>
              <a:gd name="connsiteY59" fmla="*/ 6514282 h 6857997"/>
              <a:gd name="connsiteX60" fmla="*/ 629223 w 4072023"/>
              <a:gd name="connsiteY60" fmla="*/ 6487707 h 6857997"/>
              <a:gd name="connsiteX61" fmla="*/ 604404 w 4072023"/>
              <a:gd name="connsiteY61" fmla="*/ 6487707 h 6857997"/>
              <a:gd name="connsiteX62" fmla="*/ 595817 w 4072023"/>
              <a:gd name="connsiteY62" fmla="*/ 6479246 h 6857997"/>
              <a:gd name="connsiteX63" fmla="*/ 604404 w 4072023"/>
              <a:gd name="connsiteY63" fmla="*/ 6470785 h 6857997"/>
              <a:gd name="connsiteX64" fmla="*/ 647462 w 4072023"/>
              <a:gd name="connsiteY64" fmla="*/ 6470785 h 6857997"/>
              <a:gd name="connsiteX65" fmla="*/ 647462 w 4072023"/>
              <a:gd name="connsiteY65" fmla="*/ 6451543 h 6857997"/>
              <a:gd name="connsiteX66" fmla="*/ 1023956 w 4072023"/>
              <a:gd name="connsiteY66" fmla="*/ 6451480 h 6857997"/>
              <a:gd name="connsiteX67" fmla="*/ 1023956 w 4072023"/>
              <a:gd name="connsiteY67" fmla="*/ 6542674 h 6857997"/>
              <a:gd name="connsiteX68" fmla="*/ 1045016 w 4072023"/>
              <a:gd name="connsiteY68" fmla="*/ 6542674 h 6857997"/>
              <a:gd name="connsiteX69" fmla="*/ 1045016 w 4072023"/>
              <a:gd name="connsiteY69" fmla="*/ 6504191 h 6857997"/>
              <a:gd name="connsiteX70" fmla="*/ 1074975 w 4072023"/>
              <a:gd name="connsiteY70" fmla="*/ 6542674 h 6857997"/>
              <a:gd name="connsiteX71" fmla="*/ 1099481 w 4072023"/>
              <a:gd name="connsiteY71" fmla="*/ 6542674 h 6857997"/>
              <a:gd name="connsiteX72" fmla="*/ 1065009 w 4072023"/>
              <a:gd name="connsiteY72" fmla="*/ 6497109 h 6857997"/>
              <a:gd name="connsiteX73" fmla="*/ 1099481 w 4072023"/>
              <a:gd name="connsiteY73" fmla="*/ 6451480 h 6857997"/>
              <a:gd name="connsiteX74" fmla="*/ 1074975 w 4072023"/>
              <a:gd name="connsiteY74" fmla="*/ 6451480 h 6857997"/>
              <a:gd name="connsiteX75" fmla="*/ 1045016 w 4072023"/>
              <a:gd name="connsiteY75" fmla="*/ 6489963 h 6857997"/>
              <a:gd name="connsiteX76" fmla="*/ 1045016 w 4072023"/>
              <a:gd name="connsiteY76" fmla="*/ 6451480 h 6857997"/>
              <a:gd name="connsiteX77" fmla="*/ 666077 w 4072023"/>
              <a:gd name="connsiteY77" fmla="*/ 6451480 h 6857997"/>
              <a:gd name="connsiteX78" fmla="*/ 666077 w 4072023"/>
              <a:gd name="connsiteY78" fmla="*/ 6542674 h 6857997"/>
              <a:gd name="connsiteX79" fmla="*/ 687073 w 4072023"/>
              <a:gd name="connsiteY79" fmla="*/ 6542674 h 6857997"/>
              <a:gd name="connsiteX80" fmla="*/ 687073 w 4072023"/>
              <a:gd name="connsiteY80" fmla="*/ 6504191 h 6857997"/>
              <a:gd name="connsiteX81" fmla="*/ 717033 w 4072023"/>
              <a:gd name="connsiteY81" fmla="*/ 6542674 h 6857997"/>
              <a:gd name="connsiteX82" fmla="*/ 741602 w 4072023"/>
              <a:gd name="connsiteY82" fmla="*/ 6542674 h 6857997"/>
              <a:gd name="connsiteX83" fmla="*/ 707067 w 4072023"/>
              <a:gd name="connsiteY83" fmla="*/ 6497109 h 6857997"/>
              <a:gd name="connsiteX84" fmla="*/ 741602 w 4072023"/>
              <a:gd name="connsiteY84" fmla="*/ 6451480 h 6857997"/>
              <a:gd name="connsiteX85" fmla="*/ 717033 w 4072023"/>
              <a:gd name="connsiteY85" fmla="*/ 6451480 h 6857997"/>
              <a:gd name="connsiteX86" fmla="*/ 687073 w 4072023"/>
              <a:gd name="connsiteY86" fmla="*/ 6489963 h 6857997"/>
              <a:gd name="connsiteX87" fmla="*/ 687073 w 4072023"/>
              <a:gd name="connsiteY87" fmla="*/ 6451480 h 6857997"/>
              <a:gd name="connsiteX88" fmla="*/ 0 w 4072023"/>
              <a:gd name="connsiteY88" fmla="*/ 0 h 6857997"/>
              <a:gd name="connsiteX89" fmla="*/ 4072023 w 4072023"/>
              <a:gd name="connsiteY89" fmla="*/ 0 h 6857997"/>
              <a:gd name="connsiteX90" fmla="*/ 4072023 w 4072023"/>
              <a:gd name="connsiteY90" fmla="*/ 6857997 h 6857997"/>
              <a:gd name="connsiteX91" fmla="*/ 0 w 4072023"/>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4072023"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4072023" y="0"/>
                </a:lnTo>
                <a:lnTo>
                  <a:pt x="4072023"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nb-NO" noProof="0" dirty="0"/>
              <a:t>Hvis bildeplassholderikonet er under tekstboksen, velger du den grå plassholderboksen og går deretter til «Sett inn» i toppmenyen og legger til bilde. IKKE flytt tekstboksen!</a:t>
            </a:r>
            <a:endParaRPr lang="en-US" noProof="0" dirty="0"/>
          </a:p>
        </p:txBody>
      </p:sp>
      <p:sp>
        <p:nvSpPr>
          <p:cNvPr id="21" name="Picture Placeholder 1">
            <a:extLst>
              <a:ext uri="{FF2B5EF4-FFF2-40B4-BE49-F238E27FC236}">
                <a16:creationId xmlns:a16="http://schemas.microsoft.com/office/drawing/2014/main" id="{D5A74226-F457-F043-94EE-661CB4E40ED2}"/>
              </a:ext>
            </a:extLst>
          </p:cNvPr>
          <p:cNvSpPr>
            <a:spLocks noGrp="1"/>
          </p:cNvSpPr>
          <p:nvPr>
            <p:ph type="pic" sz="quarter" idx="27" hasCustomPrompt="1"/>
          </p:nvPr>
        </p:nvSpPr>
        <p:spPr>
          <a:xfrm>
            <a:off x="4062560" y="0"/>
            <a:ext cx="4076277" cy="6858000"/>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nb-NO" noProof="0" dirty="0"/>
              <a:t>Hvis bildeplassholderikonet er under tekstboksen, velger du den grå plassholderboksen og går deretter til «Sett inn» i toppmenyen og legger til bilde. IKKE flytt tekstboksen!</a:t>
            </a:r>
            <a:endParaRPr lang="en-US" noProof="0" dirty="0"/>
          </a:p>
        </p:txBody>
      </p:sp>
      <p:sp>
        <p:nvSpPr>
          <p:cNvPr id="18" name="Picture Placeholder 3">
            <a:extLst>
              <a:ext uri="{FF2B5EF4-FFF2-40B4-BE49-F238E27FC236}">
                <a16:creationId xmlns:a16="http://schemas.microsoft.com/office/drawing/2014/main" id="{1D8C10B2-C5B9-8C42-AAE6-7022794E8D33}"/>
              </a:ext>
            </a:extLst>
          </p:cNvPr>
          <p:cNvSpPr>
            <a:spLocks noGrp="1"/>
          </p:cNvSpPr>
          <p:nvPr>
            <p:ph type="pic" sz="quarter" idx="18" hasCustomPrompt="1"/>
          </p:nvPr>
        </p:nvSpPr>
        <p:spPr>
          <a:xfrm>
            <a:off x="8127999" y="0"/>
            <a:ext cx="4076277" cy="6858000"/>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nb-NO" noProof="0" dirty="0"/>
              <a:t>Hvis bildeplassholderikonet er under tekstboksen, velger du den grå plassholderboksen og går deretter til «Sett inn» i toppmenyen og legger til bilde. IKKE flytt tekstboksen!</a:t>
            </a:r>
            <a:endParaRPr lang="en-US" noProof="0" dirty="0"/>
          </a:p>
        </p:txBody>
      </p:sp>
      <p:sp>
        <p:nvSpPr>
          <p:cNvPr id="19" name="Text Placeholder 5">
            <a:extLst>
              <a:ext uri="{FF2B5EF4-FFF2-40B4-BE49-F238E27FC236}">
                <a16:creationId xmlns:a16="http://schemas.microsoft.com/office/drawing/2014/main" id="{9E751731-59C5-B049-9487-248BD0C40892}"/>
              </a:ext>
            </a:extLst>
          </p:cNvPr>
          <p:cNvSpPr>
            <a:spLocks noGrp="1"/>
          </p:cNvSpPr>
          <p:nvPr>
            <p:ph type="body" sz="quarter" idx="26" hasCustomPrompt="1"/>
          </p:nvPr>
        </p:nvSpPr>
        <p:spPr>
          <a:xfrm>
            <a:off x="-8834" y="2600435"/>
            <a:ext cx="4076276" cy="1657129"/>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defRPr>
            </a:lvl1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p:txBody>
      </p:sp>
      <p:sp>
        <p:nvSpPr>
          <p:cNvPr id="22" name="Text Placeholder 6">
            <a:extLst>
              <a:ext uri="{FF2B5EF4-FFF2-40B4-BE49-F238E27FC236}">
                <a16:creationId xmlns:a16="http://schemas.microsoft.com/office/drawing/2014/main" id="{2DA0EC46-A30E-6E40-B15A-2A147BD09EBB}"/>
              </a:ext>
            </a:extLst>
          </p:cNvPr>
          <p:cNvSpPr>
            <a:spLocks noGrp="1"/>
          </p:cNvSpPr>
          <p:nvPr>
            <p:ph type="body" sz="quarter" idx="28" hasCustomPrompt="1"/>
          </p:nvPr>
        </p:nvSpPr>
        <p:spPr>
          <a:xfrm>
            <a:off x="4072836" y="2600435"/>
            <a:ext cx="4047138" cy="1657129"/>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defRPr>
            </a:lvl1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p:txBody>
      </p:sp>
      <p:sp>
        <p:nvSpPr>
          <p:cNvPr id="16" name="Text Placeholder 4">
            <a:extLst>
              <a:ext uri="{FF2B5EF4-FFF2-40B4-BE49-F238E27FC236}">
                <a16:creationId xmlns:a16="http://schemas.microsoft.com/office/drawing/2014/main" id="{CAD788D9-156D-3B46-B27B-0C6E941B8270}"/>
              </a:ext>
            </a:extLst>
          </p:cNvPr>
          <p:cNvSpPr>
            <a:spLocks noGrp="1"/>
          </p:cNvSpPr>
          <p:nvPr>
            <p:ph type="body" sz="quarter" idx="21" hasCustomPrompt="1"/>
          </p:nvPr>
        </p:nvSpPr>
        <p:spPr>
          <a:xfrm>
            <a:off x="8146861" y="2600435"/>
            <a:ext cx="4057415" cy="1657129"/>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defRPr>
            </a:lvl1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p:txBody>
      </p:sp>
      <p:sp>
        <p:nvSpPr>
          <p:cNvPr id="26" name="Project Text Placeholder 9">
            <a:extLst>
              <a:ext uri="{FF2B5EF4-FFF2-40B4-BE49-F238E27FC236}">
                <a16:creationId xmlns:a16="http://schemas.microsoft.com/office/drawing/2014/main" id="{B3AFB980-8481-1048-B1F9-E5F80CF85165}"/>
              </a:ext>
            </a:extLst>
          </p:cNvPr>
          <p:cNvSpPr>
            <a:spLocks noGrp="1"/>
          </p:cNvSpPr>
          <p:nvPr>
            <p:ph type="body" sz="quarter" idx="30" hasCustomPrompt="1"/>
          </p:nvPr>
        </p:nvSpPr>
        <p:spPr>
          <a:xfrm rot="5400000">
            <a:off x="2528810" y="1057220"/>
            <a:ext cx="2600435" cy="486000"/>
          </a:xfrm>
        </p:spPr>
        <p:txBody>
          <a:bodyPr wrap="square"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sp>
        <p:nvSpPr>
          <p:cNvPr id="24" name="Project Text Placeholder 8">
            <a:extLst>
              <a:ext uri="{FF2B5EF4-FFF2-40B4-BE49-F238E27FC236}">
                <a16:creationId xmlns:a16="http://schemas.microsoft.com/office/drawing/2014/main" id="{E2CCC3D8-EC70-8647-821E-C44326AA93C7}"/>
              </a:ext>
            </a:extLst>
          </p:cNvPr>
          <p:cNvSpPr>
            <a:spLocks noGrp="1"/>
          </p:cNvSpPr>
          <p:nvPr>
            <p:ph type="body" sz="quarter" idx="29" hasCustomPrompt="1"/>
          </p:nvPr>
        </p:nvSpPr>
        <p:spPr>
          <a:xfrm rot="5400000">
            <a:off x="6595619" y="1057220"/>
            <a:ext cx="2600436" cy="486000"/>
          </a:xfrm>
        </p:spPr>
        <p:txBody>
          <a:bodyPr wrap="square"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sp>
        <p:nvSpPr>
          <p:cNvPr id="23" name="Project Text Placeholder 7">
            <a:extLst>
              <a:ext uri="{FF2B5EF4-FFF2-40B4-BE49-F238E27FC236}">
                <a16:creationId xmlns:a16="http://schemas.microsoft.com/office/drawing/2014/main" id="{DFEC13B5-DF4A-1E41-ADC4-C58B38BA57F6}"/>
              </a:ext>
            </a:extLst>
          </p:cNvPr>
          <p:cNvSpPr>
            <a:spLocks noGrp="1"/>
          </p:cNvSpPr>
          <p:nvPr>
            <p:ph type="body" sz="quarter" idx="16" hasCustomPrompt="1"/>
          </p:nvPr>
        </p:nvSpPr>
        <p:spPr>
          <a:xfrm rot="5400000">
            <a:off x="10648782" y="1057219"/>
            <a:ext cx="2600436" cy="486000"/>
          </a:xfrm>
        </p:spPr>
        <p:txBody>
          <a:bodyPr wrap="square"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grpSp>
        <p:nvGrpSpPr>
          <p:cNvPr id="2" name="Instructions">
            <a:extLst>
              <a:ext uri="{FF2B5EF4-FFF2-40B4-BE49-F238E27FC236}">
                <a16:creationId xmlns:a16="http://schemas.microsoft.com/office/drawing/2014/main" id="{1E05B653-CC35-4EE0-4807-99B38B85BD2E}"/>
              </a:ext>
            </a:extLst>
          </p:cNvPr>
          <p:cNvGrpSpPr/>
          <p:nvPr userDrawn="1"/>
        </p:nvGrpSpPr>
        <p:grpSpPr>
          <a:xfrm>
            <a:off x="12395260" y="-12189"/>
            <a:ext cx="1681523" cy="2112003"/>
            <a:chOff x="12395260" y="-12189"/>
            <a:chExt cx="1681523" cy="2112003"/>
          </a:xfrm>
        </p:grpSpPr>
        <p:sp>
          <p:nvSpPr>
            <p:cNvPr id="11" name="textruta 5">
              <a:extLst>
                <a:ext uri="{FF2B5EF4-FFF2-40B4-BE49-F238E27FC236}">
                  <a16:creationId xmlns:a16="http://schemas.microsoft.com/office/drawing/2014/main" id="{11454871-6E41-9045-84A7-31FC43D47801}"/>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2" name="textruta 11">
              <a:extLst>
                <a:ext uri="{FF2B5EF4-FFF2-40B4-BE49-F238E27FC236}">
                  <a16:creationId xmlns:a16="http://schemas.microsoft.com/office/drawing/2014/main" id="{8E1720B2-EFAF-B84F-B64E-421B9C701D7D}"/>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3" name="Rektangel 12">
              <a:extLst>
                <a:ext uri="{FF2B5EF4-FFF2-40B4-BE49-F238E27FC236}">
                  <a16:creationId xmlns:a16="http://schemas.microsoft.com/office/drawing/2014/main" id="{5A2B0DFE-5964-6446-982D-1886963B932D}"/>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ktangel 13">
              <a:extLst>
                <a:ext uri="{FF2B5EF4-FFF2-40B4-BE49-F238E27FC236}">
                  <a16:creationId xmlns:a16="http://schemas.microsoft.com/office/drawing/2014/main" id="{D05655AB-CE15-6D47-8CB8-6546336F9E01}"/>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Tree>
    <p:extLst>
      <p:ext uri="{BB962C8B-B14F-4D97-AF65-F5344CB8AC3E}">
        <p14:creationId xmlns:p14="http://schemas.microsoft.com/office/powerpoint/2010/main" val="37798900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 Tre bilder Overskrif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34469A5-481B-9652-2855-E6E0289CDF63}"/>
              </a:ext>
            </a:extLst>
          </p:cNvPr>
          <p:cNvSpPr/>
          <p:nvPr userDrawn="1"/>
        </p:nvSpPr>
        <p:spPr>
          <a:xfrm>
            <a:off x="0" y="0"/>
            <a:ext cx="6101594" cy="3430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Picture Placeholder 4">
            <a:extLst>
              <a:ext uri="{FF2B5EF4-FFF2-40B4-BE49-F238E27FC236}">
                <a16:creationId xmlns:a16="http://schemas.microsoft.com/office/drawing/2014/main" id="{6478AEAD-2263-1A47-A959-55E27B18824E}"/>
              </a:ext>
            </a:extLst>
          </p:cNvPr>
          <p:cNvSpPr>
            <a:spLocks noGrp="1"/>
          </p:cNvSpPr>
          <p:nvPr>
            <p:ph type="pic" sz="quarter" idx="16" hasCustomPrompt="1"/>
          </p:nvPr>
        </p:nvSpPr>
        <p:spPr>
          <a:xfrm>
            <a:off x="6096557"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nb-NO" noProof="0" dirty="0"/>
              <a:t>Hvis bildeplassholderikonet er under tekstboksen, velger du den grå plassholderboksen og går deretter til «Sett inn» i toppmenyen og legger til bilde. IKKE flytt tekstboksen!</a:t>
            </a:r>
            <a:endParaRPr lang="en-US" noProof="0" dirty="0"/>
          </a:p>
        </p:txBody>
      </p:sp>
      <p:sp>
        <p:nvSpPr>
          <p:cNvPr id="32" name="Picture Placeholder 2">
            <a:extLst>
              <a:ext uri="{FF2B5EF4-FFF2-40B4-BE49-F238E27FC236}">
                <a16:creationId xmlns:a16="http://schemas.microsoft.com/office/drawing/2014/main" id="{511CEB27-B422-504F-B7BF-31E339BFB94A}"/>
              </a:ext>
            </a:extLst>
          </p:cNvPr>
          <p:cNvSpPr>
            <a:spLocks noGrp="1"/>
          </p:cNvSpPr>
          <p:nvPr>
            <p:ph type="pic" sz="quarter" idx="25" hasCustomPrompt="1"/>
          </p:nvPr>
        </p:nvSpPr>
        <p:spPr>
          <a:xfrm>
            <a:off x="5" y="3429000"/>
            <a:ext cx="6096552" cy="3429002"/>
          </a:xfrm>
          <a:custGeom>
            <a:avLst/>
            <a:gdLst>
              <a:gd name="connsiteX0" fmla="*/ 1146049 w 6096552"/>
              <a:gd name="connsiteY0" fmla="*/ 3041539 h 3429002"/>
              <a:gd name="connsiteX1" fmla="*/ 1157832 w 6096552"/>
              <a:gd name="connsiteY1" fmla="*/ 3076512 h 3429002"/>
              <a:gd name="connsiteX2" fmla="*/ 1134642 w 6096552"/>
              <a:gd name="connsiteY2" fmla="*/ 3076512 h 3429002"/>
              <a:gd name="connsiteX3" fmla="*/ 788170 w 6096552"/>
              <a:gd name="connsiteY3" fmla="*/ 3041539 h 3429002"/>
              <a:gd name="connsiteX4" fmla="*/ 799953 w 6096552"/>
              <a:gd name="connsiteY4" fmla="*/ 3076512 h 3429002"/>
              <a:gd name="connsiteX5" fmla="*/ 776763 w 6096552"/>
              <a:gd name="connsiteY5" fmla="*/ 3076512 h 3429002"/>
              <a:gd name="connsiteX6" fmla="*/ 1132323 w 6096552"/>
              <a:gd name="connsiteY6" fmla="*/ 3022548 h 3429002"/>
              <a:gd name="connsiteX7" fmla="*/ 1100860 w 6096552"/>
              <a:gd name="connsiteY7" fmla="*/ 3113679 h 3429002"/>
              <a:gd name="connsiteX8" fmla="*/ 1123110 w 6096552"/>
              <a:gd name="connsiteY8" fmla="*/ 3113679 h 3429002"/>
              <a:gd name="connsiteX9" fmla="*/ 1128876 w 6096552"/>
              <a:gd name="connsiteY9" fmla="*/ 3095065 h 3429002"/>
              <a:gd name="connsiteX10" fmla="*/ 1163786 w 6096552"/>
              <a:gd name="connsiteY10" fmla="*/ 3095065 h 3429002"/>
              <a:gd name="connsiteX11" fmla="*/ 1169741 w 6096552"/>
              <a:gd name="connsiteY11" fmla="*/ 3113679 h 3429002"/>
              <a:gd name="connsiteX12" fmla="*/ 1191615 w 6096552"/>
              <a:gd name="connsiteY12" fmla="*/ 3113679 h 3429002"/>
              <a:gd name="connsiteX13" fmla="*/ 1159148 w 6096552"/>
              <a:gd name="connsiteY13" fmla="*/ 3022548 h 3429002"/>
              <a:gd name="connsiteX14" fmla="*/ 961907 w 6096552"/>
              <a:gd name="connsiteY14" fmla="*/ 3022548 h 3429002"/>
              <a:gd name="connsiteX15" fmla="*/ 933640 w 6096552"/>
              <a:gd name="connsiteY15" fmla="*/ 3050251 h 3429002"/>
              <a:gd name="connsiteX16" fmla="*/ 961907 w 6096552"/>
              <a:gd name="connsiteY16" fmla="*/ 3076826 h 3429002"/>
              <a:gd name="connsiteX17" fmla="*/ 983468 w 6096552"/>
              <a:gd name="connsiteY17" fmla="*/ 3076826 h 3429002"/>
              <a:gd name="connsiteX18" fmla="*/ 991678 w 6096552"/>
              <a:gd name="connsiteY18" fmla="*/ 3085287 h 3429002"/>
              <a:gd name="connsiteX19" fmla="*/ 983468 w 6096552"/>
              <a:gd name="connsiteY19" fmla="*/ 3093748 h 3429002"/>
              <a:gd name="connsiteX20" fmla="*/ 937338 w 6096552"/>
              <a:gd name="connsiteY20" fmla="*/ 3093748 h 3429002"/>
              <a:gd name="connsiteX21" fmla="*/ 937338 w 6096552"/>
              <a:gd name="connsiteY21" fmla="*/ 3113679 h 3429002"/>
              <a:gd name="connsiteX22" fmla="*/ 982716 w 6096552"/>
              <a:gd name="connsiteY22" fmla="*/ 3113679 h 3429002"/>
              <a:gd name="connsiteX23" fmla="*/ 1011358 w 6096552"/>
              <a:gd name="connsiteY23" fmla="*/ 3085287 h 3429002"/>
              <a:gd name="connsiteX24" fmla="*/ 986727 w 6096552"/>
              <a:gd name="connsiteY24" fmla="*/ 3058712 h 3429002"/>
              <a:gd name="connsiteX25" fmla="*/ 961907 w 6096552"/>
              <a:gd name="connsiteY25" fmla="*/ 3058712 h 3429002"/>
              <a:gd name="connsiteX26" fmla="*/ 953321 w 6096552"/>
              <a:gd name="connsiteY26" fmla="*/ 3050251 h 3429002"/>
              <a:gd name="connsiteX27" fmla="*/ 961907 w 6096552"/>
              <a:gd name="connsiteY27" fmla="*/ 3041790 h 3429002"/>
              <a:gd name="connsiteX28" fmla="*/ 1004965 w 6096552"/>
              <a:gd name="connsiteY28" fmla="*/ 3041790 h 3429002"/>
              <a:gd name="connsiteX29" fmla="*/ 1004965 w 6096552"/>
              <a:gd name="connsiteY29" fmla="*/ 3022548 h 3429002"/>
              <a:gd name="connsiteX30" fmla="*/ 841570 w 6096552"/>
              <a:gd name="connsiteY30" fmla="*/ 3022548 h 3429002"/>
              <a:gd name="connsiteX31" fmla="*/ 841570 w 6096552"/>
              <a:gd name="connsiteY31" fmla="*/ 3113679 h 3429002"/>
              <a:gd name="connsiteX32" fmla="*/ 862692 w 6096552"/>
              <a:gd name="connsiteY32" fmla="*/ 3113679 h 3429002"/>
              <a:gd name="connsiteX33" fmla="*/ 862692 w 6096552"/>
              <a:gd name="connsiteY33" fmla="*/ 3057459 h 3429002"/>
              <a:gd name="connsiteX34" fmla="*/ 898981 w 6096552"/>
              <a:gd name="connsiteY34" fmla="*/ 3113491 h 3429002"/>
              <a:gd name="connsiteX35" fmla="*/ 898981 w 6096552"/>
              <a:gd name="connsiteY35" fmla="*/ 3113679 h 3429002"/>
              <a:gd name="connsiteX36" fmla="*/ 920855 w 6096552"/>
              <a:gd name="connsiteY36" fmla="*/ 3113679 h 3429002"/>
              <a:gd name="connsiteX37" fmla="*/ 920793 w 6096552"/>
              <a:gd name="connsiteY37" fmla="*/ 3093999 h 3429002"/>
              <a:gd name="connsiteX38" fmla="*/ 920667 w 6096552"/>
              <a:gd name="connsiteY38" fmla="*/ 3022548 h 3429002"/>
              <a:gd name="connsiteX39" fmla="*/ 899671 w 6096552"/>
              <a:gd name="connsiteY39" fmla="*/ 3022548 h 3429002"/>
              <a:gd name="connsiteX40" fmla="*/ 899671 w 6096552"/>
              <a:gd name="connsiteY40" fmla="*/ 3079834 h 3429002"/>
              <a:gd name="connsiteX41" fmla="*/ 863068 w 6096552"/>
              <a:gd name="connsiteY41" fmla="*/ 3022548 h 3429002"/>
              <a:gd name="connsiteX42" fmla="*/ 774444 w 6096552"/>
              <a:gd name="connsiteY42" fmla="*/ 3022548 h 3429002"/>
              <a:gd name="connsiteX43" fmla="*/ 742918 w 6096552"/>
              <a:gd name="connsiteY43" fmla="*/ 3113679 h 3429002"/>
              <a:gd name="connsiteX44" fmla="*/ 765168 w 6096552"/>
              <a:gd name="connsiteY44" fmla="*/ 3113679 h 3429002"/>
              <a:gd name="connsiteX45" fmla="*/ 770934 w 6096552"/>
              <a:gd name="connsiteY45" fmla="*/ 3095065 h 3429002"/>
              <a:gd name="connsiteX46" fmla="*/ 805845 w 6096552"/>
              <a:gd name="connsiteY46" fmla="*/ 3095065 h 3429002"/>
              <a:gd name="connsiteX47" fmla="*/ 811799 w 6096552"/>
              <a:gd name="connsiteY47" fmla="*/ 3113679 h 3429002"/>
              <a:gd name="connsiteX48" fmla="*/ 833735 w 6096552"/>
              <a:gd name="connsiteY48" fmla="*/ 3113679 h 3429002"/>
              <a:gd name="connsiteX49" fmla="*/ 801269 w 6096552"/>
              <a:gd name="connsiteY49" fmla="*/ 3022548 h 3429002"/>
              <a:gd name="connsiteX50" fmla="*/ 604404 w 6096552"/>
              <a:gd name="connsiteY50" fmla="*/ 3022548 h 3429002"/>
              <a:gd name="connsiteX51" fmla="*/ 576137 w 6096552"/>
              <a:gd name="connsiteY51" fmla="*/ 3050251 h 3429002"/>
              <a:gd name="connsiteX52" fmla="*/ 604404 w 6096552"/>
              <a:gd name="connsiteY52" fmla="*/ 3076826 h 3429002"/>
              <a:gd name="connsiteX53" fmla="*/ 625964 w 6096552"/>
              <a:gd name="connsiteY53" fmla="*/ 3076826 h 3429002"/>
              <a:gd name="connsiteX54" fmla="*/ 634174 w 6096552"/>
              <a:gd name="connsiteY54" fmla="*/ 3085287 h 3429002"/>
              <a:gd name="connsiteX55" fmla="*/ 625964 w 6096552"/>
              <a:gd name="connsiteY55" fmla="*/ 3093748 h 3429002"/>
              <a:gd name="connsiteX56" fmla="*/ 579772 w 6096552"/>
              <a:gd name="connsiteY56" fmla="*/ 3093748 h 3429002"/>
              <a:gd name="connsiteX57" fmla="*/ 579772 w 6096552"/>
              <a:gd name="connsiteY57" fmla="*/ 3113679 h 3429002"/>
              <a:gd name="connsiteX58" fmla="*/ 625149 w 6096552"/>
              <a:gd name="connsiteY58" fmla="*/ 3113679 h 3429002"/>
              <a:gd name="connsiteX59" fmla="*/ 653792 w 6096552"/>
              <a:gd name="connsiteY59" fmla="*/ 3085287 h 3429002"/>
              <a:gd name="connsiteX60" fmla="*/ 629223 w 6096552"/>
              <a:gd name="connsiteY60" fmla="*/ 3058712 h 3429002"/>
              <a:gd name="connsiteX61" fmla="*/ 604404 w 6096552"/>
              <a:gd name="connsiteY61" fmla="*/ 3058712 h 3429002"/>
              <a:gd name="connsiteX62" fmla="*/ 595817 w 6096552"/>
              <a:gd name="connsiteY62" fmla="*/ 3050251 h 3429002"/>
              <a:gd name="connsiteX63" fmla="*/ 604404 w 6096552"/>
              <a:gd name="connsiteY63" fmla="*/ 3041790 h 3429002"/>
              <a:gd name="connsiteX64" fmla="*/ 647462 w 6096552"/>
              <a:gd name="connsiteY64" fmla="*/ 3041790 h 3429002"/>
              <a:gd name="connsiteX65" fmla="*/ 647462 w 6096552"/>
              <a:gd name="connsiteY65" fmla="*/ 3022548 h 3429002"/>
              <a:gd name="connsiteX66" fmla="*/ 1023956 w 6096552"/>
              <a:gd name="connsiteY66" fmla="*/ 3022485 h 3429002"/>
              <a:gd name="connsiteX67" fmla="*/ 1023956 w 6096552"/>
              <a:gd name="connsiteY67" fmla="*/ 3113679 h 3429002"/>
              <a:gd name="connsiteX68" fmla="*/ 1045016 w 6096552"/>
              <a:gd name="connsiteY68" fmla="*/ 3113679 h 3429002"/>
              <a:gd name="connsiteX69" fmla="*/ 1045016 w 6096552"/>
              <a:gd name="connsiteY69" fmla="*/ 3075196 h 3429002"/>
              <a:gd name="connsiteX70" fmla="*/ 1074975 w 6096552"/>
              <a:gd name="connsiteY70" fmla="*/ 3113679 h 3429002"/>
              <a:gd name="connsiteX71" fmla="*/ 1099481 w 6096552"/>
              <a:gd name="connsiteY71" fmla="*/ 3113679 h 3429002"/>
              <a:gd name="connsiteX72" fmla="*/ 1065009 w 6096552"/>
              <a:gd name="connsiteY72" fmla="*/ 3068114 h 3429002"/>
              <a:gd name="connsiteX73" fmla="*/ 1099481 w 6096552"/>
              <a:gd name="connsiteY73" fmla="*/ 3022485 h 3429002"/>
              <a:gd name="connsiteX74" fmla="*/ 1074975 w 6096552"/>
              <a:gd name="connsiteY74" fmla="*/ 3022485 h 3429002"/>
              <a:gd name="connsiteX75" fmla="*/ 1045016 w 6096552"/>
              <a:gd name="connsiteY75" fmla="*/ 3060968 h 3429002"/>
              <a:gd name="connsiteX76" fmla="*/ 1045016 w 6096552"/>
              <a:gd name="connsiteY76" fmla="*/ 3022485 h 3429002"/>
              <a:gd name="connsiteX77" fmla="*/ 666077 w 6096552"/>
              <a:gd name="connsiteY77" fmla="*/ 3022485 h 3429002"/>
              <a:gd name="connsiteX78" fmla="*/ 666077 w 6096552"/>
              <a:gd name="connsiteY78" fmla="*/ 3113679 h 3429002"/>
              <a:gd name="connsiteX79" fmla="*/ 687073 w 6096552"/>
              <a:gd name="connsiteY79" fmla="*/ 3113679 h 3429002"/>
              <a:gd name="connsiteX80" fmla="*/ 687073 w 6096552"/>
              <a:gd name="connsiteY80" fmla="*/ 3075196 h 3429002"/>
              <a:gd name="connsiteX81" fmla="*/ 717033 w 6096552"/>
              <a:gd name="connsiteY81" fmla="*/ 3113679 h 3429002"/>
              <a:gd name="connsiteX82" fmla="*/ 741602 w 6096552"/>
              <a:gd name="connsiteY82" fmla="*/ 3113679 h 3429002"/>
              <a:gd name="connsiteX83" fmla="*/ 707067 w 6096552"/>
              <a:gd name="connsiteY83" fmla="*/ 3068114 h 3429002"/>
              <a:gd name="connsiteX84" fmla="*/ 741602 w 6096552"/>
              <a:gd name="connsiteY84" fmla="*/ 3022485 h 3429002"/>
              <a:gd name="connsiteX85" fmla="*/ 717033 w 6096552"/>
              <a:gd name="connsiteY85" fmla="*/ 3022485 h 3429002"/>
              <a:gd name="connsiteX86" fmla="*/ 687073 w 6096552"/>
              <a:gd name="connsiteY86" fmla="*/ 3060968 h 3429002"/>
              <a:gd name="connsiteX87" fmla="*/ 687073 w 6096552"/>
              <a:gd name="connsiteY87" fmla="*/ 3022485 h 3429002"/>
              <a:gd name="connsiteX88" fmla="*/ 0 w 6096552"/>
              <a:gd name="connsiteY88" fmla="*/ 0 h 3429002"/>
              <a:gd name="connsiteX89" fmla="*/ 6096552 w 6096552"/>
              <a:gd name="connsiteY89" fmla="*/ 0 h 3429002"/>
              <a:gd name="connsiteX90" fmla="*/ 6096552 w 6096552"/>
              <a:gd name="connsiteY90" fmla="*/ 1 h 3429002"/>
              <a:gd name="connsiteX91" fmla="*/ 6096552 w 6096552"/>
              <a:gd name="connsiteY91" fmla="*/ 2 h 3429002"/>
              <a:gd name="connsiteX92" fmla="*/ 6096552 w 6096552"/>
              <a:gd name="connsiteY92" fmla="*/ 3429000 h 3429002"/>
              <a:gd name="connsiteX93" fmla="*/ 6096552 w 6096552"/>
              <a:gd name="connsiteY93" fmla="*/ 3429002 h 3429002"/>
              <a:gd name="connsiteX94" fmla="*/ 0 w 6096552"/>
              <a:gd name="connsiteY94" fmla="*/ 3429002 h 3429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6096552" h="3429002">
                <a:moveTo>
                  <a:pt x="1146049" y="3041539"/>
                </a:moveTo>
                <a:lnTo>
                  <a:pt x="1157832" y="3076512"/>
                </a:lnTo>
                <a:lnTo>
                  <a:pt x="1134642" y="3076512"/>
                </a:lnTo>
                <a:close/>
                <a:moveTo>
                  <a:pt x="788170" y="3041539"/>
                </a:moveTo>
                <a:lnTo>
                  <a:pt x="799953" y="3076512"/>
                </a:lnTo>
                <a:lnTo>
                  <a:pt x="776763" y="3076512"/>
                </a:lnTo>
                <a:close/>
                <a:moveTo>
                  <a:pt x="1132323" y="3022548"/>
                </a:moveTo>
                <a:lnTo>
                  <a:pt x="1100860" y="3113679"/>
                </a:lnTo>
                <a:lnTo>
                  <a:pt x="1123110" y="3113679"/>
                </a:lnTo>
                <a:lnTo>
                  <a:pt x="1128876" y="3095065"/>
                </a:lnTo>
                <a:lnTo>
                  <a:pt x="1163786" y="3095065"/>
                </a:lnTo>
                <a:lnTo>
                  <a:pt x="1169741" y="3113679"/>
                </a:lnTo>
                <a:lnTo>
                  <a:pt x="1191615" y="3113679"/>
                </a:lnTo>
                <a:lnTo>
                  <a:pt x="1159148" y="3022548"/>
                </a:lnTo>
                <a:close/>
                <a:moveTo>
                  <a:pt x="961907" y="3022548"/>
                </a:moveTo>
                <a:cubicBezTo>
                  <a:pt x="944358" y="3022548"/>
                  <a:pt x="933640" y="3032827"/>
                  <a:pt x="933640" y="3050251"/>
                </a:cubicBezTo>
                <a:cubicBezTo>
                  <a:pt x="933640" y="3067675"/>
                  <a:pt x="945987" y="3076826"/>
                  <a:pt x="961907" y="3076826"/>
                </a:cubicBezTo>
                <a:lnTo>
                  <a:pt x="983468" y="3076826"/>
                </a:lnTo>
                <a:cubicBezTo>
                  <a:pt x="988921" y="3076826"/>
                  <a:pt x="991678" y="3080962"/>
                  <a:pt x="991678" y="3085287"/>
                </a:cubicBezTo>
                <a:cubicBezTo>
                  <a:pt x="991678" y="3089737"/>
                  <a:pt x="988921" y="3093748"/>
                  <a:pt x="983468" y="3093748"/>
                </a:cubicBezTo>
                <a:lnTo>
                  <a:pt x="937338" y="3093748"/>
                </a:lnTo>
                <a:lnTo>
                  <a:pt x="937338" y="3113679"/>
                </a:lnTo>
                <a:lnTo>
                  <a:pt x="982716" y="3113679"/>
                </a:lnTo>
                <a:cubicBezTo>
                  <a:pt x="1000704" y="3113679"/>
                  <a:pt x="1011358" y="3103777"/>
                  <a:pt x="1011358" y="3085287"/>
                </a:cubicBezTo>
                <a:cubicBezTo>
                  <a:pt x="1011358" y="3068615"/>
                  <a:pt x="1000641" y="3058712"/>
                  <a:pt x="986727" y="3058712"/>
                </a:cubicBezTo>
                <a:lnTo>
                  <a:pt x="961907" y="3058712"/>
                </a:lnTo>
                <a:cubicBezTo>
                  <a:pt x="956078" y="3058712"/>
                  <a:pt x="953321" y="3054701"/>
                  <a:pt x="953321" y="3050251"/>
                </a:cubicBezTo>
                <a:cubicBezTo>
                  <a:pt x="953321" y="3045801"/>
                  <a:pt x="956078" y="3041790"/>
                  <a:pt x="961907" y="3041790"/>
                </a:cubicBezTo>
                <a:lnTo>
                  <a:pt x="1004965" y="3041790"/>
                </a:lnTo>
                <a:lnTo>
                  <a:pt x="1004965" y="3022548"/>
                </a:lnTo>
                <a:close/>
                <a:moveTo>
                  <a:pt x="841570" y="3022548"/>
                </a:moveTo>
                <a:lnTo>
                  <a:pt x="841570" y="3113679"/>
                </a:lnTo>
                <a:lnTo>
                  <a:pt x="862692" y="3113679"/>
                </a:lnTo>
                <a:lnTo>
                  <a:pt x="862692" y="3057459"/>
                </a:lnTo>
                <a:lnTo>
                  <a:pt x="898981" y="3113491"/>
                </a:lnTo>
                <a:lnTo>
                  <a:pt x="898981" y="3113679"/>
                </a:lnTo>
                <a:lnTo>
                  <a:pt x="920855" y="3113679"/>
                </a:lnTo>
                <a:lnTo>
                  <a:pt x="920793" y="3093999"/>
                </a:lnTo>
                <a:lnTo>
                  <a:pt x="920667" y="3022548"/>
                </a:lnTo>
                <a:lnTo>
                  <a:pt x="899671" y="3022548"/>
                </a:lnTo>
                <a:lnTo>
                  <a:pt x="899671" y="3079834"/>
                </a:lnTo>
                <a:lnTo>
                  <a:pt x="863068" y="3022548"/>
                </a:lnTo>
                <a:close/>
                <a:moveTo>
                  <a:pt x="774444" y="3022548"/>
                </a:moveTo>
                <a:lnTo>
                  <a:pt x="742918" y="3113679"/>
                </a:lnTo>
                <a:lnTo>
                  <a:pt x="765168" y="3113679"/>
                </a:lnTo>
                <a:lnTo>
                  <a:pt x="770934" y="3095065"/>
                </a:lnTo>
                <a:lnTo>
                  <a:pt x="805845" y="3095065"/>
                </a:lnTo>
                <a:lnTo>
                  <a:pt x="811799" y="3113679"/>
                </a:lnTo>
                <a:lnTo>
                  <a:pt x="833735" y="3113679"/>
                </a:lnTo>
                <a:lnTo>
                  <a:pt x="801269" y="3022548"/>
                </a:lnTo>
                <a:close/>
                <a:moveTo>
                  <a:pt x="604404" y="3022548"/>
                </a:moveTo>
                <a:cubicBezTo>
                  <a:pt x="586792" y="3022548"/>
                  <a:pt x="576137" y="3032827"/>
                  <a:pt x="576137" y="3050251"/>
                </a:cubicBezTo>
                <a:cubicBezTo>
                  <a:pt x="576137" y="3067675"/>
                  <a:pt x="588484" y="3076826"/>
                  <a:pt x="604404" y="3076826"/>
                </a:cubicBezTo>
                <a:lnTo>
                  <a:pt x="625964" y="3076826"/>
                </a:lnTo>
                <a:cubicBezTo>
                  <a:pt x="631417" y="3076826"/>
                  <a:pt x="634174" y="3080962"/>
                  <a:pt x="634174" y="3085287"/>
                </a:cubicBezTo>
                <a:cubicBezTo>
                  <a:pt x="634174" y="3089737"/>
                  <a:pt x="631417" y="3093748"/>
                  <a:pt x="625964" y="3093748"/>
                </a:cubicBezTo>
                <a:lnTo>
                  <a:pt x="579772" y="3093748"/>
                </a:lnTo>
                <a:lnTo>
                  <a:pt x="579772" y="3113679"/>
                </a:lnTo>
                <a:lnTo>
                  <a:pt x="625149" y="3113679"/>
                </a:lnTo>
                <a:cubicBezTo>
                  <a:pt x="643137" y="3113679"/>
                  <a:pt x="653792" y="3103777"/>
                  <a:pt x="653792" y="3085287"/>
                </a:cubicBezTo>
                <a:cubicBezTo>
                  <a:pt x="653792" y="3068615"/>
                  <a:pt x="643137" y="3058712"/>
                  <a:pt x="629223" y="3058712"/>
                </a:cubicBezTo>
                <a:lnTo>
                  <a:pt x="604404" y="3058712"/>
                </a:lnTo>
                <a:cubicBezTo>
                  <a:pt x="598575" y="3058712"/>
                  <a:pt x="595817" y="3054701"/>
                  <a:pt x="595817" y="3050251"/>
                </a:cubicBezTo>
                <a:cubicBezTo>
                  <a:pt x="595817" y="3045801"/>
                  <a:pt x="598575" y="3041790"/>
                  <a:pt x="604404" y="3041790"/>
                </a:cubicBezTo>
                <a:lnTo>
                  <a:pt x="647462" y="3041790"/>
                </a:lnTo>
                <a:lnTo>
                  <a:pt x="647462" y="3022548"/>
                </a:lnTo>
                <a:close/>
                <a:moveTo>
                  <a:pt x="1023956" y="3022485"/>
                </a:moveTo>
                <a:lnTo>
                  <a:pt x="1023956" y="3113679"/>
                </a:lnTo>
                <a:lnTo>
                  <a:pt x="1045016" y="3113679"/>
                </a:lnTo>
                <a:lnTo>
                  <a:pt x="1045016" y="3075196"/>
                </a:lnTo>
                <a:lnTo>
                  <a:pt x="1074975" y="3113679"/>
                </a:lnTo>
                <a:lnTo>
                  <a:pt x="1099481" y="3113679"/>
                </a:lnTo>
                <a:lnTo>
                  <a:pt x="1065009" y="3068114"/>
                </a:lnTo>
                <a:lnTo>
                  <a:pt x="1099481" y="3022485"/>
                </a:lnTo>
                <a:lnTo>
                  <a:pt x="1074975" y="3022485"/>
                </a:lnTo>
                <a:lnTo>
                  <a:pt x="1045016" y="3060968"/>
                </a:lnTo>
                <a:lnTo>
                  <a:pt x="1045016" y="3022485"/>
                </a:lnTo>
                <a:close/>
                <a:moveTo>
                  <a:pt x="666077" y="3022485"/>
                </a:moveTo>
                <a:lnTo>
                  <a:pt x="666077" y="3113679"/>
                </a:lnTo>
                <a:lnTo>
                  <a:pt x="687073" y="3113679"/>
                </a:lnTo>
                <a:lnTo>
                  <a:pt x="687073" y="3075196"/>
                </a:lnTo>
                <a:lnTo>
                  <a:pt x="717033" y="3113679"/>
                </a:lnTo>
                <a:lnTo>
                  <a:pt x="741602" y="3113679"/>
                </a:lnTo>
                <a:lnTo>
                  <a:pt x="707067" y="3068114"/>
                </a:lnTo>
                <a:lnTo>
                  <a:pt x="741602" y="3022485"/>
                </a:lnTo>
                <a:lnTo>
                  <a:pt x="717033" y="3022485"/>
                </a:lnTo>
                <a:lnTo>
                  <a:pt x="687073" y="3060968"/>
                </a:lnTo>
                <a:lnTo>
                  <a:pt x="687073" y="3022485"/>
                </a:lnTo>
                <a:close/>
                <a:moveTo>
                  <a:pt x="0" y="0"/>
                </a:moveTo>
                <a:lnTo>
                  <a:pt x="6096552" y="0"/>
                </a:lnTo>
                <a:lnTo>
                  <a:pt x="6096552" y="1"/>
                </a:lnTo>
                <a:lnTo>
                  <a:pt x="6096552" y="2"/>
                </a:lnTo>
                <a:lnTo>
                  <a:pt x="6096552" y="3429000"/>
                </a:lnTo>
                <a:lnTo>
                  <a:pt x="6096552" y="3429002"/>
                </a:lnTo>
                <a:lnTo>
                  <a:pt x="0" y="3429002"/>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nb-NO" noProof="0" dirty="0"/>
              <a:t>Hvis bildeplassholderikonet er under tekstboksen, velger du den grå plassholderboksen og går deretter til «Sett inn» i toppmenyen og legger til bilde. IKKE flytt tekstboksen!</a:t>
            </a:r>
            <a:endParaRPr lang="en-US" noProof="0" dirty="0"/>
          </a:p>
        </p:txBody>
      </p:sp>
      <p:sp>
        <p:nvSpPr>
          <p:cNvPr id="33" name="Picture Placeholder 1">
            <a:extLst>
              <a:ext uri="{FF2B5EF4-FFF2-40B4-BE49-F238E27FC236}">
                <a16:creationId xmlns:a16="http://schemas.microsoft.com/office/drawing/2014/main" id="{91BA1C63-2CDA-0D4F-B07B-0D835EE08330}"/>
              </a:ext>
            </a:extLst>
          </p:cNvPr>
          <p:cNvSpPr>
            <a:spLocks noGrp="1"/>
          </p:cNvSpPr>
          <p:nvPr>
            <p:ph type="pic" sz="quarter" idx="18" hasCustomPrompt="1"/>
          </p:nvPr>
        </p:nvSpPr>
        <p:spPr>
          <a:xfrm>
            <a:off x="6096557" y="3429002"/>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nb-NO" noProof="0" dirty="0"/>
              <a:t>Hvis bildeplassholderikonet er under tekstboksen, velger du den grå plassholderboksen og går deretter til «Sett inn» i toppmenyen og legger til bilde. IKKE flytt tekstboksen!</a:t>
            </a:r>
            <a:endParaRPr lang="en-US" noProof="0" dirty="0"/>
          </a:p>
        </p:txBody>
      </p:sp>
      <p:sp>
        <p:nvSpPr>
          <p:cNvPr id="13" name="Text Placeholder 5">
            <a:extLst>
              <a:ext uri="{FF2B5EF4-FFF2-40B4-BE49-F238E27FC236}">
                <a16:creationId xmlns:a16="http://schemas.microsoft.com/office/drawing/2014/main" id="{AE36B329-0BE6-7A49-8654-DDEA7932EC4D}"/>
              </a:ext>
            </a:extLst>
          </p:cNvPr>
          <p:cNvSpPr>
            <a:spLocks noGrp="1"/>
          </p:cNvSpPr>
          <p:nvPr>
            <p:ph type="body" sz="quarter" idx="19" hasCustomPrompt="1"/>
          </p:nvPr>
        </p:nvSpPr>
        <p:spPr>
          <a:xfrm>
            <a:off x="6102156" y="1300220"/>
            <a:ext cx="6096552" cy="828564"/>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defRPr>
            </a:lvl1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p:txBody>
      </p:sp>
      <p:sp>
        <p:nvSpPr>
          <p:cNvPr id="15" name="Text Placeholder 8">
            <a:extLst>
              <a:ext uri="{FF2B5EF4-FFF2-40B4-BE49-F238E27FC236}">
                <a16:creationId xmlns:a16="http://schemas.microsoft.com/office/drawing/2014/main" id="{7744189A-DC50-C443-9FD4-A84FC60A0108}"/>
              </a:ext>
            </a:extLst>
          </p:cNvPr>
          <p:cNvSpPr>
            <a:spLocks noGrp="1"/>
          </p:cNvSpPr>
          <p:nvPr>
            <p:ph type="body" sz="quarter" idx="20" hasCustomPrompt="1"/>
          </p:nvPr>
        </p:nvSpPr>
        <p:spPr>
          <a:xfrm>
            <a:off x="-5594" y="4729219"/>
            <a:ext cx="6101594" cy="828564"/>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defRPr>
            </a:lvl1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p:txBody>
      </p:sp>
      <p:sp>
        <p:nvSpPr>
          <p:cNvPr id="16" name="Text Placeholder 6">
            <a:extLst>
              <a:ext uri="{FF2B5EF4-FFF2-40B4-BE49-F238E27FC236}">
                <a16:creationId xmlns:a16="http://schemas.microsoft.com/office/drawing/2014/main" id="{CAD788D9-156D-3B46-B27B-0C6E941B8270}"/>
              </a:ext>
            </a:extLst>
          </p:cNvPr>
          <p:cNvSpPr>
            <a:spLocks noGrp="1"/>
          </p:cNvSpPr>
          <p:nvPr>
            <p:ph type="body" sz="quarter" idx="21" hasCustomPrompt="1"/>
          </p:nvPr>
        </p:nvSpPr>
        <p:spPr>
          <a:xfrm>
            <a:off x="6102155" y="4729219"/>
            <a:ext cx="6089839" cy="828564"/>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defRPr>
            </a:lvl1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p:txBody>
      </p:sp>
      <p:grpSp>
        <p:nvGrpSpPr>
          <p:cNvPr id="2" name="Instructions">
            <a:extLst>
              <a:ext uri="{FF2B5EF4-FFF2-40B4-BE49-F238E27FC236}">
                <a16:creationId xmlns:a16="http://schemas.microsoft.com/office/drawing/2014/main" id="{C353BF31-533F-28BE-1187-251ABA2AB258}"/>
              </a:ext>
            </a:extLst>
          </p:cNvPr>
          <p:cNvGrpSpPr/>
          <p:nvPr userDrawn="1"/>
        </p:nvGrpSpPr>
        <p:grpSpPr>
          <a:xfrm>
            <a:off x="12395260" y="-12189"/>
            <a:ext cx="1681523" cy="2112003"/>
            <a:chOff x="12395260" y="-12189"/>
            <a:chExt cx="1681523" cy="2112003"/>
          </a:xfrm>
        </p:grpSpPr>
        <p:sp>
          <p:nvSpPr>
            <p:cNvPr id="14" name="textruta 5">
              <a:extLst>
                <a:ext uri="{FF2B5EF4-FFF2-40B4-BE49-F238E27FC236}">
                  <a16:creationId xmlns:a16="http://schemas.microsoft.com/office/drawing/2014/main" id="{19FBFB5A-FFAC-8E48-BE9F-8171ABD4A956}"/>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7" name="textruta 16">
              <a:extLst>
                <a:ext uri="{FF2B5EF4-FFF2-40B4-BE49-F238E27FC236}">
                  <a16:creationId xmlns:a16="http://schemas.microsoft.com/office/drawing/2014/main" id="{75DFCBE9-EE68-0440-97A2-234715FAABCE}"/>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8" name="Rektangel 17">
              <a:extLst>
                <a:ext uri="{FF2B5EF4-FFF2-40B4-BE49-F238E27FC236}">
                  <a16:creationId xmlns:a16="http://schemas.microsoft.com/office/drawing/2014/main" id="{559F1CA4-11DF-CD41-9092-56CD49479BD3}"/>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ktangel 18">
              <a:extLst>
                <a:ext uri="{FF2B5EF4-FFF2-40B4-BE49-F238E27FC236}">
                  <a16:creationId xmlns:a16="http://schemas.microsoft.com/office/drawing/2014/main" id="{420B4BDA-12DF-064A-BD9D-7A5CBB0BD6CB}"/>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25" name="Project Text Placeholder 9">
            <a:extLst>
              <a:ext uri="{FF2B5EF4-FFF2-40B4-BE49-F238E27FC236}">
                <a16:creationId xmlns:a16="http://schemas.microsoft.com/office/drawing/2014/main" id="{71A9C98A-4687-4040-B606-2087DF2A2EFC}"/>
              </a:ext>
            </a:extLst>
          </p:cNvPr>
          <p:cNvSpPr>
            <a:spLocks noGrp="1"/>
          </p:cNvSpPr>
          <p:nvPr>
            <p:ph type="body" sz="quarter" idx="26" hasCustomPrompt="1"/>
          </p:nvPr>
        </p:nvSpPr>
        <p:spPr>
          <a:xfrm rot="5400000">
            <a:off x="10526285" y="1179090"/>
            <a:ext cx="2844803" cy="486626"/>
          </a:xfrm>
        </p:spPr>
        <p:txBody>
          <a:bodyPr wrap="square"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sp>
        <p:nvSpPr>
          <p:cNvPr id="27" name="Project Text Placeholder 11">
            <a:extLst>
              <a:ext uri="{FF2B5EF4-FFF2-40B4-BE49-F238E27FC236}">
                <a16:creationId xmlns:a16="http://schemas.microsoft.com/office/drawing/2014/main" id="{71F88B05-AE87-C844-A8AD-6E40968EBE38}"/>
              </a:ext>
            </a:extLst>
          </p:cNvPr>
          <p:cNvSpPr>
            <a:spLocks noGrp="1"/>
          </p:cNvSpPr>
          <p:nvPr>
            <p:ph type="body" sz="quarter" idx="28" hasCustomPrompt="1"/>
          </p:nvPr>
        </p:nvSpPr>
        <p:spPr>
          <a:xfrm rot="5400000">
            <a:off x="4430286" y="4608089"/>
            <a:ext cx="2844802" cy="486626"/>
          </a:xfrm>
        </p:spPr>
        <p:txBody>
          <a:bodyPr wrap="square"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sp>
        <p:nvSpPr>
          <p:cNvPr id="28" name="Project Text Placeholder 12">
            <a:extLst>
              <a:ext uri="{FF2B5EF4-FFF2-40B4-BE49-F238E27FC236}">
                <a16:creationId xmlns:a16="http://schemas.microsoft.com/office/drawing/2014/main" id="{57F2AD48-4016-D14A-BC63-41C3D6B3BDF0}"/>
              </a:ext>
            </a:extLst>
          </p:cNvPr>
          <p:cNvSpPr>
            <a:spLocks noGrp="1"/>
          </p:cNvSpPr>
          <p:nvPr>
            <p:ph type="body" sz="quarter" idx="29" hasCustomPrompt="1"/>
          </p:nvPr>
        </p:nvSpPr>
        <p:spPr>
          <a:xfrm rot="5400000">
            <a:off x="10526839" y="4608091"/>
            <a:ext cx="2844803" cy="486626"/>
          </a:xfrm>
        </p:spPr>
        <p:txBody>
          <a:bodyPr wrap="square"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sp>
        <p:nvSpPr>
          <p:cNvPr id="8" name="Title 2">
            <a:extLst>
              <a:ext uri="{FF2B5EF4-FFF2-40B4-BE49-F238E27FC236}">
                <a16:creationId xmlns:a16="http://schemas.microsoft.com/office/drawing/2014/main" id="{1E6CBE96-EAB6-ACD9-41D8-B731F59CDA21}"/>
              </a:ext>
            </a:extLst>
          </p:cNvPr>
          <p:cNvSpPr>
            <a:spLocks noGrp="1"/>
          </p:cNvSpPr>
          <p:nvPr>
            <p:ph type="title" hasCustomPrompt="1"/>
          </p:nvPr>
        </p:nvSpPr>
        <p:spPr>
          <a:xfrm>
            <a:off x="576000" y="1027040"/>
            <a:ext cx="4941931" cy="1365942"/>
          </a:xfrm>
        </p:spPr>
        <p:txBody>
          <a:bodyPr anchor="ctr"/>
          <a:lstStyle>
            <a:lvl1pPr>
              <a:defRPr>
                <a:solidFill>
                  <a:schemeClr val="tx2"/>
                </a:solidFill>
              </a:defRPr>
            </a:lvl1pPr>
          </a:lstStyle>
          <a:p>
            <a:r>
              <a:rPr lang="en-US" dirty="0" err="1"/>
              <a:t>Klikk</a:t>
            </a:r>
            <a:r>
              <a:rPr lang="en-US" dirty="0"/>
              <a:t> for </a:t>
            </a:r>
            <a:r>
              <a:rPr lang="en-US" dirty="0" err="1"/>
              <a:t>en</a:t>
            </a:r>
            <a:r>
              <a:rPr lang="en-US" dirty="0"/>
              <a:t> </a:t>
            </a:r>
            <a:r>
              <a:rPr lang="en-US" dirty="0" err="1"/>
              <a:t>kort</a:t>
            </a:r>
            <a:r>
              <a:rPr lang="en-US" dirty="0"/>
              <a:t> </a:t>
            </a:r>
            <a:r>
              <a:rPr lang="en-US" dirty="0" err="1"/>
              <a:t>overskrift</a:t>
            </a:r>
            <a:r>
              <a:rPr lang="en-US" dirty="0"/>
              <a:t> </a:t>
            </a:r>
            <a:r>
              <a:rPr lang="en-US" dirty="0" err="1"/>
              <a:t>på</a:t>
            </a:r>
            <a:r>
              <a:rPr lang="en-US" dirty="0"/>
              <a:t> </a:t>
            </a:r>
            <a:r>
              <a:rPr lang="en-US" dirty="0" err="1"/>
              <a:t>tre</a:t>
            </a:r>
            <a:r>
              <a:rPr lang="en-US" dirty="0"/>
              <a:t> </a:t>
            </a:r>
            <a:r>
              <a:rPr lang="en-US" dirty="0" err="1"/>
              <a:t>linjer</a:t>
            </a:r>
            <a:endParaRPr lang="en-US" dirty="0"/>
          </a:p>
        </p:txBody>
      </p:sp>
    </p:spTree>
    <p:extLst>
      <p:ext uri="{BB962C8B-B14F-4D97-AF65-F5344CB8AC3E}">
        <p14:creationId xmlns:p14="http://schemas.microsoft.com/office/powerpoint/2010/main" val="11958589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 Tittel start blå">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EAC1F82-874A-A502-DE24-2EA03D36EA70}"/>
              </a:ext>
            </a:extLst>
          </p:cNvPr>
          <p:cNvSpPr>
            <a:spLocks noGrp="1"/>
          </p:cNvSpPr>
          <p:nvPr>
            <p:ph type="title" hasCustomPrompt="1"/>
          </p:nvPr>
        </p:nvSpPr>
        <p:spPr>
          <a:xfrm>
            <a:off x="575999" y="1845591"/>
            <a:ext cx="7413277" cy="1903912"/>
          </a:xfrm>
        </p:spPr>
        <p:txBody>
          <a:bodyPr anchor="b"/>
          <a:lstStyle>
            <a:lvl1pPr>
              <a:lnSpc>
                <a:spcPct val="85000"/>
              </a:lnSpc>
              <a:defRPr sz="4200" spc="40" baseline="0">
                <a:solidFill>
                  <a:schemeClr val="tx1"/>
                </a:solidFill>
              </a:defRPr>
            </a:lvl1pPr>
          </a:lstStyle>
          <a:p>
            <a:r>
              <a:rPr lang="nb-NO" dirty="0"/>
              <a:t>Klikk for å legge til en overskrift på maksimalt to linjer</a:t>
            </a:r>
            <a:endParaRPr lang="en-US" dirty="0"/>
          </a:p>
        </p:txBody>
      </p:sp>
      <p:sp>
        <p:nvSpPr>
          <p:cNvPr id="17" name="Text Placeholder 3">
            <a:extLst>
              <a:ext uri="{FF2B5EF4-FFF2-40B4-BE49-F238E27FC236}">
                <a16:creationId xmlns:a16="http://schemas.microsoft.com/office/drawing/2014/main" id="{5CE2C598-208E-6443-A5A6-FF5E07D00E14}"/>
              </a:ext>
            </a:extLst>
          </p:cNvPr>
          <p:cNvSpPr>
            <a:spLocks noGrp="1"/>
          </p:cNvSpPr>
          <p:nvPr>
            <p:ph type="body" sz="quarter" idx="15" hasCustomPrompt="1"/>
          </p:nvPr>
        </p:nvSpPr>
        <p:spPr>
          <a:xfrm>
            <a:off x="576000" y="3915585"/>
            <a:ext cx="3773171" cy="646331"/>
          </a:xfrm>
          <a:prstGeom prst="rect">
            <a:avLst/>
          </a:prstGeom>
        </p:spPr>
        <p:txBody>
          <a:bodyPr anchor="t">
            <a:noAutofit/>
          </a:bodyPr>
          <a:lstStyle>
            <a:lvl1pPr marL="0" indent="0">
              <a:lnSpc>
                <a:spcPct val="100000"/>
              </a:lnSpc>
              <a:spcBef>
                <a:spcPts val="0"/>
              </a:spcBef>
              <a:buNone/>
              <a:defRPr sz="1400" spc="70" baseline="0">
                <a:solidFill>
                  <a:schemeClr val="tx1"/>
                </a:solidFill>
              </a:defRPr>
            </a:lvl1pPr>
          </a:lstStyle>
          <a:p>
            <a:pPr lvl="0"/>
            <a:r>
              <a:rPr lang="nb-NO" dirty="0"/>
              <a:t>Klikk for å legge til navn, tittel, Forretningsenhet og dato</a:t>
            </a:r>
            <a:endParaRPr lang="en-GB" dirty="0"/>
          </a:p>
        </p:txBody>
      </p:sp>
      <p:sp>
        <p:nvSpPr>
          <p:cNvPr id="2" name="Logotype">
            <a:extLst>
              <a:ext uri="{FF2B5EF4-FFF2-40B4-BE49-F238E27FC236}">
                <a16:creationId xmlns:a16="http://schemas.microsoft.com/office/drawing/2014/main" id="{2E5FF675-7C85-A85A-6FA4-04EAD412B491}"/>
              </a:ext>
            </a:extLst>
          </p:cNvPr>
          <p:cNvSpPr/>
          <p:nvPr/>
        </p:nvSpPr>
        <p:spPr>
          <a:xfrm>
            <a:off x="576139" y="356678"/>
            <a:ext cx="1060123" cy="157076"/>
          </a:xfrm>
          <a:custGeom>
            <a:avLst/>
            <a:gdLst>
              <a:gd name="connsiteX0" fmla="*/ 981639 w 1060123"/>
              <a:gd name="connsiteY0" fmla="*/ 32820 h 157076"/>
              <a:gd name="connsiteX1" fmla="*/ 961991 w 1060123"/>
              <a:gd name="connsiteY1" fmla="*/ 93059 h 157076"/>
              <a:gd name="connsiteX2" fmla="*/ 1001935 w 1060123"/>
              <a:gd name="connsiteY2" fmla="*/ 93059 h 157076"/>
              <a:gd name="connsiteX3" fmla="*/ 365214 w 1060123"/>
              <a:gd name="connsiteY3" fmla="*/ 32820 h 157076"/>
              <a:gd name="connsiteX4" fmla="*/ 345566 w 1060123"/>
              <a:gd name="connsiteY4" fmla="*/ 93059 h 157076"/>
              <a:gd name="connsiteX5" fmla="*/ 385509 w 1060123"/>
              <a:gd name="connsiteY5" fmla="*/ 93059 h 157076"/>
              <a:gd name="connsiteX6" fmla="*/ 957997 w 1060123"/>
              <a:gd name="connsiteY6" fmla="*/ 109 h 157076"/>
              <a:gd name="connsiteX7" fmla="*/ 1004202 w 1060123"/>
              <a:gd name="connsiteY7" fmla="*/ 109 h 157076"/>
              <a:gd name="connsiteX8" fmla="*/ 1060123 w 1060123"/>
              <a:gd name="connsiteY8" fmla="*/ 157076 h 157076"/>
              <a:gd name="connsiteX9" fmla="*/ 1022447 w 1060123"/>
              <a:gd name="connsiteY9" fmla="*/ 157076 h 157076"/>
              <a:gd name="connsiteX10" fmla="*/ 1012191 w 1060123"/>
              <a:gd name="connsiteY10" fmla="*/ 125013 h 157076"/>
              <a:gd name="connsiteX11" fmla="*/ 952059 w 1060123"/>
              <a:gd name="connsiteY11" fmla="*/ 125013 h 157076"/>
              <a:gd name="connsiteX12" fmla="*/ 942127 w 1060123"/>
              <a:gd name="connsiteY12" fmla="*/ 157076 h 157076"/>
              <a:gd name="connsiteX13" fmla="*/ 903803 w 1060123"/>
              <a:gd name="connsiteY13" fmla="*/ 157076 h 157076"/>
              <a:gd name="connsiteX14" fmla="*/ 664467 w 1060123"/>
              <a:gd name="connsiteY14" fmla="*/ 109 h 157076"/>
              <a:gd name="connsiteX15" fmla="*/ 738632 w 1060123"/>
              <a:gd name="connsiteY15" fmla="*/ 109 h 157076"/>
              <a:gd name="connsiteX16" fmla="*/ 738632 w 1060123"/>
              <a:gd name="connsiteY16" fmla="*/ 33251 h 157076"/>
              <a:gd name="connsiteX17" fmla="*/ 664467 w 1060123"/>
              <a:gd name="connsiteY17" fmla="*/ 33251 h 157076"/>
              <a:gd name="connsiteX18" fmla="*/ 649677 w 1060123"/>
              <a:gd name="connsiteY18" fmla="*/ 47825 h 157076"/>
              <a:gd name="connsiteX19" fmla="*/ 664467 w 1060123"/>
              <a:gd name="connsiteY19" fmla="*/ 62399 h 157076"/>
              <a:gd name="connsiteX20" fmla="*/ 707217 w 1060123"/>
              <a:gd name="connsiteY20" fmla="*/ 62399 h 157076"/>
              <a:gd name="connsiteX21" fmla="*/ 749643 w 1060123"/>
              <a:gd name="connsiteY21" fmla="*/ 108172 h 157076"/>
              <a:gd name="connsiteX22" fmla="*/ 700308 w 1060123"/>
              <a:gd name="connsiteY22" fmla="*/ 157076 h 157076"/>
              <a:gd name="connsiteX23" fmla="*/ 622148 w 1060123"/>
              <a:gd name="connsiteY23" fmla="*/ 157076 h 157076"/>
              <a:gd name="connsiteX24" fmla="*/ 622148 w 1060123"/>
              <a:gd name="connsiteY24" fmla="*/ 122746 h 157076"/>
              <a:gd name="connsiteX25" fmla="*/ 701603 w 1060123"/>
              <a:gd name="connsiteY25" fmla="*/ 122746 h 157076"/>
              <a:gd name="connsiteX26" fmla="*/ 715745 w 1060123"/>
              <a:gd name="connsiteY26" fmla="*/ 108172 h 157076"/>
              <a:gd name="connsiteX27" fmla="*/ 701603 w 1060123"/>
              <a:gd name="connsiteY27" fmla="*/ 93598 h 157076"/>
              <a:gd name="connsiteX28" fmla="*/ 664467 w 1060123"/>
              <a:gd name="connsiteY28" fmla="*/ 93598 h 157076"/>
              <a:gd name="connsiteX29" fmla="*/ 615779 w 1060123"/>
              <a:gd name="connsiteY29" fmla="*/ 47825 h 157076"/>
              <a:gd name="connsiteX30" fmla="*/ 664467 w 1060123"/>
              <a:gd name="connsiteY30" fmla="*/ 109 h 157076"/>
              <a:gd name="connsiteX31" fmla="*/ 457192 w 1060123"/>
              <a:gd name="connsiteY31" fmla="*/ 109 h 157076"/>
              <a:gd name="connsiteX32" fmla="*/ 494221 w 1060123"/>
              <a:gd name="connsiteY32" fmla="*/ 109 h 157076"/>
              <a:gd name="connsiteX33" fmla="*/ 557267 w 1060123"/>
              <a:gd name="connsiteY33" fmla="*/ 98780 h 157076"/>
              <a:gd name="connsiteX34" fmla="*/ 557267 w 1060123"/>
              <a:gd name="connsiteY34" fmla="*/ 109 h 157076"/>
              <a:gd name="connsiteX35" fmla="*/ 593432 w 1060123"/>
              <a:gd name="connsiteY35" fmla="*/ 109 h 157076"/>
              <a:gd name="connsiteX36" fmla="*/ 593648 w 1060123"/>
              <a:gd name="connsiteY36" fmla="*/ 123178 h 157076"/>
              <a:gd name="connsiteX37" fmla="*/ 593756 w 1060123"/>
              <a:gd name="connsiteY37" fmla="*/ 157076 h 157076"/>
              <a:gd name="connsiteX38" fmla="*/ 556080 w 1060123"/>
              <a:gd name="connsiteY38" fmla="*/ 157076 h 157076"/>
              <a:gd name="connsiteX39" fmla="*/ 556080 w 1060123"/>
              <a:gd name="connsiteY39" fmla="*/ 156752 h 157076"/>
              <a:gd name="connsiteX40" fmla="*/ 493573 w 1060123"/>
              <a:gd name="connsiteY40" fmla="*/ 60240 h 157076"/>
              <a:gd name="connsiteX41" fmla="*/ 493573 w 1060123"/>
              <a:gd name="connsiteY41" fmla="*/ 157076 h 157076"/>
              <a:gd name="connsiteX42" fmla="*/ 457192 w 1060123"/>
              <a:gd name="connsiteY42" fmla="*/ 157076 h 157076"/>
              <a:gd name="connsiteX43" fmla="*/ 341572 w 1060123"/>
              <a:gd name="connsiteY43" fmla="*/ 109 h 157076"/>
              <a:gd name="connsiteX44" fmla="*/ 387776 w 1060123"/>
              <a:gd name="connsiteY44" fmla="*/ 109 h 157076"/>
              <a:gd name="connsiteX45" fmla="*/ 443697 w 1060123"/>
              <a:gd name="connsiteY45" fmla="*/ 157076 h 157076"/>
              <a:gd name="connsiteX46" fmla="*/ 405913 w 1060123"/>
              <a:gd name="connsiteY46" fmla="*/ 157076 h 157076"/>
              <a:gd name="connsiteX47" fmla="*/ 395657 w 1060123"/>
              <a:gd name="connsiteY47" fmla="*/ 125013 h 157076"/>
              <a:gd name="connsiteX48" fmla="*/ 335526 w 1060123"/>
              <a:gd name="connsiteY48" fmla="*/ 125013 h 157076"/>
              <a:gd name="connsiteX49" fmla="*/ 325594 w 1060123"/>
              <a:gd name="connsiteY49" fmla="*/ 157076 h 157076"/>
              <a:gd name="connsiteX50" fmla="*/ 287270 w 1060123"/>
              <a:gd name="connsiteY50" fmla="*/ 157076 h 157076"/>
              <a:gd name="connsiteX51" fmla="*/ 48688 w 1060123"/>
              <a:gd name="connsiteY51" fmla="*/ 109 h 157076"/>
              <a:gd name="connsiteX52" fmla="*/ 122853 w 1060123"/>
              <a:gd name="connsiteY52" fmla="*/ 109 h 157076"/>
              <a:gd name="connsiteX53" fmla="*/ 122853 w 1060123"/>
              <a:gd name="connsiteY53" fmla="*/ 33251 h 157076"/>
              <a:gd name="connsiteX54" fmla="*/ 48688 w 1060123"/>
              <a:gd name="connsiteY54" fmla="*/ 33251 h 157076"/>
              <a:gd name="connsiteX55" fmla="*/ 33898 w 1060123"/>
              <a:gd name="connsiteY55" fmla="*/ 47825 h 157076"/>
              <a:gd name="connsiteX56" fmla="*/ 48688 w 1060123"/>
              <a:gd name="connsiteY56" fmla="*/ 62399 h 157076"/>
              <a:gd name="connsiteX57" fmla="*/ 91438 w 1060123"/>
              <a:gd name="connsiteY57" fmla="*/ 62399 h 157076"/>
              <a:gd name="connsiteX58" fmla="*/ 133756 w 1060123"/>
              <a:gd name="connsiteY58" fmla="*/ 108172 h 157076"/>
              <a:gd name="connsiteX59" fmla="*/ 84421 w 1060123"/>
              <a:gd name="connsiteY59" fmla="*/ 157076 h 157076"/>
              <a:gd name="connsiteX60" fmla="*/ 6261 w 1060123"/>
              <a:gd name="connsiteY60" fmla="*/ 157076 h 157076"/>
              <a:gd name="connsiteX61" fmla="*/ 6261 w 1060123"/>
              <a:gd name="connsiteY61" fmla="*/ 122746 h 157076"/>
              <a:gd name="connsiteX62" fmla="*/ 85824 w 1060123"/>
              <a:gd name="connsiteY62" fmla="*/ 122746 h 157076"/>
              <a:gd name="connsiteX63" fmla="*/ 99966 w 1060123"/>
              <a:gd name="connsiteY63" fmla="*/ 108172 h 157076"/>
              <a:gd name="connsiteX64" fmla="*/ 85824 w 1060123"/>
              <a:gd name="connsiteY64" fmla="*/ 93598 h 157076"/>
              <a:gd name="connsiteX65" fmla="*/ 48688 w 1060123"/>
              <a:gd name="connsiteY65" fmla="*/ 93598 h 157076"/>
              <a:gd name="connsiteX66" fmla="*/ 0 w 1060123"/>
              <a:gd name="connsiteY66" fmla="*/ 47825 h 157076"/>
              <a:gd name="connsiteX67" fmla="*/ 48688 w 1060123"/>
              <a:gd name="connsiteY67" fmla="*/ 109 h 157076"/>
              <a:gd name="connsiteX68" fmla="*/ 771342 w 1060123"/>
              <a:gd name="connsiteY68" fmla="*/ 0 h 157076"/>
              <a:gd name="connsiteX69" fmla="*/ 807615 w 1060123"/>
              <a:gd name="connsiteY69" fmla="*/ 0 h 157076"/>
              <a:gd name="connsiteX70" fmla="*/ 807615 w 1060123"/>
              <a:gd name="connsiteY70" fmla="*/ 66285 h 157076"/>
              <a:gd name="connsiteX71" fmla="*/ 859218 w 1060123"/>
              <a:gd name="connsiteY71" fmla="*/ 0 h 157076"/>
              <a:gd name="connsiteX72" fmla="*/ 901429 w 1060123"/>
              <a:gd name="connsiteY72" fmla="*/ 0 h 157076"/>
              <a:gd name="connsiteX73" fmla="*/ 842053 w 1060123"/>
              <a:gd name="connsiteY73" fmla="*/ 78592 h 157076"/>
              <a:gd name="connsiteX74" fmla="*/ 901429 w 1060123"/>
              <a:gd name="connsiteY74" fmla="*/ 157076 h 157076"/>
              <a:gd name="connsiteX75" fmla="*/ 859218 w 1060123"/>
              <a:gd name="connsiteY75" fmla="*/ 157076 h 157076"/>
              <a:gd name="connsiteX76" fmla="*/ 807615 w 1060123"/>
              <a:gd name="connsiteY76" fmla="*/ 90791 h 157076"/>
              <a:gd name="connsiteX77" fmla="*/ 807615 w 1060123"/>
              <a:gd name="connsiteY77" fmla="*/ 157076 h 157076"/>
              <a:gd name="connsiteX78" fmla="*/ 771342 w 1060123"/>
              <a:gd name="connsiteY78" fmla="*/ 157076 h 157076"/>
              <a:gd name="connsiteX79" fmla="*/ 154916 w 1060123"/>
              <a:gd name="connsiteY79" fmla="*/ 0 h 157076"/>
              <a:gd name="connsiteX80" fmla="*/ 191081 w 1060123"/>
              <a:gd name="connsiteY80" fmla="*/ 0 h 157076"/>
              <a:gd name="connsiteX81" fmla="*/ 191081 w 1060123"/>
              <a:gd name="connsiteY81" fmla="*/ 66285 h 157076"/>
              <a:gd name="connsiteX82" fmla="*/ 242684 w 1060123"/>
              <a:gd name="connsiteY82" fmla="*/ 0 h 157076"/>
              <a:gd name="connsiteX83" fmla="*/ 285003 w 1060123"/>
              <a:gd name="connsiteY83" fmla="*/ 0 h 157076"/>
              <a:gd name="connsiteX84" fmla="*/ 225519 w 1060123"/>
              <a:gd name="connsiteY84" fmla="*/ 78592 h 157076"/>
              <a:gd name="connsiteX85" fmla="*/ 285003 w 1060123"/>
              <a:gd name="connsiteY85" fmla="*/ 157076 h 157076"/>
              <a:gd name="connsiteX86" fmla="*/ 242684 w 1060123"/>
              <a:gd name="connsiteY86" fmla="*/ 157076 h 157076"/>
              <a:gd name="connsiteX87" fmla="*/ 191081 w 1060123"/>
              <a:gd name="connsiteY87" fmla="*/ 90791 h 157076"/>
              <a:gd name="connsiteX88" fmla="*/ 191081 w 1060123"/>
              <a:gd name="connsiteY88" fmla="*/ 157076 h 157076"/>
              <a:gd name="connsiteX89" fmla="*/ 154916 w 1060123"/>
              <a:gd name="connsiteY89" fmla="*/ 157076 h 157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060123" h="157076">
                <a:moveTo>
                  <a:pt x="981639" y="32820"/>
                </a:moveTo>
                <a:lnTo>
                  <a:pt x="961991" y="93059"/>
                </a:lnTo>
                <a:lnTo>
                  <a:pt x="1001935" y="93059"/>
                </a:lnTo>
                <a:close/>
                <a:moveTo>
                  <a:pt x="365214" y="32820"/>
                </a:moveTo>
                <a:lnTo>
                  <a:pt x="345566" y="93059"/>
                </a:lnTo>
                <a:lnTo>
                  <a:pt x="385509" y="93059"/>
                </a:lnTo>
                <a:close/>
                <a:moveTo>
                  <a:pt x="957997" y="109"/>
                </a:moveTo>
                <a:lnTo>
                  <a:pt x="1004202" y="109"/>
                </a:lnTo>
                <a:lnTo>
                  <a:pt x="1060123" y="157076"/>
                </a:lnTo>
                <a:lnTo>
                  <a:pt x="1022447" y="157076"/>
                </a:lnTo>
                <a:lnTo>
                  <a:pt x="1012191" y="125013"/>
                </a:lnTo>
                <a:lnTo>
                  <a:pt x="952059" y="125013"/>
                </a:lnTo>
                <a:lnTo>
                  <a:pt x="942127" y="157076"/>
                </a:lnTo>
                <a:lnTo>
                  <a:pt x="903803" y="157076"/>
                </a:lnTo>
                <a:close/>
                <a:moveTo>
                  <a:pt x="664467" y="109"/>
                </a:moveTo>
                <a:lnTo>
                  <a:pt x="738632" y="109"/>
                </a:lnTo>
                <a:lnTo>
                  <a:pt x="738632" y="33251"/>
                </a:lnTo>
                <a:lnTo>
                  <a:pt x="664467" y="33251"/>
                </a:lnTo>
                <a:cubicBezTo>
                  <a:pt x="654427" y="33251"/>
                  <a:pt x="649677" y="40160"/>
                  <a:pt x="649677" y="47825"/>
                </a:cubicBezTo>
                <a:cubicBezTo>
                  <a:pt x="649677" y="55490"/>
                  <a:pt x="654427" y="62399"/>
                  <a:pt x="664467" y="62399"/>
                </a:cubicBezTo>
                <a:lnTo>
                  <a:pt x="707217" y="62399"/>
                </a:lnTo>
                <a:cubicBezTo>
                  <a:pt x="731183" y="62399"/>
                  <a:pt x="749643" y="79456"/>
                  <a:pt x="749643" y="108172"/>
                </a:cubicBezTo>
                <a:cubicBezTo>
                  <a:pt x="749643" y="140019"/>
                  <a:pt x="731291" y="157076"/>
                  <a:pt x="700308" y="157076"/>
                </a:cubicBezTo>
                <a:lnTo>
                  <a:pt x="622148" y="157076"/>
                </a:lnTo>
                <a:lnTo>
                  <a:pt x="622148" y="122746"/>
                </a:lnTo>
                <a:lnTo>
                  <a:pt x="701603" y="122746"/>
                </a:lnTo>
                <a:cubicBezTo>
                  <a:pt x="710995" y="122746"/>
                  <a:pt x="715745" y="115837"/>
                  <a:pt x="715745" y="108172"/>
                </a:cubicBezTo>
                <a:cubicBezTo>
                  <a:pt x="715745" y="100723"/>
                  <a:pt x="710995" y="93598"/>
                  <a:pt x="701603" y="93598"/>
                </a:cubicBezTo>
                <a:lnTo>
                  <a:pt x="664467" y="93598"/>
                </a:lnTo>
                <a:cubicBezTo>
                  <a:pt x="637046" y="93598"/>
                  <a:pt x="615779" y="77837"/>
                  <a:pt x="615779" y="47825"/>
                </a:cubicBezTo>
                <a:cubicBezTo>
                  <a:pt x="615779" y="17814"/>
                  <a:pt x="634239" y="109"/>
                  <a:pt x="664467" y="109"/>
                </a:cubicBezTo>
                <a:close/>
                <a:moveTo>
                  <a:pt x="457192" y="109"/>
                </a:moveTo>
                <a:lnTo>
                  <a:pt x="494221" y="109"/>
                </a:lnTo>
                <a:lnTo>
                  <a:pt x="557267" y="98780"/>
                </a:lnTo>
                <a:lnTo>
                  <a:pt x="557267" y="109"/>
                </a:lnTo>
                <a:lnTo>
                  <a:pt x="593432" y="109"/>
                </a:lnTo>
                <a:lnTo>
                  <a:pt x="593648" y="123178"/>
                </a:lnTo>
                <a:lnTo>
                  <a:pt x="593756" y="157076"/>
                </a:lnTo>
                <a:lnTo>
                  <a:pt x="556080" y="157076"/>
                </a:lnTo>
                <a:lnTo>
                  <a:pt x="556080" y="156752"/>
                </a:lnTo>
                <a:lnTo>
                  <a:pt x="493573" y="60240"/>
                </a:lnTo>
                <a:lnTo>
                  <a:pt x="493573" y="157076"/>
                </a:lnTo>
                <a:lnTo>
                  <a:pt x="457192" y="157076"/>
                </a:lnTo>
                <a:close/>
                <a:moveTo>
                  <a:pt x="341572" y="109"/>
                </a:moveTo>
                <a:lnTo>
                  <a:pt x="387776" y="109"/>
                </a:lnTo>
                <a:lnTo>
                  <a:pt x="443697" y="157076"/>
                </a:lnTo>
                <a:lnTo>
                  <a:pt x="405913" y="157076"/>
                </a:lnTo>
                <a:lnTo>
                  <a:pt x="395657" y="125013"/>
                </a:lnTo>
                <a:lnTo>
                  <a:pt x="335526" y="125013"/>
                </a:lnTo>
                <a:lnTo>
                  <a:pt x="325594" y="157076"/>
                </a:lnTo>
                <a:lnTo>
                  <a:pt x="287270" y="157076"/>
                </a:lnTo>
                <a:close/>
                <a:moveTo>
                  <a:pt x="48688" y="109"/>
                </a:moveTo>
                <a:lnTo>
                  <a:pt x="122853" y="109"/>
                </a:lnTo>
                <a:lnTo>
                  <a:pt x="122853" y="33251"/>
                </a:lnTo>
                <a:lnTo>
                  <a:pt x="48688" y="33251"/>
                </a:lnTo>
                <a:cubicBezTo>
                  <a:pt x="38648" y="33251"/>
                  <a:pt x="33898" y="40160"/>
                  <a:pt x="33898" y="47825"/>
                </a:cubicBezTo>
                <a:cubicBezTo>
                  <a:pt x="33898" y="55490"/>
                  <a:pt x="38648" y="62399"/>
                  <a:pt x="48688" y="62399"/>
                </a:cubicBezTo>
                <a:lnTo>
                  <a:pt x="91438" y="62399"/>
                </a:lnTo>
                <a:cubicBezTo>
                  <a:pt x="115404" y="62399"/>
                  <a:pt x="133756" y="79456"/>
                  <a:pt x="133756" y="108172"/>
                </a:cubicBezTo>
                <a:cubicBezTo>
                  <a:pt x="133756" y="140019"/>
                  <a:pt x="115404" y="157076"/>
                  <a:pt x="84421" y="157076"/>
                </a:cubicBezTo>
                <a:lnTo>
                  <a:pt x="6261" y="157076"/>
                </a:lnTo>
                <a:lnTo>
                  <a:pt x="6261" y="122746"/>
                </a:lnTo>
                <a:lnTo>
                  <a:pt x="85824" y="122746"/>
                </a:lnTo>
                <a:cubicBezTo>
                  <a:pt x="95216" y="122746"/>
                  <a:pt x="99966" y="115837"/>
                  <a:pt x="99966" y="108172"/>
                </a:cubicBezTo>
                <a:cubicBezTo>
                  <a:pt x="99966" y="100723"/>
                  <a:pt x="95216" y="93598"/>
                  <a:pt x="85824" y="93598"/>
                </a:cubicBezTo>
                <a:lnTo>
                  <a:pt x="48688" y="93598"/>
                </a:lnTo>
                <a:cubicBezTo>
                  <a:pt x="21267" y="93598"/>
                  <a:pt x="0" y="77837"/>
                  <a:pt x="0" y="47825"/>
                </a:cubicBezTo>
                <a:cubicBezTo>
                  <a:pt x="0" y="17814"/>
                  <a:pt x="18352" y="109"/>
                  <a:pt x="48688" y="109"/>
                </a:cubicBezTo>
                <a:close/>
                <a:moveTo>
                  <a:pt x="771342" y="0"/>
                </a:moveTo>
                <a:lnTo>
                  <a:pt x="807615" y="0"/>
                </a:lnTo>
                <a:lnTo>
                  <a:pt x="807615" y="66285"/>
                </a:lnTo>
                <a:lnTo>
                  <a:pt x="859218" y="0"/>
                </a:lnTo>
                <a:lnTo>
                  <a:pt x="901429" y="0"/>
                </a:lnTo>
                <a:lnTo>
                  <a:pt x="842053" y="78592"/>
                </a:lnTo>
                <a:lnTo>
                  <a:pt x="901429" y="157076"/>
                </a:lnTo>
                <a:lnTo>
                  <a:pt x="859218" y="157076"/>
                </a:lnTo>
                <a:lnTo>
                  <a:pt x="807615" y="90791"/>
                </a:lnTo>
                <a:lnTo>
                  <a:pt x="807615" y="157076"/>
                </a:lnTo>
                <a:lnTo>
                  <a:pt x="771342" y="157076"/>
                </a:lnTo>
                <a:close/>
                <a:moveTo>
                  <a:pt x="154916" y="0"/>
                </a:moveTo>
                <a:lnTo>
                  <a:pt x="191081" y="0"/>
                </a:lnTo>
                <a:lnTo>
                  <a:pt x="191081" y="66285"/>
                </a:lnTo>
                <a:lnTo>
                  <a:pt x="242684" y="0"/>
                </a:lnTo>
                <a:lnTo>
                  <a:pt x="285003" y="0"/>
                </a:lnTo>
                <a:lnTo>
                  <a:pt x="225519" y="78592"/>
                </a:lnTo>
                <a:lnTo>
                  <a:pt x="285003" y="157076"/>
                </a:lnTo>
                <a:lnTo>
                  <a:pt x="242684" y="157076"/>
                </a:lnTo>
                <a:lnTo>
                  <a:pt x="191081" y="90791"/>
                </a:lnTo>
                <a:lnTo>
                  <a:pt x="191081" y="157076"/>
                </a:lnTo>
                <a:lnTo>
                  <a:pt x="154916" y="157076"/>
                </a:lnTo>
                <a:close/>
              </a:path>
            </a:pathLst>
          </a:custGeom>
          <a:solidFill>
            <a:schemeClr val="tx1"/>
          </a:solidFill>
          <a:ln w="6350" cap="flat">
            <a:noFill/>
            <a:prstDash val="solid"/>
            <a:miter/>
          </a:ln>
        </p:spPr>
        <p:txBody>
          <a:bodyPr wrap="square" rtlCol="0" anchor="ctr">
            <a:noAutofit/>
          </a:bodyPr>
          <a:lstStyle/>
          <a:p>
            <a:endParaRPr lang="en-US" noProof="0">
              <a:solidFill>
                <a:schemeClr val="tx1"/>
              </a:solidFill>
            </a:endParaRPr>
          </a:p>
        </p:txBody>
      </p:sp>
    </p:spTree>
    <p:extLst>
      <p:ext uri="{BB962C8B-B14F-4D97-AF65-F5344CB8AC3E}">
        <p14:creationId xmlns:p14="http://schemas.microsoft.com/office/powerpoint/2010/main" val="4012258951"/>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 Fire bilder og tekst">
    <p:bg>
      <p:bgPr>
        <a:solidFill>
          <a:schemeClr val="bg1"/>
        </a:solidFill>
        <a:effectLst/>
      </p:bgPr>
    </p:bg>
    <p:spTree>
      <p:nvGrpSpPr>
        <p:cNvPr id="1" name=""/>
        <p:cNvGrpSpPr/>
        <p:nvPr/>
      </p:nvGrpSpPr>
      <p:grpSpPr>
        <a:xfrm>
          <a:off x="0" y="0"/>
          <a:ext cx="0" cy="0"/>
          <a:chOff x="0" y="0"/>
          <a:chExt cx="0" cy="0"/>
        </a:xfrm>
      </p:grpSpPr>
      <p:sp>
        <p:nvSpPr>
          <p:cNvPr id="20" name="Picture Placeholder 3">
            <a:extLst>
              <a:ext uri="{FF2B5EF4-FFF2-40B4-BE49-F238E27FC236}">
                <a16:creationId xmlns:a16="http://schemas.microsoft.com/office/drawing/2014/main" id="{E26C3E65-10F6-D14C-A4C6-B9C29EF3382F}"/>
              </a:ext>
            </a:extLst>
          </p:cNvPr>
          <p:cNvSpPr>
            <a:spLocks noGrp="1"/>
          </p:cNvSpPr>
          <p:nvPr>
            <p:ph type="pic" sz="quarter" idx="13" hasCustomPrompt="1"/>
          </p:nvPr>
        </p:nvSpPr>
        <p:spPr>
          <a:xfrm>
            <a:off x="3"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nb-NO" noProof="0" dirty="0"/>
              <a:t>Hvis bildeplassholderikonet er under tekstboksen, velger du den grå plassholderboksen og går deretter til «Sett inn» i toppmenyen og legger til bilde. IKKE flytt tekstboksen!</a:t>
            </a:r>
            <a:endParaRPr lang="en-US" noProof="0" dirty="0"/>
          </a:p>
        </p:txBody>
      </p:sp>
      <p:sp>
        <p:nvSpPr>
          <p:cNvPr id="21" name="Picture Placeholder 4">
            <a:extLst>
              <a:ext uri="{FF2B5EF4-FFF2-40B4-BE49-F238E27FC236}">
                <a16:creationId xmlns:a16="http://schemas.microsoft.com/office/drawing/2014/main" id="{6478AEAD-2263-1A47-A959-55E27B18824E}"/>
              </a:ext>
            </a:extLst>
          </p:cNvPr>
          <p:cNvSpPr>
            <a:spLocks noGrp="1"/>
          </p:cNvSpPr>
          <p:nvPr>
            <p:ph type="pic" sz="quarter" idx="16" hasCustomPrompt="1"/>
          </p:nvPr>
        </p:nvSpPr>
        <p:spPr>
          <a:xfrm>
            <a:off x="6096557"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nb-NO" noProof="0" dirty="0"/>
              <a:t>Hvis bildeplassholderikonet er under tekstboksen, velger du den grå plassholderboksen og går deretter til «Sett inn» i toppmenyen og legger til bilde. IKKE flytt tekstboksen!</a:t>
            </a:r>
            <a:endParaRPr lang="en-US" noProof="0" dirty="0"/>
          </a:p>
        </p:txBody>
      </p:sp>
      <p:sp>
        <p:nvSpPr>
          <p:cNvPr id="32" name="Picture Placeholder 2">
            <a:extLst>
              <a:ext uri="{FF2B5EF4-FFF2-40B4-BE49-F238E27FC236}">
                <a16:creationId xmlns:a16="http://schemas.microsoft.com/office/drawing/2014/main" id="{511CEB27-B422-504F-B7BF-31E339BFB94A}"/>
              </a:ext>
            </a:extLst>
          </p:cNvPr>
          <p:cNvSpPr>
            <a:spLocks noGrp="1"/>
          </p:cNvSpPr>
          <p:nvPr>
            <p:ph type="pic" sz="quarter" idx="25" hasCustomPrompt="1"/>
          </p:nvPr>
        </p:nvSpPr>
        <p:spPr>
          <a:xfrm>
            <a:off x="5" y="3429000"/>
            <a:ext cx="6096552" cy="3429002"/>
          </a:xfrm>
          <a:custGeom>
            <a:avLst/>
            <a:gdLst>
              <a:gd name="connsiteX0" fmla="*/ 1146049 w 6096552"/>
              <a:gd name="connsiteY0" fmla="*/ 3041539 h 3429002"/>
              <a:gd name="connsiteX1" fmla="*/ 1157832 w 6096552"/>
              <a:gd name="connsiteY1" fmla="*/ 3076512 h 3429002"/>
              <a:gd name="connsiteX2" fmla="*/ 1134642 w 6096552"/>
              <a:gd name="connsiteY2" fmla="*/ 3076512 h 3429002"/>
              <a:gd name="connsiteX3" fmla="*/ 788170 w 6096552"/>
              <a:gd name="connsiteY3" fmla="*/ 3041539 h 3429002"/>
              <a:gd name="connsiteX4" fmla="*/ 799953 w 6096552"/>
              <a:gd name="connsiteY4" fmla="*/ 3076512 h 3429002"/>
              <a:gd name="connsiteX5" fmla="*/ 776763 w 6096552"/>
              <a:gd name="connsiteY5" fmla="*/ 3076512 h 3429002"/>
              <a:gd name="connsiteX6" fmla="*/ 1132323 w 6096552"/>
              <a:gd name="connsiteY6" fmla="*/ 3022548 h 3429002"/>
              <a:gd name="connsiteX7" fmla="*/ 1100860 w 6096552"/>
              <a:gd name="connsiteY7" fmla="*/ 3113679 h 3429002"/>
              <a:gd name="connsiteX8" fmla="*/ 1123110 w 6096552"/>
              <a:gd name="connsiteY8" fmla="*/ 3113679 h 3429002"/>
              <a:gd name="connsiteX9" fmla="*/ 1128876 w 6096552"/>
              <a:gd name="connsiteY9" fmla="*/ 3095065 h 3429002"/>
              <a:gd name="connsiteX10" fmla="*/ 1163786 w 6096552"/>
              <a:gd name="connsiteY10" fmla="*/ 3095065 h 3429002"/>
              <a:gd name="connsiteX11" fmla="*/ 1169741 w 6096552"/>
              <a:gd name="connsiteY11" fmla="*/ 3113679 h 3429002"/>
              <a:gd name="connsiteX12" fmla="*/ 1191615 w 6096552"/>
              <a:gd name="connsiteY12" fmla="*/ 3113679 h 3429002"/>
              <a:gd name="connsiteX13" fmla="*/ 1159148 w 6096552"/>
              <a:gd name="connsiteY13" fmla="*/ 3022548 h 3429002"/>
              <a:gd name="connsiteX14" fmla="*/ 961907 w 6096552"/>
              <a:gd name="connsiteY14" fmla="*/ 3022548 h 3429002"/>
              <a:gd name="connsiteX15" fmla="*/ 933640 w 6096552"/>
              <a:gd name="connsiteY15" fmla="*/ 3050251 h 3429002"/>
              <a:gd name="connsiteX16" fmla="*/ 961907 w 6096552"/>
              <a:gd name="connsiteY16" fmla="*/ 3076826 h 3429002"/>
              <a:gd name="connsiteX17" fmla="*/ 983468 w 6096552"/>
              <a:gd name="connsiteY17" fmla="*/ 3076826 h 3429002"/>
              <a:gd name="connsiteX18" fmla="*/ 991678 w 6096552"/>
              <a:gd name="connsiteY18" fmla="*/ 3085287 h 3429002"/>
              <a:gd name="connsiteX19" fmla="*/ 983468 w 6096552"/>
              <a:gd name="connsiteY19" fmla="*/ 3093748 h 3429002"/>
              <a:gd name="connsiteX20" fmla="*/ 937338 w 6096552"/>
              <a:gd name="connsiteY20" fmla="*/ 3093748 h 3429002"/>
              <a:gd name="connsiteX21" fmla="*/ 937338 w 6096552"/>
              <a:gd name="connsiteY21" fmla="*/ 3113679 h 3429002"/>
              <a:gd name="connsiteX22" fmla="*/ 982716 w 6096552"/>
              <a:gd name="connsiteY22" fmla="*/ 3113679 h 3429002"/>
              <a:gd name="connsiteX23" fmla="*/ 1011358 w 6096552"/>
              <a:gd name="connsiteY23" fmla="*/ 3085287 h 3429002"/>
              <a:gd name="connsiteX24" fmla="*/ 986727 w 6096552"/>
              <a:gd name="connsiteY24" fmla="*/ 3058712 h 3429002"/>
              <a:gd name="connsiteX25" fmla="*/ 961907 w 6096552"/>
              <a:gd name="connsiteY25" fmla="*/ 3058712 h 3429002"/>
              <a:gd name="connsiteX26" fmla="*/ 953321 w 6096552"/>
              <a:gd name="connsiteY26" fmla="*/ 3050251 h 3429002"/>
              <a:gd name="connsiteX27" fmla="*/ 961907 w 6096552"/>
              <a:gd name="connsiteY27" fmla="*/ 3041790 h 3429002"/>
              <a:gd name="connsiteX28" fmla="*/ 1004965 w 6096552"/>
              <a:gd name="connsiteY28" fmla="*/ 3041790 h 3429002"/>
              <a:gd name="connsiteX29" fmla="*/ 1004965 w 6096552"/>
              <a:gd name="connsiteY29" fmla="*/ 3022548 h 3429002"/>
              <a:gd name="connsiteX30" fmla="*/ 841570 w 6096552"/>
              <a:gd name="connsiteY30" fmla="*/ 3022548 h 3429002"/>
              <a:gd name="connsiteX31" fmla="*/ 841570 w 6096552"/>
              <a:gd name="connsiteY31" fmla="*/ 3113679 h 3429002"/>
              <a:gd name="connsiteX32" fmla="*/ 862692 w 6096552"/>
              <a:gd name="connsiteY32" fmla="*/ 3113679 h 3429002"/>
              <a:gd name="connsiteX33" fmla="*/ 862692 w 6096552"/>
              <a:gd name="connsiteY33" fmla="*/ 3057459 h 3429002"/>
              <a:gd name="connsiteX34" fmla="*/ 898981 w 6096552"/>
              <a:gd name="connsiteY34" fmla="*/ 3113491 h 3429002"/>
              <a:gd name="connsiteX35" fmla="*/ 898981 w 6096552"/>
              <a:gd name="connsiteY35" fmla="*/ 3113679 h 3429002"/>
              <a:gd name="connsiteX36" fmla="*/ 920855 w 6096552"/>
              <a:gd name="connsiteY36" fmla="*/ 3113679 h 3429002"/>
              <a:gd name="connsiteX37" fmla="*/ 920793 w 6096552"/>
              <a:gd name="connsiteY37" fmla="*/ 3093999 h 3429002"/>
              <a:gd name="connsiteX38" fmla="*/ 920667 w 6096552"/>
              <a:gd name="connsiteY38" fmla="*/ 3022548 h 3429002"/>
              <a:gd name="connsiteX39" fmla="*/ 899671 w 6096552"/>
              <a:gd name="connsiteY39" fmla="*/ 3022548 h 3429002"/>
              <a:gd name="connsiteX40" fmla="*/ 899671 w 6096552"/>
              <a:gd name="connsiteY40" fmla="*/ 3079834 h 3429002"/>
              <a:gd name="connsiteX41" fmla="*/ 863068 w 6096552"/>
              <a:gd name="connsiteY41" fmla="*/ 3022548 h 3429002"/>
              <a:gd name="connsiteX42" fmla="*/ 774444 w 6096552"/>
              <a:gd name="connsiteY42" fmla="*/ 3022548 h 3429002"/>
              <a:gd name="connsiteX43" fmla="*/ 742918 w 6096552"/>
              <a:gd name="connsiteY43" fmla="*/ 3113679 h 3429002"/>
              <a:gd name="connsiteX44" fmla="*/ 765168 w 6096552"/>
              <a:gd name="connsiteY44" fmla="*/ 3113679 h 3429002"/>
              <a:gd name="connsiteX45" fmla="*/ 770934 w 6096552"/>
              <a:gd name="connsiteY45" fmla="*/ 3095065 h 3429002"/>
              <a:gd name="connsiteX46" fmla="*/ 805845 w 6096552"/>
              <a:gd name="connsiteY46" fmla="*/ 3095065 h 3429002"/>
              <a:gd name="connsiteX47" fmla="*/ 811799 w 6096552"/>
              <a:gd name="connsiteY47" fmla="*/ 3113679 h 3429002"/>
              <a:gd name="connsiteX48" fmla="*/ 833735 w 6096552"/>
              <a:gd name="connsiteY48" fmla="*/ 3113679 h 3429002"/>
              <a:gd name="connsiteX49" fmla="*/ 801269 w 6096552"/>
              <a:gd name="connsiteY49" fmla="*/ 3022548 h 3429002"/>
              <a:gd name="connsiteX50" fmla="*/ 604404 w 6096552"/>
              <a:gd name="connsiteY50" fmla="*/ 3022548 h 3429002"/>
              <a:gd name="connsiteX51" fmla="*/ 576137 w 6096552"/>
              <a:gd name="connsiteY51" fmla="*/ 3050251 h 3429002"/>
              <a:gd name="connsiteX52" fmla="*/ 604404 w 6096552"/>
              <a:gd name="connsiteY52" fmla="*/ 3076826 h 3429002"/>
              <a:gd name="connsiteX53" fmla="*/ 625964 w 6096552"/>
              <a:gd name="connsiteY53" fmla="*/ 3076826 h 3429002"/>
              <a:gd name="connsiteX54" fmla="*/ 634174 w 6096552"/>
              <a:gd name="connsiteY54" fmla="*/ 3085287 h 3429002"/>
              <a:gd name="connsiteX55" fmla="*/ 625964 w 6096552"/>
              <a:gd name="connsiteY55" fmla="*/ 3093748 h 3429002"/>
              <a:gd name="connsiteX56" fmla="*/ 579772 w 6096552"/>
              <a:gd name="connsiteY56" fmla="*/ 3093748 h 3429002"/>
              <a:gd name="connsiteX57" fmla="*/ 579772 w 6096552"/>
              <a:gd name="connsiteY57" fmla="*/ 3113679 h 3429002"/>
              <a:gd name="connsiteX58" fmla="*/ 625149 w 6096552"/>
              <a:gd name="connsiteY58" fmla="*/ 3113679 h 3429002"/>
              <a:gd name="connsiteX59" fmla="*/ 653792 w 6096552"/>
              <a:gd name="connsiteY59" fmla="*/ 3085287 h 3429002"/>
              <a:gd name="connsiteX60" fmla="*/ 629223 w 6096552"/>
              <a:gd name="connsiteY60" fmla="*/ 3058712 h 3429002"/>
              <a:gd name="connsiteX61" fmla="*/ 604404 w 6096552"/>
              <a:gd name="connsiteY61" fmla="*/ 3058712 h 3429002"/>
              <a:gd name="connsiteX62" fmla="*/ 595817 w 6096552"/>
              <a:gd name="connsiteY62" fmla="*/ 3050251 h 3429002"/>
              <a:gd name="connsiteX63" fmla="*/ 604404 w 6096552"/>
              <a:gd name="connsiteY63" fmla="*/ 3041790 h 3429002"/>
              <a:gd name="connsiteX64" fmla="*/ 647462 w 6096552"/>
              <a:gd name="connsiteY64" fmla="*/ 3041790 h 3429002"/>
              <a:gd name="connsiteX65" fmla="*/ 647462 w 6096552"/>
              <a:gd name="connsiteY65" fmla="*/ 3022548 h 3429002"/>
              <a:gd name="connsiteX66" fmla="*/ 1023956 w 6096552"/>
              <a:gd name="connsiteY66" fmla="*/ 3022485 h 3429002"/>
              <a:gd name="connsiteX67" fmla="*/ 1023956 w 6096552"/>
              <a:gd name="connsiteY67" fmla="*/ 3113679 h 3429002"/>
              <a:gd name="connsiteX68" fmla="*/ 1045016 w 6096552"/>
              <a:gd name="connsiteY68" fmla="*/ 3113679 h 3429002"/>
              <a:gd name="connsiteX69" fmla="*/ 1045016 w 6096552"/>
              <a:gd name="connsiteY69" fmla="*/ 3075196 h 3429002"/>
              <a:gd name="connsiteX70" fmla="*/ 1074975 w 6096552"/>
              <a:gd name="connsiteY70" fmla="*/ 3113679 h 3429002"/>
              <a:gd name="connsiteX71" fmla="*/ 1099481 w 6096552"/>
              <a:gd name="connsiteY71" fmla="*/ 3113679 h 3429002"/>
              <a:gd name="connsiteX72" fmla="*/ 1065009 w 6096552"/>
              <a:gd name="connsiteY72" fmla="*/ 3068114 h 3429002"/>
              <a:gd name="connsiteX73" fmla="*/ 1099481 w 6096552"/>
              <a:gd name="connsiteY73" fmla="*/ 3022485 h 3429002"/>
              <a:gd name="connsiteX74" fmla="*/ 1074975 w 6096552"/>
              <a:gd name="connsiteY74" fmla="*/ 3022485 h 3429002"/>
              <a:gd name="connsiteX75" fmla="*/ 1045016 w 6096552"/>
              <a:gd name="connsiteY75" fmla="*/ 3060968 h 3429002"/>
              <a:gd name="connsiteX76" fmla="*/ 1045016 w 6096552"/>
              <a:gd name="connsiteY76" fmla="*/ 3022485 h 3429002"/>
              <a:gd name="connsiteX77" fmla="*/ 666077 w 6096552"/>
              <a:gd name="connsiteY77" fmla="*/ 3022485 h 3429002"/>
              <a:gd name="connsiteX78" fmla="*/ 666077 w 6096552"/>
              <a:gd name="connsiteY78" fmla="*/ 3113679 h 3429002"/>
              <a:gd name="connsiteX79" fmla="*/ 687073 w 6096552"/>
              <a:gd name="connsiteY79" fmla="*/ 3113679 h 3429002"/>
              <a:gd name="connsiteX80" fmla="*/ 687073 w 6096552"/>
              <a:gd name="connsiteY80" fmla="*/ 3075196 h 3429002"/>
              <a:gd name="connsiteX81" fmla="*/ 717033 w 6096552"/>
              <a:gd name="connsiteY81" fmla="*/ 3113679 h 3429002"/>
              <a:gd name="connsiteX82" fmla="*/ 741602 w 6096552"/>
              <a:gd name="connsiteY82" fmla="*/ 3113679 h 3429002"/>
              <a:gd name="connsiteX83" fmla="*/ 707067 w 6096552"/>
              <a:gd name="connsiteY83" fmla="*/ 3068114 h 3429002"/>
              <a:gd name="connsiteX84" fmla="*/ 741602 w 6096552"/>
              <a:gd name="connsiteY84" fmla="*/ 3022485 h 3429002"/>
              <a:gd name="connsiteX85" fmla="*/ 717033 w 6096552"/>
              <a:gd name="connsiteY85" fmla="*/ 3022485 h 3429002"/>
              <a:gd name="connsiteX86" fmla="*/ 687073 w 6096552"/>
              <a:gd name="connsiteY86" fmla="*/ 3060968 h 3429002"/>
              <a:gd name="connsiteX87" fmla="*/ 687073 w 6096552"/>
              <a:gd name="connsiteY87" fmla="*/ 3022485 h 3429002"/>
              <a:gd name="connsiteX88" fmla="*/ 0 w 6096552"/>
              <a:gd name="connsiteY88" fmla="*/ 0 h 3429002"/>
              <a:gd name="connsiteX89" fmla="*/ 6096552 w 6096552"/>
              <a:gd name="connsiteY89" fmla="*/ 0 h 3429002"/>
              <a:gd name="connsiteX90" fmla="*/ 6096552 w 6096552"/>
              <a:gd name="connsiteY90" fmla="*/ 1 h 3429002"/>
              <a:gd name="connsiteX91" fmla="*/ 6096552 w 6096552"/>
              <a:gd name="connsiteY91" fmla="*/ 2 h 3429002"/>
              <a:gd name="connsiteX92" fmla="*/ 6096552 w 6096552"/>
              <a:gd name="connsiteY92" fmla="*/ 3429000 h 3429002"/>
              <a:gd name="connsiteX93" fmla="*/ 6096552 w 6096552"/>
              <a:gd name="connsiteY93" fmla="*/ 3429002 h 3429002"/>
              <a:gd name="connsiteX94" fmla="*/ 0 w 6096552"/>
              <a:gd name="connsiteY94" fmla="*/ 3429002 h 3429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6096552" h="3429002">
                <a:moveTo>
                  <a:pt x="1146049" y="3041539"/>
                </a:moveTo>
                <a:lnTo>
                  <a:pt x="1157832" y="3076512"/>
                </a:lnTo>
                <a:lnTo>
                  <a:pt x="1134642" y="3076512"/>
                </a:lnTo>
                <a:close/>
                <a:moveTo>
                  <a:pt x="788170" y="3041539"/>
                </a:moveTo>
                <a:lnTo>
                  <a:pt x="799953" y="3076512"/>
                </a:lnTo>
                <a:lnTo>
                  <a:pt x="776763" y="3076512"/>
                </a:lnTo>
                <a:close/>
                <a:moveTo>
                  <a:pt x="1132323" y="3022548"/>
                </a:moveTo>
                <a:lnTo>
                  <a:pt x="1100860" y="3113679"/>
                </a:lnTo>
                <a:lnTo>
                  <a:pt x="1123110" y="3113679"/>
                </a:lnTo>
                <a:lnTo>
                  <a:pt x="1128876" y="3095065"/>
                </a:lnTo>
                <a:lnTo>
                  <a:pt x="1163786" y="3095065"/>
                </a:lnTo>
                <a:lnTo>
                  <a:pt x="1169741" y="3113679"/>
                </a:lnTo>
                <a:lnTo>
                  <a:pt x="1191615" y="3113679"/>
                </a:lnTo>
                <a:lnTo>
                  <a:pt x="1159148" y="3022548"/>
                </a:lnTo>
                <a:close/>
                <a:moveTo>
                  <a:pt x="961907" y="3022548"/>
                </a:moveTo>
                <a:cubicBezTo>
                  <a:pt x="944358" y="3022548"/>
                  <a:pt x="933640" y="3032827"/>
                  <a:pt x="933640" y="3050251"/>
                </a:cubicBezTo>
                <a:cubicBezTo>
                  <a:pt x="933640" y="3067675"/>
                  <a:pt x="945987" y="3076826"/>
                  <a:pt x="961907" y="3076826"/>
                </a:cubicBezTo>
                <a:lnTo>
                  <a:pt x="983468" y="3076826"/>
                </a:lnTo>
                <a:cubicBezTo>
                  <a:pt x="988921" y="3076826"/>
                  <a:pt x="991678" y="3080962"/>
                  <a:pt x="991678" y="3085287"/>
                </a:cubicBezTo>
                <a:cubicBezTo>
                  <a:pt x="991678" y="3089737"/>
                  <a:pt x="988921" y="3093748"/>
                  <a:pt x="983468" y="3093748"/>
                </a:cubicBezTo>
                <a:lnTo>
                  <a:pt x="937338" y="3093748"/>
                </a:lnTo>
                <a:lnTo>
                  <a:pt x="937338" y="3113679"/>
                </a:lnTo>
                <a:lnTo>
                  <a:pt x="982716" y="3113679"/>
                </a:lnTo>
                <a:cubicBezTo>
                  <a:pt x="1000704" y="3113679"/>
                  <a:pt x="1011358" y="3103777"/>
                  <a:pt x="1011358" y="3085287"/>
                </a:cubicBezTo>
                <a:cubicBezTo>
                  <a:pt x="1011358" y="3068615"/>
                  <a:pt x="1000641" y="3058712"/>
                  <a:pt x="986727" y="3058712"/>
                </a:cubicBezTo>
                <a:lnTo>
                  <a:pt x="961907" y="3058712"/>
                </a:lnTo>
                <a:cubicBezTo>
                  <a:pt x="956078" y="3058712"/>
                  <a:pt x="953321" y="3054701"/>
                  <a:pt x="953321" y="3050251"/>
                </a:cubicBezTo>
                <a:cubicBezTo>
                  <a:pt x="953321" y="3045801"/>
                  <a:pt x="956078" y="3041790"/>
                  <a:pt x="961907" y="3041790"/>
                </a:cubicBezTo>
                <a:lnTo>
                  <a:pt x="1004965" y="3041790"/>
                </a:lnTo>
                <a:lnTo>
                  <a:pt x="1004965" y="3022548"/>
                </a:lnTo>
                <a:close/>
                <a:moveTo>
                  <a:pt x="841570" y="3022548"/>
                </a:moveTo>
                <a:lnTo>
                  <a:pt x="841570" y="3113679"/>
                </a:lnTo>
                <a:lnTo>
                  <a:pt x="862692" y="3113679"/>
                </a:lnTo>
                <a:lnTo>
                  <a:pt x="862692" y="3057459"/>
                </a:lnTo>
                <a:lnTo>
                  <a:pt x="898981" y="3113491"/>
                </a:lnTo>
                <a:lnTo>
                  <a:pt x="898981" y="3113679"/>
                </a:lnTo>
                <a:lnTo>
                  <a:pt x="920855" y="3113679"/>
                </a:lnTo>
                <a:lnTo>
                  <a:pt x="920793" y="3093999"/>
                </a:lnTo>
                <a:lnTo>
                  <a:pt x="920667" y="3022548"/>
                </a:lnTo>
                <a:lnTo>
                  <a:pt x="899671" y="3022548"/>
                </a:lnTo>
                <a:lnTo>
                  <a:pt x="899671" y="3079834"/>
                </a:lnTo>
                <a:lnTo>
                  <a:pt x="863068" y="3022548"/>
                </a:lnTo>
                <a:close/>
                <a:moveTo>
                  <a:pt x="774444" y="3022548"/>
                </a:moveTo>
                <a:lnTo>
                  <a:pt x="742918" y="3113679"/>
                </a:lnTo>
                <a:lnTo>
                  <a:pt x="765168" y="3113679"/>
                </a:lnTo>
                <a:lnTo>
                  <a:pt x="770934" y="3095065"/>
                </a:lnTo>
                <a:lnTo>
                  <a:pt x="805845" y="3095065"/>
                </a:lnTo>
                <a:lnTo>
                  <a:pt x="811799" y="3113679"/>
                </a:lnTo>
                <a:lnTo>
                  <a:pt x="833735" y="3113679"/>
                </a:lnTo>
                <a:lnTo>
                  <a:pt x="801269" y="3022548"/>
                </a:lnTo>
                <a:close/>
                <a:moveTo>
                  <a:pt x="604404" y="3022548"/>
                </a:moveTo>
                <a:cubicBezTo>
                  <a:pt x="586792" y="3022548"/>
                  <a:pt x="576137" y="3032827"/>
                  <a:pt x="576137" y="3050251"/>
                </a:cubicBezTo>
                <a:cubicBezTo>
                  <a:pt x="576137" y="3067675"/>
                  <a:pt x="588484" y="3076826"/>
                  <a:pt x="604404" y="3076826"/>
                </a:cubicBezTo>
                <a:lnTo>
                  <a:pt x="625964" y="3076826"/>
                </a:lnTo>
                <a:cubicBezTo>
                  <a:pt x="631417" y="3076826"/>
                  <a:pt x="634174" y="3080962"/>
                  <a:pt x="634174" y="3085287"/>
                </a:cubicBezTo>
                <a:cubicBezTo>
                  <a:pt x="634174" y="3089737"/>
                  <a:pt x="631417" y="3093748"/>
                  <a:pt x="625964" y="3093748"/>
                </a:cubicBezTo>
                <a:lnTo>
                  <a:pt x="579772" y="3093748"/>
                </a:lnTo>
                <a:lnTo>
                  <a:pt x="579772" y="3113679"/>
                </a:lnTo>
                <a:lnTo>
                  <a:pt x="625149" y="3113679"/>
                </a:lnTo>
                <a:cubicBezTo>
                  <a:pt x="643137" y="3113679"/>
                  <a:pt x="653792" y="3103777"/>
                  <a:pt x="653792" y="3085287"/>
                </a:cubicBezTo>
                <a:cubicBezTo>
                  <a:pt x="653792" y="3068615"/>
                  <a:pt x="643137" y="3058712"/>
                  <a:pt x="629223" y="3058712"/>
                </a:cubicBezTo>
                <a:lnTo>
                  <a:pt x="604404" y="3058712"/>
                </a:lnTo>
                <a:cubicBezTo>
                  <a:pt x="598575" y="3058712"/>
                  <a:pt x="595817" y="3054701"/>
                  <a:pt x="595817" y="3050251"/>
                </a:cubicBezTo>
                <a:cubicBezTo>
                  <a:pt x="595817" y="3045801"/>
                  <a:pt x="598575" y="3041790"/>
                  <a:pt x="604404" y="3041790"/>
                </a:cubicBezTo>
                <a:lnTo>
                  <a:pt x="647462" y="3041790"/>
                </a:lnTo>
                <a:lnTo>
                  <a:pt x="647462" y="3022548"/>
                </a:lnTo>
                <a:close/>
                <a:moveTo>
                  <a:pt x="1023956" y="3022485"/>
                </a:moveTo>
                <a:lnTo>
                  <a:pt x="1023956" y="3113679"/>
                </a:lnTo>
                <a:lnTo>
                  <a:pt x="1045016" y="3113679"/>
                </a:lnTo>
                <a:lnTo>
                  <a:pt x="1045016" y="3075196"/>
                </a:lnTo>
                <a:lnTo>
                  <a:pt x="1074975" y="3113679"/>
                </a:lnTo>
                <a:lnTo>
                  <a:pt x="1099481" y="3113679"/>
                </a:lnTo>
                <a:lnTo>
                  <a:pt x="1065009" y="3068114"/>
                </a:lnTo>
                <a:lnTo>
                  <a:pt x="1099481" y="3022485"/>
                </a:lnTo>
                <a:lnTo>
                  <a:pt x="1074975" y="3022485"/>
                </a:lnTo>
                <a:lnTo>
                  <a:pt x="1045016" y="3060968"/>
                </a:lnTo>
                <a:lnTo>
                  <a:pt x="1045016" y="3022485"/>
                </a:lnTo>
                <a:close/>
                <a:moveTo>
                  <a:pt x="666077" y="3022485"/>
                </a:moveTo>
                <a:lnTo>
                  <a:pt x="666077" y="3113679"/>
                </a:lnTo>
                <a:lnTo>
                  <a:pt x="687073" y="3113679"/>
                </a:lnTo>
                <a:lnTo>
                  <a:pt x="687073" y="3075196"/>
                </a:lnTo>
                <a:lnTo>
                  <a:pt x="717033" y="3113679"/>
                </a:lnTo>
                <a:lnTo>
                  <a:pt x="741602" y="3113679"/>
                </a:lnTo>
                <a:lnTo>
                  <a:pt x="707067" y="3068114"/>
                </a:lnTo>
                <a:lnTo>
                  <a:pt x="741602" y="3022485"/>
                </a:lnTo>
                <a:lnTo>
                  <a:pt x="717033" y="3022485"/>
                </a:lnTo>
                <a:lnTo>
                  <a:pt x="687073" y="3060968"/>
                </a:lnTo>
                <a:lnTo>
                  <a:pt x="687073" y="3022485"/>
                </a:lnTo>
                <a:close/>
                <a:moveTo>
                  <a:pt x="0" y="0"/>
                </a:moveTo>
                <a:lnTo>
                  <a:pt x="6096552" y="0"/>
                </a:lnTo>
                <a:lnTo>
                  <a:pt x="6096552" y="1"/>
                </a:lnTo>
                <a:lnTo>
                  <a:pt x="6096552" y="2"/>
                </a:lnTo>
                <a:lnTo>
                  <a:pt x="6096552" y="3429000"/>
                </a:lnTo>
                <a:lnTo>
                  <a:pt x="6096552" y="3429002"/>
                </a:lnTo>
                <a:lnTo>
                  <a:pt x="0" y="3429002"/>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nb-NO" noProof="0" dirty="0"/>
              <a:t>Hvis bildeplassholderikonet er under tekstboksen, velger du den grå plassholderboksen og går deretter til «Sett inn» i toppmenyen og legger til bilde. IKKE flytt tekstboksen!</a:t>
            </a:r>
            <a:endParaRPr lang="en-US" noProof="0" dirty="0"/>
          </a:p>
        </p:txBody>
      </p:sp>
      <p:sp>
        <p:nvSpPr>
          <p:cNvPr id="33" name="Picture Placeholder 1">
            <a:extLst>
              <a:ext uri="{FF2B5EF4-FFF2-40B4-BE49-F238E27FC236}">
                <a16:creationId xmlns:a16="http://schemas.microsoft.com/office/drawing/2014/main" id="{91BA1C63-2CDA-0D4F-B07B-0D835EE08330}"/>
              </a:ext>
            </a:extLst>
          </p:cNvPr>
          <p:cNvSpPr>
            <a:spLocks noGrp="1"/>
          </p:cNvSpPr>
          <p:nvPr>
            <p:ph type="pic" sz="quarter" idx="18" hasCustomPrompt="1"/>
          </p:nvPr>
        </p:nvSpPr>
        <p:spPr>
          <a:xfrm>
            <a:off x="6096557" y="3429002"/>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nb-NO" noProof="0" dirty="0"/>
              <a:t>Hvis bildeplassholderikonet er under tekstboksen, velger du den grå plassholderboksen og går deretter til «Sett inn» i toppmenyen og legger til bilde. IKKE flytt tekstboksen!</a:t>
            </a:r>
            <a:endParaRPr lang="en-US" noProof="0" dirty="0"/>
          </a:p>
        </p:txBody>
      </p:sp>
      <p:sp>
        <p:nvSpPr>
          <p:cNvPr id="11" name="Text Placeholder 7">
            <a:extLst>
              <a:ext uri="{FF2B5EF4-FFF2-40B4-BE49-F238E27FC236}">
                <a16:creationId xmlns:a16="http://schemas.microsoft.com/office/drawing/2014/main" id="{CAE0F1B9-C51D-2C4C-8657-A80AEC2E3D1F}"/>
              </a:ext>
            </a:extLst>
          </p:cNvPr>
          <p:cNvSpPr>
            <a:spLocks noGrp="1"/>
          </p:cNvSpPr>
          <p:nvPr>
            <p:ph type="body" sz="quarter" idx="14" hasCustomPrompt="1"/>
          </p:nvPr>
        </p:nvSpPr>
        <p:spPr>
          <a:xfrm>
            <a:off x="0" y="1300220"/>
            <a:ext cx="6096000" cy="828564"/>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defRPr>
            </a:lvl1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p:txBody>
      </p:sp>
      <p:sp>
        <p:nvSpPr>
          <p:cNvPr id="13" name="Text Placeholder 5">
            <a:extLst>
              <a:ext uri="{FF2B5EF4-FFF2-40B4-BE49-F238E27FC236}">
                <a16:creationId xmlns:a16="http://schemas.microsoft.com/office/drawing/2014/main" id="{AE36B329-0BE6-7A49-8654-DDEA7932EC4D}"/>
              </a:ext>
            </a:extLst>
          </p:cNvPr>
          <p:cNvSpPr>
            <a:spLocks noGrp="1"/>
          </p:cNvSpPr>
          <p:nvPr>
            <p:ph type="body" sz="quarter" idx="19" hasCustomPrompt="1"/>
          </p:nvPr>
        </p:nvSpPr>
        <p:spPr>
          <a:xfrm>
            <a:off x="6102156" y="1300220"/>
            <a:ext cx="6096552" cy="828564"/>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defRPr>
            </a:lvl1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p:txBody>
      </p:sp>
      <p:sp>
        <p:nvSpPr>
          <p:cNvPr id="15" name="Text Placeholder 8">
            <a:extLst>
              <a:ext uri="{FF2B5EF4-FFF2-40B4-BE49-F238E27FC236}">
                <a16:creationId xmlns:a16="http://schemas.microsoft.com/office/drawing/2014/main" id="{7744189A-DC50-C443-9FD4-A84FC60A0108}"/>
              </a:ext>
            </a:extLst>
          </p:cNvPr>
          <p:cNvSpPr>
            <a:spLocks noGrp="1"/>
          </p:cNvSpPr>
          <p:nvPr>
            <p:ph type="body" sz="quarter" idx="20" hasCustomPrompt="1"/>
          </p:nvPr>
        </p:nvSpPr>
        <p:spPr>
          <a:xfrm>
            <a:off x="-5594" y="4729219"/>
            <a:ext cx="6101594" cy="828564"/>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defRPr>
            </a:lvl1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p:txBody>
      </p:sp>
      <p:sp>
        <p:nvSpPr>
          <p:cNvPr id="16" name="Text Placeholder 6">
            <a:extLst>
              <a:ext uri="{FF2B5EF4-FFF2-40B4-BE49-F238E27FC236}">
                <a16:creationId xmlns:a16="http://schemas.microsoft.com/office/drawing/2014/main" id="{CAD788D9-156D-3B46-B27B-0C6E941B8270}"/>
              </a:ext>
            </a:extLst>
          </p:cNvPr>
          <p:cNvSpPr>
            <a:spLocks noGrp="1"/>
          </p:cNvSpPr>
          <p:nvPr>
            <p:ph type="body" sz="quarter" idx="21" hasCustomPrompt="1"/>
          </p:nvPr>
        </p:nvSpPr>
        <p:spPr>
          <a:xfrm>
            <a:off x="6102155" y="4729219"/>
            <a:ext cx="6089839" cy="828564"/>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defRPr>
            </a:lvl1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p:txBody>
      </p:sp>
      <p:grpSp>
        <p:nvGrpSpPr>
          <p:cNvPr id="2" name="Instructions">
            <a:extLst>
              <a:ext uri="{FF2B5EF4-FFF2-40B4-BE49-F238E27FC236}">
                <a16:creationId xmlns:a16="http://schemas.microsoft.com/office/drawing/2014/main" id="{C353BF31-533F-28BE-1187-251ABA2AB258}"/>
              </a:ext>
            </a:extLst>
          </p:cNvPr>
          <p:cNvGrpSpPr/>
          <p:nvPr userDrawn="1"/>
        </p:nvGrpSpPr>
        <p:grpSpPr>
          <a:xfrm>
            <a:off x="12395260" y="-12189"/>
            <a:ext cx="1681523" cy="2112003"/>
            <a:chOff x="12395260" y="-12189"/>
            <a:chExt cx="1681523" cy="2112003"/>
          </a:xfrm>
        </p:grpSpPr>
        <p:sp>
          <p:nvSpPr>
            <p:cNvPr id="14" name="textruta 5">
              <a:extLst>
                <a:ext uri="{FF2B5EF4-FFF2-40B4-BE49-F238E27FC236}">
                  <a16:creationId xmlns:a16="http://schemas.microsoft.com/office/drawing/2014/main" id="{19FBFB5A-FFAC-8E48-BE9F-8171ABD4A956}"/>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7" name="textruta 16">
              <a:extLst>
                <a:ext uri="{FF2B5EF4-FFF2-40B4-BE49-F238E27FC236}">
                  <a16:creationId xmlns:a16="http://schemas.microsoft.com/office/drawing/2014/main" id="{75DFCBE9-EE68-0440-97A2-234715FAABCE}"/>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8" name="Rektangel 17">
              <a:extLst>
                <a:ext uri="{FF2B5EF4-FFF2-40B4-BE49-F238E27FC236}">
                  <a16:creationId xmlns:a16="http://schemas.microsoft.com/office/drawing/2014/main" id="{559F1CA4-11DF-CD41-9092-56CD49479BD3}"/>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ktangel 18">
              <a:extLst>
                <a:ext uri="{FF2B5EF4-FFF2-40B4-BE49-F238E27FC236}">
                  <a16:creationId xmlns:a16="http://schemas.microsoft.com/office/drawing/2014/main" id="{420B4BDA-12DF-064A-BD9D-7A5CBB0BD6CB}"/>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26" name="Project Text Placeholder 10">
            <a:extLst>
              <a:ext uri="{FF2B5EF4-FFF2-40B4-BE49-F238E27FC236}">
                <a16:creationId xmlns:a16="http://schemas.microsoft.com/office/drawing/2014/main" id="{173D70AB-BF8E-C648-AAC9-4F8B819A8EA1}"/>
              </a:ext>
            </a:extLst>
          </p:cNvPr>
          <p:cNvSpPr>
            <a:spLocks noGrp="1"/>
          </p:cNvSpPr>
          <p:nvPr>
            <p:ph type="body" sz="quarter" idx="27" hasCustomPrompt="1"/>
          </p:nvPr>
        </p:nvSpPr>
        <p:spPr>
          <a:xfrm rot="5400000">
            <a:off x="4430686" y="1178687"/>
            <a:ext cx="2844000"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sp>
        <p:nvSpPr>
          <p:cNvPr id="25" name="Project Text Placeholder 9">
            <a:extLst>
              <a:ext uri="{FF2B5EF4-FFF2-40B4-BE49-F238E27FC236}">
                <a16:creationId xmlns:a16="http://schemas.microsoft.com/office/drawing/2014/main" id="{71A9C98A-4687-4040-B606-2087DF2A2EFC}"/>
              </a:ext>
            </a:extLst>
          </p:cNvPr>
          <p:cNvSpPr>
            <a:spLocks noGrp="1"/>
          </p:cNvSpPr>
          <p:nvPr>
            <p:ph type="body" sz="quarter" idx="26" hasCustomPrompt="1"/>
          </p:nvPr>
        </p:nvSpPr>
        <p:spPr>
          <a:xfrm rot="5400000">
            <a:off x="10526686" y="1178687"/>
            <a:ext cx="2844000"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sp>
        <p:nvSpPr>
          <p:cNvPr id="27" name="Project Text Placeholder 11">
            <a:extLst>
              <a:ext uri="{FF2B5EF4-FFF2-40B4-BE49-F238E27FC236}">
                <a16:creationId xmlns:a16="http://schemas.microsoft.com/office/drawing/2014/main" id="{71F88B05-AE87-C844-A8AD-6E40968EBE38}"/>
              </a:ext>
            </a:extLst>
          </p:cNvPr>
          <p:cNvSpPr>
            <a:spLocks noGrp="1"/>
          </p:cNvSpPr>
          <p:nvPr>
            <p:ph type="body" sz="quarter" idx="28" hasCustomPrompt="1"/>
          </p:nvPr>
        </p:nvSpPr>
        <p:spPr>
          <a:xfrm rot="5400000">
            <a:off x="4430686" y="4607687"/>
            <a:ext cx="2844000"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sp>
        <p:nvSpPr>
          <p:cNvPr id="28" name="Project Text Placeholder 12">
            <a:extLst>
              <a:ext uri="{FF2B5EF4-FFF2-40B4-BE49-F238E27FC236}">
                <a16:creationId xmlns:a16="http://schemas.microsoft.com/office/drawing/2014/main" id="{57F2AD48-4016-D14A-BC63-41C3D6B3BDF0}"/>
              </a:ext>
            </a:extLst>
          </p:cNvPr>
          <p:cNvSpPr>
            <a:spLocks noGrp="1"/>
          </p:cNvSpPr>
          <p:nvPr>
            <p:ph type="body" sz="quarter" idx="29" hasCustomPrompt="1"/>
          </p:nvPr>
        </p:nvSpPr>
        <p:spPr>
          <a:xfrm rot="5400000">
            <a:off x="10527240" y="4607688"/>
            <a:ext cx="2844000"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spTree>
    <p:extLst>
      <p:ext uri="{BB962C8B-B14F-4D97-AF65-F5344CB8AC3E}">
        <p14:creationId xmlns:p14="http://schemas.microsoft.com/office/powerpoint/2010/main" val="9041994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 Tre bilder">
    <p:bg>
      <p:bgPr>
        <a:solidFill>
          <a:schemeClr val="bg1"/>
        </a:solidFill>
        <a:effectLst/>
      </p:bgPr>
    </p:bg>
    <p:spTree>
      <p:nvGrpSpPr>
        <p:cNvPr id="1" name=""/>
        <p:cNvGrpSpPr/>
        <p:nvPr/>
      </p:nvGrpSpPr>
      <p:grpSpPr>
        <a:xfrm>
          <a:off x="0" y="0"/>
          <a:ext cx="0" cy="0"/>
          <a:chOff x="0" y="0"/>
          <a:chExt cx="0" cy="0"/>
        </a:xfrm>
      </p:grpSpPr>
      <p:sp>
        <p:nvSpPr>
          <p:cNvPr id="31" name="Picture Placeholder 30">
            <a:extLst>
              <a:ext uri="{FF2B5EF4-FFF2-40B4-BE49-F238E27FC236}">
                <a16:creationId xmlns:a16="http://schemas.microsoft.com/office/drawing/2014/main" id="{67A803C1-5E85-5C45-B84F-9737F92F8DDF}"/>
              </a:ext>
            </a:extLst>
          </p:cNvPr>
          <p:cNvSpPr>
            <a:spLocks noGrp="1"/>
          </p:cNvSpPr>
          <p:nvPr>
            <p:ph type="pic" sz="quarter" idx="13" hasCustomPrompt="1"/>
          </p:nvPr>
        </p:nvSpPr>
        <p:spPr>
          <a:xfrm>
            <a:off x="5" y="5"/>
            <a:ext cx="6109247" cy="6857997"/>
          </a:xfrm>
          <a:custGeom>
            <a:avLst/>
            <a:gdLst>
              <a:gd name="connsiteX0" fmla="*/ 1146049 w 6094408"/>
              <a:gd name="connsiteY0" fmla="*/ 6470534 h 6857997"/>
              <a:gd name="connsiteX1" fmla="*/ 1157832 w 6094408"/>
              <a:gd name="connsiteY1" fmla="*/ 6505507 h 6857997"/>
              <a:gd name="connsiteX2" fmla="*/ 1134642 w 6094408"/>
              <a:gd name="connsiteY2" fmla="*/ 6505507 h 6857997"/>
              <a:gd name="connsiteX3" fmla="*/ 788170 w 6094408"/>
              <a:gd name="connsiteY3" fmla="*/ 6470534 h 6857997"/>
              <a:gd name="connsiteX4" fmla="*/ 799953 w 6094408"/>
              <a:gd name="connsiteY4" fmla="*/ 6505507 h 6857997"/>
              <a:gd name="connsiteX5" fmla="*/ 776763 w 6094408"/>
              <a:gd name="connsiteY5" fmla="*/ 6505507 h 6857997"/>
              <a:gd name="connsiteX6" fmla="*/ 1132323 w 6094408"/>
              <a:gd name="connsiteY6" fmla="*/ 6451543 h 6857997"/>
              <a:gd name="connsiteX7" fmla="*/ 1100860 w 6094408"/>
              <a:gd name="connsiteY7" fmla="*/ 6542674 h 6857997"/>
              <a:gd name="connsiteX8" fmla="*/ 1123110 w 6094408"/>
              <a:gd name="connsiteY8" fmla="*/ 6542674 h 6857997"/>
              <a:gd name="connsiteX9" fmla="*/ 1128876 w 6094408"/>
              <a:gd name="connsiteY9" fmla="*/ 6524060 h 6857997"/>
              <a:gd name="connsiteX10" fmla="*/ 1163786 w 6094408"/>
              <a:gd name="connsiteY10" fmla="*/ 6524060 h 6857997"/>
              <a:gd name="connsiteX11" fmla="*/ 1169741 w 6094408"/>
              <a:gd name="connsiteY11" fmla="*/ 6542674 h 6857997"/>
              <a:gd name="connsiteX12" fmla="*/ 1191615 w 6094408"/>
              <a:gd name="connsiteY12" fmla="*/ 6542674 h 6857997"/>
              <a:gd name="connsiteX13" fmla="*/ 1159148 w 6094408"/>
              <a:gd name="connsiteY13" fmla="*/ 6451543 h 6857997"/>
              <a:gd name="connsiteX14" fmla="*/ 961907 w 6094408"/>
              <a:gd name="connsiteY14" fmla="*/ 6451543 h 6857997"/>
              <a:gd name="connsiteX15" fmla="*/ 933640 w 6094408"/>
              <a:gd name="connsiteY15" fmla="*/ 6479246 h 6857997"/>
              <a:gd name="connsiteX16" fmla="*/ 961907 w 6094408"/>
              <a:gd name="connsiteY16" fmla="*/ 6505821 h 6857997"/>
              <a:gd name="connsiteX17" fmla="*/ 983468 w 6094408"/>
              <a:gd name="connsiteY17" fmla="*/ 6505821 h 6857997"/>
              <a:gd name="connsiteX18" fmla="*/ 991678 w 6094408"/>
              <a:gd name="connsiteY18" fmla="*/ 6514282 h 6857997"/>
              <a:gd name="connsiteX19" fmla="*/ 983468 w 6094408"/>
              <a:gd name="connsiteY19" fmla="*/ 6522743 h 6857997"/>
              <a:gd name="connsiteX20" fmla="*/ 937338 w 6094408"/>
              <a:gd name="connsiteY20" fmla="*/ 6522743 h 6857997"/>
              <a:gd name="connsiteX21" fmla="*/ 937338 w 6094408"/>
              <a:gd name="connsiteY21" fmla="*/ 6542674 h 6857997"/>
              <a:gd name="connsiteX22" fmla="*/ 982716 w 6094408"/>
              <a:gd name="connsiteY22" fmla="*/ 6542674 h 6857997"/>
              <a:gd name="connsiteX23" fmla="*/ 1011358 w 6094408"/>
              <a:gd name="connsiteY23" fmla="*/ 6514282 h 6857997"/>
              <a:gd name="connsiteX24" fmla="*/ 986727 w 6094408"/>
              <a:gd name="connsiteY24" fmla="*/ 6487707 h 6857997"/>
              <a:gd name="connsiteX25" fmla="*/ 961907 w 6094408"/>
              <a:gd name="connsiteY25" fmla="*/ 6487707 h 6857997"/>
              <a:gd name="connsiteX26" fmla="*/ 953321 w 6094408"/>
              <a:gd name="connsiteY26" fmla="*/ 6479246 h 6857997"/>
              <a:gd name="connsiteX27" fmla="*/ 961907 w 6094408"/>
              <a:gd name="connsiteY27" fmla="*/ 6470785 h 6857997"/>
              <a:gd name="connsiteX28" fmla="*/ 1004965 w 6094408"/>
              <a:gd name="connsiteY28" fmla="*/ 6470785 h 6857997"/>
              <a:gd name="connsiteX29" fmla="*/ 1004965 w 6094408"/>
              <a:gd name="connsiteY29" fmla="*/ 6451543 h 6857997"/>
              <a:gd name="connsiteX30" fmla="*/ 841570 w 6094408"/>
              <a:gd name="connsiteY30" fmla="*/ 6451543 h 6857997"/>
              <a:gd name="connsiteX31" fmla="*/ 841570 w 6094408"/>
              <a:gd name="connsiteY31" fmla="*/ 6542674 h 6857997"/>
              <a:gd name="connsiteX32" fmla="*/ 862692 w 6094408"/>
              <a:gd name="connsiteY32" fmla="*/ 6542674 h 6857997"/>
              <a:gd name="connsiteX33" fmla="*/ 862692 w 6094408"/>
              <a:gd name="connsiteY33" fmla="*/ 6486454 h 6857997"/>
              <a:gd name="connsiteX34" fmla="*/ 898981 w 6094408"/>
              <a:gd name="connsiteY34" fmla="*/ 6542486 h 6857997"/>
              <a:gd name="connsiteX35" fmla="*/ 898981 w 6094408"/>
              <a:gd name="connsiteY35" fmla="*/ 6542674 h 6857997"/>
              <a:gd name="connsiteX36" fmla="*/ 920855 w 6094408"/>
              <a:gd name="connsiteY36" fmla="*/ 6542674 h 6857997"/>
              <a:gd name="connsiteX37" fmla="*/ 920793 w 6094408"/>
              <a:gd name="connsiteY37" fmla="*/ 6522994 h 6857997"/>
              <a:gd name="connsiteX38" fmla="*/ 920667 w 6094408"/>
              <a:gd name="connsiteY38" fmla="*/ 6451543 h 6857997"/>
              <a:gd name="connsiteX39" fmla="*/ 899671 w 6094408"/>
              <a:gd name="connsiteY39" fmla="*/ 6451543 h 6857997"/>
              <a:gd name="connsiteX40" fmla="*/ 899671 w 6094408"/>
              <a:gd name="connsiteY40" fmla="*/ 6508829 h 6857997"/>
              <a:gd name="connsiteX41" fmla="*/ 863068 w 6094408"/>
              <a:gd name="connsiteY41" fmla="*/ 6451543 h 6857997"/>
              <a:gd name="connsiteX42" fmla="*/ 774444 w 6094408"/>
              <a:gd name="connsiteY42" fmla="*/ 6451543 h 6857997"/>
              <a:gd name="connsiteX43" fmla="*/ 742918 w 6094408"/>
              <a:gd name="connsiteY43" fmla="*/ 6542674 h 6857997"/>
              <a:gd name="connsiteX44" fmla="*/ 765168 w 6094408"/>
              <a:gd name="connsiteY44" fmla="*/ 6542674 h 6857997"/>
              <a:gd name="connsiteX45" fmla="*/ 770934 w 6094408"/>
              <a:gd name="connsiteY45" fmla="*/ 6524060 h 6857997"/>
              <a:gd name="connsiteX46" fmla="*/ 805845 w 6094408"/>
              <a:gd name="connsiteY46" fmla="*/ 6524060 h 6857997"/>
              <a:gd name="connsiteX47" fmla="*/ 811799 w 6094408"/>
              <a:gd name="connsiteY47" fmla="*/ 6542674 h 6857997"/>
              <a:gd name="connsiteX48" fmla="*/ 833735 w 6094408"/>
              <a:gd name="connsiteY48" fmla="*/ 6542674 h 6857997"/>
              <a:gd name="connsiteX49" fmla="*/ 801269 w 6094408"/>
              <a:gd name="connsiteY49" fmla="*/ 6451543 h 6857997"/>
              <a:gd name="connsiteX50" fmla="*/ 604404 w 6094408"/>
              <a:gd name="connsiteY50" fmla="*/ 6451543 h 6857997"/>
              <a:gd name="connsiteX51" fmla="*/ 576137 w 6094408"/>
              <a:gd name="connsiteY51" fmla="*/ 6479246 h 6857997"/>
              <a:gd name="connsiteX52" fmla="*/ 604404 w 6094408"/>
              <a:gd name="connsiteY52" fmla="*/ 6505821 h 6857997"/>
              <a:gd name="connsiteX53" fmla="*/ 625964 w 6094408"/>
              <a:gd name="connsiteY53" fmla="*/ 6505821 h 6857997"/>
              <a:gd name="connsiteX54" fmla="*/ 634174 w 6094408"/>
              <a:gd name="connsiteY54" fmla="*/ 6514282 h 6857997"/>
              <a:gd name="connsiteX55" fmla="*/ 625964 w 6094408"/>
              <a:gd name="connsiteY55" fmla="*/ 6522743 h 6857997"/>
              <a:gd name="connsiteX56" fmla="*/ 579772 w 6094408"/>
              <a:gd name="connsiteY56" fmla="*/ 6522743 h 6857997"/>
              <a:gd name="connsiteX57" fmla="*/ 579772 w 6094408"/>
              <a:gd name="connsiteY57" fmla="*/ 6542674 h 6857997"/>
              <a:gd name="connsiteX58" fmla="*/ 625149 w 6094408"/>
              <a:gd name="connsiteY58" fmla="*/ 6542674 h 6857997"/>
              <a:gd name="connsiteX59" fmla="*/ 653792 w 6094408"/>
              <a:gd name="connsiteY59" fmla="*/ 6514282 h 6857997"/>
              <a:gd name="connsiteX60" fmla="*/ 629223 w 6094408"/>
              <a:gd name="connsiteY60" fmla="*/ 6487707 h 6857997"/>
              <a:gd name="connsiteX61" fmla="*/ 604404 w 6094408"/>
              <a:gd name="connsiteY61" fmla="*/ 6487707 h 6857997"/>
              <a:gd name="connsiteX62" fmla="*/ 595817 w 6094408"/>
              <a:gd name="connsiteY62" fmla="*/ 6479246 h 6857997"/>
              <a:gd name="connsiteX63" fmla="*/ 604404 w 6094408"/>
              <a:gd name="connsiteY63" fmla="*/ 6470785 h 6857997"/>
              <a:gd name="connsiteX64" fmla="*/ 647462 w 6094408"/>
              <a:gd name="connsiteY64" fmla="*/ 6470785 h 6857997"/>
              <a:gd name="connsiteX65" fmla="*/ 647462 w 6094408"/>
              <a:gd name="connsiteY65" fmla="*/ 6451543 h 6857997"/>
              <a:gd name="connsiteX66" fmla="*/ 1023956 w 6094408"/>
              <a:gd name="connsiteY66" fmla="*/ 6451480 h 6857997"/>
              <a:gd name="connsiteX67" fmla="*/ 1023956 w 6094408"/>
              <a:gd name="connsiteY67" fmla="*/ 6542674 h 6857997"/>
              <a:gd name="connsiteX68" fmla="*/ 1045016 w 6094408"/>
              <a:gd name="connsiteY68" fmla="*/ 6542674 h 6857997"/>
              <a:gd name="connsiteX69" fmla="*/ 1045016 w 6094408"/>
              <a:gd name="connsiteY69" fmla="*/ 6504191 h 6857997"/>
              <a:gd name="connsiteX70" fmla="*/ 1074975 w 6094408"/>
              <a:gd name="connsiteY70" fmla="*/ 6542674 h 6857997"/>
              <a:gd name="connsiteX71" fmla="*/ 1099481 w 6094408"/>
              <a:gd name="connsiteY71" fmla="*/ 6542674 h 6857997"/>
              <a:gd name="connsiteX72" fmla="*/ 1065009 w 6094408"/>
              <a:gd name="connsiteY72" fmla="*/ 6497109 h 6857997"/>
              <a:gd name="connsiteX73" fmla="*/ 1099481 w 6094408"/>
              <a:gd name="connsiteY73" fmla="*/ 6451480 h 6857997"/>
              <a:gd name="connsiteX74" fmla="*/ 1074975 w 6094408"/>
              <a:gd name="connsiteY74" fmla="*/ 6451480 h 6857997"/>
              <a:gd name="connsiteX75" fmla="*/ 1045016 w 6094408"/>
              <a:gd name="connsiteY75" fmla="*/ 6489963 h 6857997"/>
              <a:gd name="connsiteX76" fmla="*/ 1045016 w 6094408"/>
              <a:gd name="connsiteY76" fmla="*/ 6451480 h 6857997"/>
              <a:gd name="connsiteX77" fmla="*/ 666077 w 6094408"/>
              <a:gd name="connsiteY77" fmla="*/ 6451480 h 6857997"/>
              <a:gd name="connsiteX78" fmla="*/ 666077 w 6094408"/>
              <a:gd name="connsiteY78" fmla="*/ 6542674 h 6857997"/>
              <a:gd name="connsiteX79" fmla="*/ 687073 w 6094408"/>
              <a:gd name="connsiteY79" fmla="*/ 6542674 h 6857997"/>
              <a:gd name="connsiteX80" fmla="*/ 687073 w 6094408"/>
              <a:gd name="connsiteY80" fmla="*/ 6504191 h 6857997"/>
              <a:gd name="connsiteX81" fmla="*/ 717033 w 6094408"/>
              <a:gd name="connsiteY81" fmla="*/ 6542674 h 6857997"/>
              <a:gd name="connsiteX82" fmla="*/ 741602 w 6094408"/>
              <a:gd name="connsiteY82" fmla="*/ 6542674 h 6857997"/>
              <a:gd name="connsiteX83" fmla="*/ 707067 w 6094408"/>
              <a:gd name="connsiteY83" fmla="*/ 6497109 h 6857997"/>
              <a:gd name="connsiteX84" fmla="*/ 741602 w 6094408"/>
              <a:gd name="connsiteY84" fmla="*/ 6451480 h 6857997"/>
              <a:gd name="connsiteX85" fmla="*/ 717033 w 6094408"/>
              <a:gd name="connsiteY85" fmla="*/ 6451480 h 6857997"/>
              <a:gd name="connsiteX86" fmla="*/ 687073 w 6094408"/>
              <a:gd name="connsiteY86" fmla="*/ 6489963 h 6857997"/>
              <a:gd name="connsiteX87" fmla="*/ 687073 w 6094408"/>
              <a:gd name="connsiteY87" fmla="*/ 6451480 h 6857997"/>
              <a:gd name="connsiteX88" fmla="*/ 0 w 6094408"/>
              <a:gd name="connsiteY88" fmla="*/ 0 h 6857997"/>
              <a:gd name="connsiteX89" fmla="*/ 6094408 w 6094408"/>
              <a:gd name="connsiteY89" fmla="*/ 0 h 6857997"/>
              <a:gd name="connsiteX90" fmla="*/ 6094408 w 6094408"/>
              <a:gd name="connsiteY90" fmla="*/ 6857997 h 6857997"/>
              <a:gd name="connsiteX91" fmla="*/ 0 w 6094408"/>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094408"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6094408" y="0"/>
                </a:lnTo>
                <a:lnTo>
                  <a:pt x="6094408"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nb-NO" noProof="0" dirty="0"/>
              <a:t>Hvis bildeplassholderikonet er under tekstboksen, velger du den grå plassholderboksen og går deretter til «Sett inn» i toppmenyen og legger til bilde. IKKE flytt tekstboksen!</a:t>
            </a:r>
            <a:endParaRPr lang="en-US" noProof="0" dirty="0"/>
          </a:p>
        </p:txBody>
      </p:sp>
      <p:sp>
        <p:nvSpPr>
          <p:cNvPr id="16" name="Picture Placeholder 13">
            <a:extLst>
              <a:ext uri="{FF2B5EF4-FFF2-40B4-BE49-F238E27FC236}">
                <a16:creationId xmlns:a16="http://schemas.microsoft.com/office/drawing/2014/main" id="{4112384D-AFE6-0044-8D33-BD96D1F23E2F}"/>
              </a:ext>
            </a:extLst>
          </p:cNvPr>
          <p:cNvSpPr>
            <a:spLocks noGrp="1"/>
          </p:cNvSpPr>
          <p:nvPr>
            <p:ph type="pic" sz="quarter" idx="19" hasCustomPrompt="1"/>
          </p:nvPr>
        </p:nvSpPr>
        <p:spPr>
          <a:xfrm>
            <a:off x="6098400"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nb-NO" noProof="0" dirty="0"/>
              <a:t>Hvis bildeplassholderikonet er under tekstboksen, velger du den grå plassholderboksen og går deretter til «Sett inn» i toppmenyen og legger til bilde. IKKE flytt tekstboksen!</a:t>
            </a:r>
            <a:endParaRPr lang="en-US" noProof="0" dirty="0"/>
          </a:p>
        </p:txBody>
      </p:sp>
      <p:sp>
        <p:nvSpPr>
          <p:cNvPr id="17" name="Picture Placeholder 17">
            <a:extLst>
              <a:ext uri="{FF2B5EF4-FFF2-40B4-BE49-F238E27FC236}">
                <a16:creationId xmlns:a16="http://schemas.microsoft.com/office/drawing/2014/main" id="{ACAB582F-A4D3-6042-80E5-449FA4DD1AC0}"/>
              </a:ext>
            </a:extLst>
          </p:cNvPr>
          <p:cNvSpPr>
            <a:spLocks noGrp="1"/>
          </p:cNvSpPr>
          <p:nvPr>
            <p:ph type="pic" sz="quarter" idx="20" hasCustomPrompt="1"/>
          </p:nvPr>
        </p:nvSpPr>
        <p:spPr>
          <a:xfrm>
            <a:off x="6098400" y="3429002"/>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nb-NO" noProof="0" dirty="0"/>
              <a:t>Hvis bildeplassholderikonet er under tekstboksen, velger du den grå plassholderboksen og går deretter til «Sett inn» i toppmenyen og legger til bilde. IKKE flytt tekstboksen!</a:t>
            </a:r>
            <a:endParaRPr lang="en-US" noProof="0" dirty="0"/>
          </a:p>
        </p:txBody>
      </p:sp>
      <p:sp>
        <p:nvSpPr>
          <p:cNvPr id="22" name="Text Placeholder 18">
            <a:extLst>
              <a:ext uri="{FF2B5EF4-FFF2-40B4-BE49-F238E27FC236}">
                <a16:creationId xmlns:a16="http://schemas.microsoft.com/office/drawing/2014/main" id="{1BB6EBC7-3CB0-7949-AB1F-7B011BF726B5}"/>
              </a:ext>
            </a:extLst>
          </p:cNvPr>
          <p:cNvSpPr>
            <a:spLocks noGrp="1"/>
          </p:cNvSpPr>
          <p:nvPr>
            <p:ph type="body" sz="quarter" idx="23" hasCustomPrompt="1"/>
          </p:nvPr>
        </p:nvSpPr>
        <p:spPr>
          <a:xfrm>
            <a:off x="-6151" y="3014721"/>
            <a:ext cx="6109247" cy="828564"/>
          </a:xfrm>
          <a:prstGeom prst="rect">
            <a:avLst/>
          </a:prstGeom>
        </p:spPr>
        <p:txBody>
          <a:bodyPr lIns="540000" tIns="0" rIns="540000" bIns="0" anchor="ctr">
            <a:noAutofit/>
          </a:bodyPr>
          <a:lstStyle>
            <a:lvl1pPr marL="0" indent="0" algn="ctr">
              <a:lnSpc>
                <a:spcPct val="85000"/>
              </a:lnSpc>
              <a:spcBef>
                <a:spcPts val="0"/>
              </a:spcBef>
              <a:buNone/>
              <a:defRPr sz="2600" spc="40" baseline="0">
                <a:solidFill>
                  <a:schemeClr val="bg1"/>
                </a:solidFill>
              </a:defRPr>
            </a:lvl1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p:txBody>
      </p:sp>
      <p:sp>
        <p:nvSpPr>
          <p:cNvPr id="23" name="Text Placeholder 18">
            <a:extLst>
              <a:ext uri="{FF2B5EF4-FFF2-40B4-BE49-F238E27FC236}">
                <a16:creationId xmlns:a16="http://schemas.microsoft.com/office/drawing/2014/main" id="{1A6292A0-28D6-8F43-9A84-193B84BC52B2}"/>
              </a:ext>
            </a:extLst>
          </p:cNvPr>
          <p:cNvSpPr>
            <a:spLocks noGrp="1"/>
          </p:cNvSpPr>
          <p:nvPr>
            <p:ph type="body" sz="quarter" idx="24" hasCustomPrompt="1"/>
          </p:nvPr>
        </p:nvSpPr>
        <p:spPr>
          <a:xfrm>
            <a:off x="6102155" y="1300220"/>
            <a:ext cx="6105491" cy="828564"/>
          </a:xfrm>
          <a:prstGeom prst="rect">
            <a:avLst/>
          </a:prstGeom>
        </p:spPr>
        <p:txBody>
          <a:bodyPr lIns="540000" tIns="0" rIns="540000" bIns="0" anchor="ctr">
            <a:noAutofit/>
          </a:bodyPr>
          <a:lstStyle>
            <a:lvl1pPr marL="0" indent="0" algn="ctr">
              <a:lnSpc>
                <a:spcPct val="85000"/>
              </a:lnSpc>
              <a:spcBef>
                <a:spcPts val="0"/>
              </a:spcBef>
              <a:buNone/>
              <a:defRPr sz="2600" spc="40" baseline="0">
                <a:solidFill>
                  <a:schemeClr val="bg1"/>
                </a:solidFill>
              </a:defRPr>
            </a:lvl1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p:txBody>
      </p:sp>
      <p:sp>
        <p:nvSpPr>
          <p:cNvPr id="24" name="Text Placeholder 18">
            <a:extLst>
              <a:ext uri="{FF2B5EF4-FFF2-40B4-BE49-F238E27FC236}">
                <a16:creationId xmlns:a16="http://schemas.microsoft.com/office/drawing/2014/main" id="{D141078C-5B10-0549-8F72-9894A9BF4F46}"/>
              </a:ext>
            </a:extLst>
          </p:cNvPr>
          <p:cNvSpPr>
            <a:spLocks noGrp="1"/>
          </p:cNvSpPr>
          <p:nvPr>
            <p:ph type="body" sz="quarter" idx="21" hasCustomPrompt="1"/>
          </p:nvPr>
        </p:nvSpPr>
        <p:spPr>
          <a:xfrm>
            <a:off x="6102156" y="4729219"/>
            <a:ext cx="6105490" cy="828564"/>
          </a:xfrm>
          <a:prstGeom prst="rect">
            <a:avLst/>
          </a:prstGeom>
        </p:spPr>
        <p:txBody>
          <a:bodyPr lIns="540000" tIns="0" rIns="540000" bIns="0" anchor="ctr">
            <a:noAutofit/>
          </a:bodyPr>
          <a:lstStyle>
            <a:lvl1pPr marL="0" indent="0" algn="ctr">
              <a:lnSpc>
                <a:spcPct val="85000"/>
              </a:lnSpc>
              <a:spcBef>
                <a:spcPts val="0"/>
              </a:spcBef>
              <a:buNone/>
              <a:defRPr sz="2600" spc="40" baseline="0">
                <a:solidFill>
                  <a:schemeClr val="bg1"/>
                </a:solidFill>
              </a:defRPr>
            </a:lvl1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p:txBody>
      </p:sp>
      <p:sp>
        <p:nvSpPr>
          <p:cNvPr id="25" name="Text Placeholder 4">
            <a:extLst>
              <a:ext uri="{FF2B5EF4-FFF2-40B4-BE49-F238E27FC236}">
                <a16:creationId xmlns:a16="http://schemas.microsoft.com/office/drawing/2014/main" id="{968682EE-E62E-7F45-8D53-EA4C7D3E2A5B}"/>
              </a:ext>
            </a:extLst>
          </p:cNvPr>
          <p:cNvSpPr>
            <a:spLocks noGrp="1"/>
          </p:cNvSpPr>
          <p:nvPr>
            <p:ph type="body" sz="quarter" idx="25" hasCustomPrompt="1"/>
          </p:nvPr>
        </p:nvSpPr>
        <p:spPr>
          <a:xfrm rot="5400000">
            <a:off x="4443938" y="1178687"/>
            <a:ext cx="2844000"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sp>
        <p:nvSpPr>
          <p:cNvPr id="21" name="Text Placeholder 4">
            <a:extLst>
              <a:ext uri="{FF2B5EF4-FFF2-40B4-BE49-F238E27FC236}">
                <a16:creationId xmlns:a16="http://schemas.microsoft.com/office/drawing/2014/main" id="{B38D1478-E2C4-9C47-9554-2B6F1BEF76AF}"/>
              </a:ext>
            </a:extLst>
          </p:cNvPr>
          <p:cNvSpPr>
            <a:spLocks noGrp="1"/>
          </p:cNvSpPr>
          <p:nvPr>
            <p:ph type="body" sz="quarter" idx="16" hasCustomPrompt="1"/>
          </p:nvPr>
        </p:nvSpPr>
        <p:spPr>
          <a:xfrm rot="5400000">
            <a:off x="10526686" y="1178687"/>
            <a:ext cx="2844000"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sp>
        <p:nvSpPr>
          <p:cNvPr id="26" name="Text Placeholder 4">
            <a:extLst>
              <a:ext uri="{FF2B5EF4-FFF2-40B4-BE49-F238E27FC236}">
                <a16:creationId xmlns:a16="http://schemas.microsoft.com/office/drawing/2014/main" id="{A5503383-A8B0-564C-8751-AEE0A84AE6C3}"/>
              </a:ext>
            </a:extLst>
          </p:cNvPr>
          <p:cNvSpPr>
            <a:spLocks noGrp="1"/>
          </p:cNvSpPr>
          <p:nvPr>
            <p:ph type="body" sz="quarter" idx="26" hasCustomPrompt="1"/>
          </p:nvPr>
        </p:nvSpPr>
        <p:spPr>
          <a:xfrm rot="5400000">
            <a:off x="10526686" y="4607689"/>
            <a:ext cx="2844000"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grpSp>
        <p:nvGrpSpPr>
          <p:cNvPr id="5" name="Instructions">
            <a:extLst>
              <a:ext uri="{FF2B5EF4-FFF2-40B4-BE49-F238E27FC236}">
                <a16:creationId xmlns:a16="http://schemas.microsoft.com/office/drawing/2014/main" id="{B8721D7F-C52E-2C1E-8C3D-36445447994F}"/>
              </a:ext>
            </a:extLst>
          </p:cNvPr>
          <p:cNvGrpSpPr/>
          <p:nvPr userDrawn="1"/>
        </p:nvGrpSpPr>
        <p:grpSpPr>
          <a:xfrm>
            <a:off x="12395260" y="-12189"/>
            <a:ext cx="1681523" cy="2112003"/>
            <a:chOff x="12395260" y="-12189"/>
            <a:chExt cx="1681523" cy="2112003"/>
          </a:xfrm>
        </p:grpSpPr>
        <p:sp>
          <p:nvSpPr>
            <p:cNvPr id="12" name="textruta 5">
              <a:extLst>
                <a:ext uri="{FF2B5EF4-FFF2-40B4-BE49-F238E27FC236}">
                  <a16:creationId xmlns:a16="http://schemas.microsoft.com/office/drawing/2014/main" id="{BAE890E4-E523-6647-98A4-B32F05744FF3}"/>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3" name="textruta 12">
              <a:extLst>
                <a:ext uri="{FF2B5EF4-FFF2-40B4-BE49-F238E27FC236}">
                  <a16:creationId xmlns:a16="http://schemas.microsoft.com/office/drawing/2014/main" id="{11616D45-9A27-C34A-86FA-CB9409332032}"/>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4" name="Rektangel 13">
              <a:extLst>
                <a:ext uri="{FF2B5EF4-FFF2-40B4-BE49-F238E27FC236}">
                  <a16:creationId xmlns:a16="http://schemas.microsoft.com/office/drawing/2014/main" id="{F19A6BCC-975E-7545-BB3A-57857992C98F}"/>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Rektangel 14">
              <a:extLst>
                <a:ext uri="{FF2B5EF4-FFF2-40B4-BE49-F238E27FC236}">
                  <a16:creationId xmlns:a16="http://schemas.microsoft.com/office/drawing/2014/main" id="{D6050EB3-8959-584C-BBC7-5A81E084A618}"/>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Tree>
    <p:extLst>
      <p:ext uri="{BB962C8B-B14F-4D97-AF65-F5344CB8AC3E}">
        <p14:creationId xmlns:p14="http://schemas.microsoft.com/office/powerpoint/2010/main" val="14192418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6 To bilder med grafikk">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E694F34C-2436-894C-9A38-5ECC387754EF}"/>
              </a:ext>
            </a:extLst>
          </p:cNvPr>
          <p:cNvSpPr>
            <a:spLocks noGrp="1"/>
          </p:cNvSpPr>
          <p:nvPr>
            <p:ph type="pic" sz="quarter" idx="13" hasCustomPrompt="1"/>
          </p:nvPr>
        </p:nvSpPr>
        <p:spPr>
          <a:xfrm>
            <a:off x="5" y="5"/>
            <a:ext cx="6094795" cy="6857997"/>
          </a:xfrm>
          <a:custGeom>
            <a:avLst/>
            <a:gdLst>
              <a:gd name="connsiteX0" fmla="*/ 1146049 w 6094408"/>
              <a:gd name="connsiteY0" fmla="*/ 6470534 h 6857997"/>
              <a:gd name="connsiteX1" fmla="*/ 1157832 w 6094408"/>
              <a:gd name="connsiteY1" fmla="*/ 6505507 h 6857997"/>
              <a:gd name="connsiteX2" fmla="*/ 1134642 w 6094408"/>
              <a:gd name="connsiteY2" fmla="*/ 6505507 h 6857997"/>
              <a:gd name="connsiteX3" fmla="*/ 788170 w 6094408"/>
              <a:gd name="connsiteY3" fmla="*/ 6470534 h 6857997"/>
              <a:gd name="connsiteX4" fmla="*/ 799953 w 6094408"/>
              <a:gd name="connsiteY4" fmla="*/ 6505507 h 6857997"/>
              <a:gd name="connsiteX5" fmla="*/ 776763 w 6094408"/>
              <a:gd name="connsiteY5" fmla="*/ 6505507 h 6857997"/>
              <a:gd name="connsiteX6" fmla="*/ 1132323 w 6094408"/>
              <a:gd name="connsiteY6" fmla="*/ 6451543 h 6857997"/>
              <a:gd name="connsiteX7" fmla="*/ 1100860 w 6094408"/>
              <a:gd name="connsiteY7" fmla="*/ 6542674 h 6857997"/>
              <a:gd name="connsiteX8" fmla="*/ 1123110 w 6094408"/>
              <a:gd name="connsiteY8" fmla="*/ 6542674 h 6857997"/>
              <a:gd name="connsiteX9" fmla="*/ 1128876 w 6094408"/>
              <a:gd name="connsiteY9" fmla="*/ 6524060 h 6857997"/>
              <a:gd name="connsiteX10" fmla="*/ 1163786 w 6094408"/>
              <a:gd name="connsiteY10" fmla="*/ 6524060 h 6857997"/>
              <a:gd name="connsiteX11" fmla="*/ 1169741 w 6094408"/>
              <a:gd name="connsiteY11" fmla="*/ 6542674 h 6857997"/>
              <a:gd name="connsiteX12" fmla="*/ 1191615 w 6094408"/>
              <a:gd name="connsiteY12" fmla="*/ 6542674 h 6857997"/>
              <a:gd name="connsiteX13" fmla="*/ 1159148 w 6094408"/>
              <a:gd name="connsiteY13" fmla="*/ 6451543 h 6857997"/>
              <a:gd name="connsiteX14" fmla="*/ 961907 w 6094408"/>
              <a:gd name="connsiteY14" fmla="*/ 6451543 h 6857997"/>
              <a:gd name="connsiteX15" fmla="*/ 933640 w 6094408"/>
              <a:gd name="connsiteY15" fmla="*/ 6479246 h 6857997"/>
              <a:gd name="connsiteX16" fmla="*/ 961907 w 6094408"/>
              <a:gd name="connsiteY16" fmla="*/ 6505821 h 6857997"/>
              <a:gd name="connsiteX17" fmla="*/ 983468 w 6094408"/>
              <a:gd name="connsiteY17" fmla="*/ 6505821 h 6857997"/>
              <a:gd name="connsiteX18" fmla="*/ 991678 w 6094408"/>
              <a:gd name="connsiteY18" fmla="*/ 6514282 h 6857997"/>
              <a:gd name="connsiteX19" fmla="*/ 983468 w 6094408"/>
              <a:gd name="connsiteY19" fmla="*/ 6522743 h 6857997"/>
              <a:gd name="connsiteX20" fmla="*/ 937338 w 6094408"/>
              <a:gd name="connsiteY20" fmla="*/ 6522743 h 6857997"/>
              <a:gd name="connsiteX21" fmla="*/ 937338 w 6094408"/>
              <a:gd name="connsiteY21" fmla="*/ 6542674 h 6857997"/>
              <a:gd name="connsiteX22" fmla="*/ 982716 w 6094408"/>
              <a:gd name="connsiteY22" fmla="*/ 6542674 h 6857997"/>
              <a:gd name="connsiteX23" fmla="*/ 1011358 w 6094408"/>
              <a:gd name="connsiteY23" fmla="*/ 6514282 h 6857997"/>
              <a:gd name="connsiteX24" fmla="*/ 986727 w 6094408"/>
              <a:gd name="connsiteY24" fmla="*/ 6487707 h 6857997"/>
              <a:gd name="connsiteX25" fmla="*/ 961907 w 6094408"/>
              <a:gd name="connsiteY25" fmla="*/ 6487707 h 6857997"/>
              <a:gd name="connsiteX26" fmla="*/ 953321 w 6094408"/>
              <a:gd name="connsiteY26" fmla="*/ 6479246 h 6857997"/>
              <a:gd name="connsiteX27" fmla="*/ 961907 w 6094408"/>
              <a:gd name="connsiteY27" fmla="*/ 6470785 h 6857997"/>
              <a:gd name="connsiteX28" fmla="*/ 1004965 w 6094408"/>
              <a:gd name="connsiteY28" fmla="*/ 6470785 h 6857997"/>
              <a:gd name="connsiteX29" fmla="*/ 1004965 w 6094408"/>
              <a:gd name="connsiteY29" fmla="*/ 6451543 h 6857997"/>
              <a:gd name="connsiteX30" fmla="*/ 841570 w 6094408"/>
              <a:gd name="connsiteY30" fmla="*/ 6451543 h 6857997"/>
              <a:gd name="connsiteX31" fmla="*/ 841570 w 6094408"/>
              <a:gd name="connsiteY31" fmla="*/ 6542674 h 6857997"/>
              <a:gd name="connsiteX32" fmla="*/ 862692 w 6094408"/>
              <a:gd name="connsiteY32" fmla="*/ 6542674 h 6857997"/>
              <a:gd name="connsiteX33" fmla="*/ 862692 w 6094408"/>
              <a:gd name="connsiteY33" fmla="*/ 6486454 h 6857997"/>
              <a:gd name="connsiteX34" fmla="*/ 898981 w 6094408"/>
              <a:gd name="connsiteY34" fmla="*/ 6542486 h 6857997"/>
              <a:gd name="connsiteX35" fmla="*/ 898981 w 6094408"/>
              <a:gd name="connsiteY35" fmla="*/ 6542674 h 6857997"/>
              <a:gd name="connsiteX36" fmla="*/ 920855 w 6094408"/>
              <a:gd name="connsiteY36" fmla="*/ 6542674 h 6857997"/>
              <a:gd name="connsiteX37" fmla="*/ 920793 w 6094408"/>
              <a:gd name="connsiteY37" fmla="*/ 6522994 h 6857997"/>
              <a:gd name="connsiteX38" fmla="*/ 920667 w 6094408"/>
              <a:gd name="connsiteY38" fmla="*/ 6451543 h 6857997"/>
              <a:gd name="connsiteX39" fmla="*/ 899671 w 6094408"/>
              <a:gd name="connsiteY39" fmla="*/ 6451543 h 6857997"/>
              <a:gd name="connsiteX40" fmla="*/ 899671 w 6094408"/>
              <a:gd name="connsiteY40" fmla="*/ 6508829 h 6857997"/>
              <a:gd name="connsiteX41" fmla="*/ 863068 w 6094408"/>
              <a:gd name="connsiteY41" fmla="*/ 6451543 h 6857997"/>
              <a:gd name="connsiteX42" fmla="*/ 774444 w 6094408"/>
              <a:gd name="connsiteY42" fmla="*/ 6451543 h 6857997"/>
              <a:gd name="connsiteX43" fmla="*/ 742918 w 6094408"/>
              <a:gd name="connsiteY43" fmla="*/ 6542674 h 6857997"/>
              <a:gd name="connsiteX44" fmla="*/ 765168 w 6094408"/>
              <a:gd name="connsiteY44" fmla="*/ 6542674 h 6857997"/>
              <a:gd name="connsiteX45" fmla="*/ 770934 w 6094408"/>
              <a:gd name="connsiteY45" fmla="*/ 6524060 h 6857997"/>
              <a:gd name="connsiteX46" fmla="*/ 805845 w 6094408"/>
              <a:gd name="connsiteY46" fmla="*/ 6524060 h 6857997"/>
              <a:gd name="connsiteX47" fmla="*/ 811799 w 6094408"/>
              <a:gd name="connsiteY47" fmla="*/ 6542674 h 6857997"/>
              <a:gd name="connsiteX48" fmla="*/ 833735 w 6094408"/>
              <a:gd name="connsiteY48" fmla="*/ 6542674 h 6857997"/>
              <a:gd name="connsiteX49" fmla="*/ 801269 w 6094408"/>
              <a:gd name="connsiteY49" fmla="*/ 6451543 h 6857997"/>
              <a:gd name="connsiteX50" fmla="*/ 604404 w 6094408"/>
              <a:gd name="connsiteY50" fmla="*/ 6451543 h 6857997"/>
              <a:gd name="connsiteX51" fmla="*/ 576137 w 6094408"/>
              <a:gd name="connsiteY51" fmla="*/ 6479246 h 6857997"/>
              <a:gd name="connsiteX52" fmla="*/ 604404 w 6094408"/>
              <a:gd name="connsiteY52" fmla="*/ 6505821 h 6857997"/>
              <a:gd name="connsiteX53" fmla="*/ 625964 w 6094408"/>
              <a:gd name="connsiteY53" fmla="*/ 6505821 h 6857997"/>
              <a:gd name="connsiteX54" fmla="*/ 634174 w 6094408"/>
              <a:gd name="connsiteY54" fmla="*/ 6514282 h 6857997"/>
              <a:gd name="connsiteX55" fmla="*/ 625964 w 6094408"/>
              <a:gd name="connsiteY55" fmla="*/ 6522743 h 6857997"/>
              <a:gd name="connsiteX56" fmla="*/ 579772 w 6094408"/>
              <a:gd name="connsiteY56" fmla="*/ 6522743 h 6857997"/>
              <a:gd name="connsiteX57" fmla="*/ 579772 w 6094408"/>
              <a:gd name="connsiteY57" fmla="*/ 6542674 h 6857997"/>
              <a:gd name="connsiteX58" fmla="*/ 625149 w 6094408"/>
              <a:gd name="connsiteY58" fmla="*/ 6542674 h 6857997"/>
              <a:gd name="connsiteX59" fmla="*/ 653792 w 6094408"/>
              <a:gd name="connsiteY59" fmla="*/ 6514282 h 6857997"/>
              <a:gd name="connsiteX60" fmla="*/ 629223 w 6094408"/>
              <a:gd name="connsiteY60" fmla="*/ 6487707 h 6857997"/>
              <a:gd name="connsiteX61" fmla="*/ 604404 w 6094408"/>
              <a:gd name="connsiteY61" fmla="*/ 6487707 h 6857997"/>
              <a:gd name="connsiteX62" fmla="*/ 595817 w 6094408"/>
              <a:gd name="connsiteY62" fmla="*/ 6479246 h 6857997"/>
              <a:gd name="connsiteX63" fmla="*/ 604404 w 6094408"/>
              <a:gd name="connsiteY63" fmla="*/ 6470785 h 6857997"/>
              <a:gd name="connsiteX64" fmla="*/ 647462 w 6094408"/>
              <a:gd name="connsiteY64" fmla="*/ 6470785 h 6857997"/>
              <a:gd name="connsiteX65" fmla="*/ 647462 w 6094408"/>
              <a:gd name="connsiteY65" fmla="*/ 6451543 h 6857997"/>
              <a:gd name="connsiteX66" fmla="*/ 1023956 w 6094408"/>
              <a:gd name="connsiteY66" fmla="*/ 6451480 h 6857997"/>
              <a:gd name="connsiteX67" fmla="*/ 1023956 w 6094408"/>
              <a:gd name="connsiteY67" fmla="*/ 6542674 h 6857997"/>
              <a:gd name="connsiteX68" fmla="*/ 1045016 w 6094408"/>
              <a:gd name="connsiteY68" fmla="*/ 6542674 h 6857997"/>
              <a:gd name="connsiteX69" fmla="*/ 1045016 w 6094408"/>
              <a:gd name="connsiteY69" fmla="*/ 6504191 h 6857997"/>
              <a:gd name="connsiteX70" fmla="*/ 1074975 w 6094408"/>
              <a:gd name="connsiteY70" fmla="*/ 6542674 h 6857997"/>
              <a:gd name="connsiteX71" fmla="*/ 1099481 w 6094408"/>
              <a:gd name="connsiteY71" fmla="*/ 6542674 h 6857997"/>
              <a:gd name="connsiteX72" fmla="*/ 1065009 w 6094408"/>
              <a:gd name="connsiteY72" fmla="*/ 6497109 h 6857997"/>
              <a:gd name="connsiteX73" fmla="*/ 1099481 w 6094408"/>
              <a:gd name="connsiteY73" fmla="*/ 6451480 h 6857997"/>
              <a:gd name="connsiteX74" fmla="*/ 1074975 w 6094408"/>
              <a:gd name="connsiteY74" fmla="*/ 6451480 h 6857997"/>
              <a:gd name="connsiteX75" fmla="*/ 1045016 w 6094408"/>
              <a:gd name="connsiteY75" fmla="*/ 6489963 h 6857997"/>
              <a:gd name="connsiteX76" fmla="*/ 1045016 w 6094408"/>
              <a:gd name="connsiteY76" fmla="*/ 6451480 h 6857997"/>
              <a:gd name="connsiteX77" fmla="*/ 666077 w 6094408"/>
              <a:gd name="connsiteY77" fmla="*/ 6451480 h 6857997"/>
              <a:gd name="connsiteX78" fmla="*/ 666077 w 6094408"/>
              <a:gd name="connsiteY78" fmla="*/ 6542674 h 6857997"/>
              <a:gd name="connsiteX79" fmla="*/ 687073 w 6094408"/>
              <a:gd name="connsiteY79" fmla="*/ 6542674 h 6857997"/>
              <a:gd name="connsiteX80" fmla="*/ 687073 w 6094408"/>
              <a:gd name="connsiteY80" fmla="*/ 6504191 h 6857997"/>
              <a:gd name="connsiteX81" fmla="*/ 717033 w 6094408"/>
              <a:gd name="connsiteY81" fmla="*/ 6542674 h 6857997"/>
              <a:gd name="connsiteX82" fmla="*/ 741602 w 6094408"/>
              <a:gd name="connsiteY82" fmla="*/ 6542674 h 6857997"/>
              <a:gd name="connsiteX83" fmla="*/ 707067 w 6094408"/>
              <a:gd name="connsiteY83" fmla="*/ 6497109 h 6857997"/>
              <a:gd name="connsiteX84" fmla="*/ 741602 w 6094408"/>
              <a:gd name="connsiteY84" fmla="*/ 6451480 h 6857997"/>
              <a:gd name="connsiteX85" fmla="*/ 717033 w 6094408"/>
              <a:gd name="connsiteY85" fmla="*/ 6451480 h 6857997"/>
              <a:gd name="connsiteX86" fmla="*/ 687073 w 6094408"/>
              <a:gd name="connsiteY86" fmla="*/ 6489963 h 6857997"/>
              <a:gd name="connsiteX87" fmla="*/ 687073 w 6094408"/>
              <a:gd name="connsiteY87" fmla="*/ 6451480 h 6857997"/>
              <a:gd name="connsiteX88" fmla="*/ 0 w 6094408"/>
              <a:gd name="connsiteY88" fmla="*/ 0 h 6857997"/>
              <a:gd name="connsiteX89" fmla="*/ 6094408 w 6094408"/>
              <a:gd name="connsiteY89" fmla="*/ 0 h 6857997"/>
              <a:gd name="connsiteX90" fmla="*/ 6094408 w 6094408"/>
              <a:gd name="connsiteY90" fmla="*/ 6857997 h 6857997"/>
              <a:gd name="connsiteX91" fmla="*/ 0 w 6094408"/>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094408"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6094408" y="0"/>
                </a:lnTo>
                <a:lnTo>
                  <a:pt x="6094408" y="6857997"/>
                </a:lnTo>
                <a:lnTo>
                  <a:pt x="0" y="6857997"/>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tx2"/>
                </a:solidFill>
              </a:defRPr>
            </a:lvl1pPr>
          </a:lstStyle>
          <a:p>
            <a:r>
              <a:rPr lang="nb-NO" noProof="0" dirty="0"/>
              <a:t>Klikk på ikonet for å legge til et bilde</a:t>
            </a:r>
            <a:endParaRPr lang="en-US" noProof="0" dirty="0"/>
          </a:p>
        </p:txBody>
      </p:sp>
      <p:sp>
        <p:nvSpPr>
          <p:cNvPr id="16" name="Picture Placeholder 13">
            <a:extLst>
              <a:ext uri="{FF2B5EF4-FFF2-40B4-BE49-F238E27FC236}">
                <a16:creationId xmlns:a16="http://schemas.microsoft.com/office/drawing/2014/main" id="{4112384D-AFE6-0044-8D33-BD96D1F23E2F}"/>
              </a:ext>
            </a:extLst>
          </p:cNvPr>
          <p:cNvSpPr>
            <a:spLocks noGrp="1"/>
          </p:cNvSpPr>
          <p:nvPr>
            <p:ph type="pic" sz="quarter" idx="19" hasCustomPrompt="1"/>
          </p:nvPr>
        </p:nvSpPr>
        <p:spPr>
          <a:xfrm>
            <a:off x="6094800" y="3"/>
            <a:ext cx="6097200"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chemeClr val="accent6">
              <a:lumMod val="90000"/>
            </a:schemeClr>
          </a:solidFill>
        </p:spPr>
        <p:txBody>
          <a:bodyPr wrap="square" lIns="36000" tIns="36000" rIns="36000" bIns="36000" anchor="t">
            <a:noAutofit/>
          </a:bodyPr>
          <a:lstStyle>
            <a:lvl1pPr marL="0" indent="0" algn="ctr">
              <a:buNone/>
              <a:defRPr sz="1300">
                <a:solidFill>
                  <a:schemeClr val="tx2"/>
                </a:solidFill>
              </a:defRPr>
            </a:lvl1pPr>
          </a:lstStyle>
          <a:p>
            <a:r>
              <a:rPr lang="nb-NO" noProof="0" dirty="0"/>
              <a:t>Klikk på ikonet for å legge til et bilde</a:t>
            </a:r>
            <a:endParaRPr lang="en-US" noProof="0" dirty="0"/>
          </a:p>
        </p:txBody>
      </p:sp>
      <p:pic>
        <p:nvPicPr>
          <p:cNvPr id="4" name="Cut out">
            <a:extLst>
              <a:ext uri="{FF2B5EF4-FFF2-40B4-BE49-F238E27FC236}">
                <a16:creationId xmlns:a16="http://schemas.microsoft.com/office/drawing/2014/main" id="{B3D60CCC-F2DD-4247-911D-3D6E39D2B63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4800" y="3429000"/>
            <a:ext cx="6097200" cy="3429000"/>
          </a:xfrm>
          <a:prstGeom prst="rect">
            <a:avLst/>
          </a:prstGeom>
        </p:spPr>
      </p:pic>
      <p:sp>
        <p:nvSpPr>
          <p:cNvPr id="11" name="Text Placeholder 4">
            <a:extLst>
              <a:ext uri="{FF2B5EF4-FFF2-40B4-BE49-F238E27FC236}">
                <a16:creationId xmlns:a16="http://schemas.microsoft.com/office/drawing/2014/main" id="{7FF54DF7-8C90-5048-91F4-ED1EB63FEBB9}"/>
              </a:ext>
            </a:extLst>
          </p:cNvPr>
          <p:cNvSpPr>
            <a:spLocks noGrp="1"/>
          </p:cNvSpPr>
          <p:nvPr>
            <p:ph type="body" sz="quarter" idx="21" hasCustomPrompt="1"/>
          </p:nvPr>
        </p:nvSpPr>
        <p:spPr>
          <a:xfrm rot="5400000">
            <a:off x="3705938" y="1916687"/>
            <a:ext cx="4320000"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sp>
        <p:nvSpPr>
          <p:cNvPr id="10" name="Text Placeholder 4">
            <a:extLst>
              <a:ext uri="{FF2B5EF4-FFF2-40B4-BE49-F238E27FC236}">
                <a16:creationId xmlns:a16="http://schemas.microsoft.com/office/drawing/2014/main" id="{CC8634A3-40E2-E941-BE06-B35A402E81A2}"/>
              </a:ext>
            </a:extLst>
          </p:cNvPr>
          <p:cNvSpPr>
            <a:spLocks noGrp="1"/>
          </p:cNvSpPr>
          <p:nvPr>
            <p:ph type="body" sz="quarter" idx="20" hasCustomPrompt="1"/>
          </p:nvPr>
        </p:nvSpPr>
        <p:spPr>
          <a:xfrm rot="5400000">
            <a:off x="10234187" y="1471188"/>
            <a:ext cx="3428999" cy="486626"/>
          </a:xfrm>
        </p:spPr>
        <p:txBody>
          <a:bodyPr wrap="square"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grpSp>
        <p:nvGrpSpPr>
          <p:cNvPr id="3" name="Instructions">
            <a:extLst>
              <a:ext uri="{FF2B5EF4-FFF2-40B4-BE49-F238E27FC236}">
                <a16:creationId xmlns:a16="http://schemas.microsoft.com/office/drawing/2014/main" id="{CCF9AC18-E974-840E-F34B-60148C6E364F}"/>
              </a:ext>
            </a:extLst>
          </p:cNvPr>
          <p:cNvGrpSpPr/>
          <p:nvPr userDrawn="1"/>
        </p:nvGrpSpPr>
        <p:grpSpPr>
          <a:xfrm>
            <a:off x="12395260" y="-12189"/>
            <a:ext cx="1681523" cy="2112003"/>
            <a:chOff x="12395260" y="-12189"/>
            <a:chExt cx="1681523" cy="2112003"/>
          </a:xfrm>
        </p:grpSpPr>
        <p:sp>
          <p:nvSpPr>
            <p:cNvPr id="6" name="textruta 5">
              <a:extLst>
                <a:ext uri="{FF2B5EF4-FFF2-40B4-BE49-F238E27FC236}">
                  <a16:creationId xmlns:a16="http://schemas.microsoft.com/office/drawing/2014/main" id="{9FE728FC-C64C-ED4F-8B3A-2159EA348AD2}"/>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GB" sz="900" baseline="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GB" sz="900" b="1" baseline="0">
                  <a:solidFill>
                    <a:schemeClr val="tx1">
                      <a:lumMod val="65000"/>
                      <a:lumOff val="35000"/>
                    </a:schemeClr>
                  </a:solidFill>
                  <a:latin typeface="Arial" panose="020B0604020202020204" pitchFamily="34" charset="0"/>
                  <a:cs typeface="Arial" panose="020B0604020202020204" pitchFamily="34" charset="0"/>
                </a:rPr>
                <a:t>right click the image </a:t>
              </a:r>
              <a:r>
                <a:rPr lang="en-GB" sz="900" baseline="0">
                  <a:solidFill>
                    <a:schemeClr val="tx1">
                      <a:lumMod val="65000"/>
                      <a:lumOff val="35000"/>
                    </a:schemeClr>
                  </a:solidFill>
                  <a:latin typeface="Arial" panose="020B0604020202020204" pitchFamily="34" charset="0"/>
                  <a:cs typeface="Arial" panose="020B0604020202020204" pitchFamily="34" charset="0"/>
                </a:rPr>
                <a:t>and use – </a:t>
              </a:r>
              <a:r>
                <a:rPr lang="en-GB" sz="900" b="1">
                  <a:solidFill>
                    <a:schemeClr val="tx1">
                      <a:lumMod val="65000"/>
                      <a:lumOff val="35000"/>
                    </a:schemeClr>
                  </a:solidFill>
                  <a:latin typeface="Arial" panose="020B0604020202020204" pitchFamily="34" charset="0"/>
                  <a:cs typeface="Arial" panose="020B0604020202020204" pitchFamily="34" charset="0"/>
                </a:rPr>
                <a:t>S</a:t>
              </a:r>
              <a:r>
                <a:rPr lang="en-GB" sz="900" b="1" baseline="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7" name="textruta 6">
              <a:extLst>
                <a:ext uri="{FF2B5EF4-FFF2-40B4-BE49-F238E27FC236}">
                  <a16:creationId xmlns:a16="http://schemas.microsoft.com/office/drawing/2014/main" id="{BE6ABED2-384F-4748-8CE8-E5DB02B0EC75}"/>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GB" sz="900" baseline="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GB" sz="900" b="1" baseline="0">
                  <a:solidFill>
                    <a:schemeClr val="tx1">
                      <a:lumMod val="65000"/>
                      <a:lumOff val="35000"/>
                    </a:schemeClr>
                  </a:solidFill>
                  <a:latin typeface="Arial" panose="020B0604020202020204" pitchFamily="34" charset="0"/>
                  <a:cs typeface="Arial" panose="020B0604020202020204" pitchFamily="34" charset="0"/>
                </a:rPr>
                <a:t>Format Background </a:t>
              </a:r>
              <a:r>
                <a:rPr lang="en-GB" sz="900" baseline="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GB" sz="900" b="1" baseline="0">
                  <a:solidFill>
                    <a:schemeClr val="tx1">
                      <a:lumMod val="65000"/>
                      <a:lumOff val="35000"/>
                    </a:schemeClr>
                  </a:solidFill>
                  <a:latin typeface="Arial" panose="020B0604020202020204" pitchFamily="34" charset="0"/>
                  <a:cs typeface="Arial" panose="020B0604020202020204" pitchFamily="34" charset="0"/>
                </a:rPr>
                <a:t>Solid fill</a:t>
              </a:r>
              <a:r>
                <a:rPr lang="en-GB" sz="900" baseline="0">
                  <a:solidFill>
                    <a:schemeClr val="tx1">
                      <a:lumMod val="65000"/>
                      <a:lumOff val="35000"/>
                    </a:schemeClr>
                  </a:solidFill>
                  <a:latin typeface="Arial" panose="020B0604020202020204" pitchFamily="34" charset="0"/>
                  <a:cs typeface="Arial" panose="020B0604020202020204" pitchFamily="34" charset="0"/>
                </a:rPr>
                <a:t> – </a:t>
              </a:r>
              <a:r>
                <a:rPr lang="en-GB" sz="900" b="1" baseline="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GB" sz="900" baseline="0">
                <a:solidFill>
                  <a:schemeClr val="tx1">
                    <a:lumMod val="65000"/>
                    <a:lumOff val="35000"/>
                  </a:schemeClr>
                </a:solidFill>
                <a:latin typeface="Arial" panose="020B0604020202020204" pitchFamily="34" charset="0"/>
                <a:cs typeface="Arial" panose="020B0604020202020204" pitchFamily="34" charset="0"/>
              </a:endParaRPr>
            </a:p>
            <a:p>
              <a:pPr algn="ctr"/>
              <a:endParaRPr lang="en-GB" sz="900" baseline="0">
                <a:solidFill>
                  <a:schemeClr val="tx1">
                    <a:lumMod val="65000"/>
                    <a:lumOff val="35000"/>
                  </a:schemeClr>
                </a:solidFill>
                <a:latin typeface="Arial" panose="020B0604020202020204" pitchFamily="34" charset="0"/>
                <a:cs typeface="Arial" panose="020B0604020202020204" pitchFamily="34" charset="0"/>
              </a:endParaRPr>
            </a:p>
            <a:p>
              <a:pPr algn="ctr"/>
              <a:endParaRPr lang="en-GB" sz="900" baseline="0">
                <a:solidFill>
                  <a:schemeClr val="tx1">
                    <a:lumMod val="65000"/>
                    <a:lumOff val="35000"/>
                  </a:schemeClr>
                </a:solidFill>
                <a:latin typeface="Arial" panose="020B0604020202020204" pitchFamily="34" charset="0"/>
                <a:cs typeface="Arial" panose="020B0604020202020204" pitchFamily="34" charset="0"/>
              </a:endParaRPr>
            </a:p>
          </p:txBody>
        </p:sp>
        <p:sp>
          <p:nvSpPr>
            <p:cNvPr id="8" name="Rektangel 7">
              <a:extLst>
                <a:ext uri="{FF2B5EF4-FFF2-40B4-BE49-F238E27FC236}">
                  <a16:creationId xmlns:a16="http://schemas.microsoft.com/office/drawing/2014/main" id="{739A018F-446B-C241-8ABA-56BE21D1A174}"/>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ktangel 8">
              <a:extLst>
                <a:ext uri="{FF2B5EF4-FFF2-40B4-BE49-F238E27FC236}">
                  <a16:creationId xmlns:a16="http://schemas.microsoft.com/office/drawing/2014/main" id="{D857EEAE-5D56-214C-B466-54015AC35F80}"/>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1963265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7 Seks tekstboks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37E36-6B4A-A295-71E3-6AEA6687265E}"/>
              </a:ext>
            </a:extLst>
          </p:cNvPr>
          <p:cNvSpPr>
            <a:spLocks noGrp="1"/>
          </p:cNvSpPr>
          <p:nvPr>
            <p:ph type="title" hasCustomPrompt="1"/>
          </p:nvPr>
        </p:nvSpPr>
        <p:spPr>
          <a:xfrm>
            <a:off x="576000" y="730800"/>
            <a:ext cx="11021062" cy="421200"/>
          </a:xfrm>
        </p:spPr>
        <p:txBody>
          <a:bodyPr/>
          <a:lstStyle/>
          <a:p>
            <a:r>
              <a:rPr lang="nb-NO" dirty="0"/>
              <a:t>Klikk for å legge til en overskrift på maksimalt én linje</a:t>
            </a:r>
            <a:endParaRPr lang="en-US" dirty="0"/>
          </a:p>
        </p:txBody>
      </p:sp>
      <p:sp>
        <p:nvSpPr>
          <p:cNvPr id="7" name="Text Placeholder 6">
            <a:extLst>
              <a:ext uri="{FF2B5EF4-FFF2-40B4-BE49-F238E27FC236}">
                <a16:creationId xmlns:a16="http://schemas.microsoft.com/office/drawing/2014/main" id="{C2E2B869-E7C0-D0A6-871C-5E6E3F92EF21}"/>
              </a:ext>
            </a:extLst>
          </p:cNvPr>
          <p:cNvSpPr>
            <a:spLocks noGrp="1"/>
          </p:cNvSpPr>
          <p:nvPr>
            <p:ph type="body" sz="quarter" idx="13" hasCustomPrompt="1"/>
          </p:nvPr>
        </p:nvSpPr>
        <p:spPr>
          <a:xfrm>
            <a:off x="576263" y="1627314"/>
            <a:ext cx="3474000" cy="2095200"/>
          </a:xfrm>
          <a:solidFill>
            <a:schemeClr val="accent1"/>
          </a:solidFill>
        </p:spPr>
        <p:txBody>
          <a:bodyPr lIns="183600" tIns="183600" rIns="90000" bIns="46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Klikk</a:t>
            </a:r>
            <a:r>
              <a:rPr lang="en-US" dirty="0"/>
              <a:t> for å </a:t>
            </a:r>
            <a:r>
              <a:rPr lang="en-US" dirty="0" err="1"/>
              <a:t>legge</a:t>
            </a:r>
            <a:r>
              <a:rPr lang="en-US" dirty="0"/>
              <a:t> </a:t>
            </a:r>
            <a:r>
              <a:rPr lang="en-US" dirty="0" err="1"/>
              <a:t>til</a:t>
            </a:r>
            <a:r>
              <a:rPr lang="en-US" dirty="0"/>
              <a:t> </a:t>
            </a:r>
            <a:r>
              <a:rPr lang="en-US" dirty="0" err="1"/>
              <a:t>tekst</a:t>
            </a:r>
            <a:endParaRPr lang="en-US" dirty="0"/>
          </a:p>
        </p:txBody>
      </p:sp>
      <p:sp>
        <p:nvSpPr>
          <p:cNvPr id="8" name="Text Placeholder 6">
            <a:extLst>
              <a:ext uri="{FF2B5EF4-FFF2-40B4-BE49-F238E27FC236}">
                <a16:creationId xmlns:a16="http://schemas.microsoft.com/office/drawing/2014/main" id="{DDC52070-CC63-EFAD-3724-832B79FB0BA7}"/>
              </a:ext>
            </a:extLst>
          </p:cNvPr>
          <p:cNvSpPr>
            <a:spLocks noGrp="1"/>
          </p:cNvSpPr>
          <p:nvPr>
            <p:ph type="body" sz="quarter" idx="14" hasCustomPrompt="1"/>
          </p:nvPr>
        </p:nvSpPr>
        <p:spPr>
          <a:xfrm>
            <a:off x="576263" y="4032000"/>
            <a:ext cx="3474000" cy="2095200"/>
          </a:xfrm>
          <a:solidFill>
            <a:schemeClr val="accent1"/>
          </a:solidFill>
        </p:spPr>
        <p:txBody>
          <a:bodyPr lIns="183600" tIns="183600" rIns="90000" bIns="46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Klikk</a:t>
            </a:r>
            <a:r>
              <a:rPr lang="en-US" dirty="0"/>
              <a:t> for å </a:t>
            </a:r>
            <a:r>
              <a:rPr lang="en-US" dirty="0" err="1"/>
              <a:t>legge</a:t>
            </a:r>
            <a:r>
              <a:rPr lang="en-US" dirty="0"/>
              <a:t> </a:t>
            </a:r>
            <a:r>
              <a:rPr lang="en-US" dirty="0" err="1"/>
              <a:t>til</a:t>
            </a:r>
            <a:r>
              <a:rPr lang="en-US" dirty="0"/>
              <a:t> </a:t>
            </a:r>
            <a:r>
              <a:rPr lang="en-US" dirty="0" err="1"/>
              <a:t>tekst</a:t>
            </a:r>
            <a:endParaRPr lang="en-US" dirty="0"/>
          </a:p>
        </p:txBody>
      </p:sp>
      <p:sp>
        <p:nvSpPr>
          <p:cNvPr id="10" name="Text Placeholder 6">
            <a:extLst>
              <a:ext uri="{FF2B5EF4-FFF2-40B4-BE49-F238E27FC236}">
                <a16:creationId xmlns:a16="http://schemas.microsoft.com/office/drawing/2014/main" id="{9B001229-259F-2665-1150-3A7814FD5C0A}"/>
              </a:ext>
            </a:extLst>
          </p:cNvPr>
          <p:cNvSpPr>
            <a:spLocks noGrp="1"/>
          </p:cNvSpPr>
          <p:nvPr>
            <p:ph type="body" sz="quarter" idx="15" hasCustomPrompt="1"/>
          </p:nvPr>
        </p:nvSpPr>
        <p:spPr>
          <a:xfrm>
            <a:off x="4359000" y="1627314"/>
            <a:ext cx="3474000" cy="2095200"/>
          </a:xfrm>
          <a:solidFill>
            <a:schemeClr val="accent3"/>
          </a:solidFill>
        </p:spPr>
        <p:txBody>
          <a:bodyPr lIns="183600" tIns="183600" rIns="90000" bIns="468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err="1"/>
              <a:t>Klikk</a:t>
            </a:r>
            <a:r>
              <a:rPr lang="en-US" dirty="0"/>
              <a:t> for å </a:t>
            </a:r>
            <a:r>
              <a:rPr lang="en-US" dirty="0" err="1"/>
              <a:t>legge</a:t>
            </a:r>
            <a:r>
              <a:rPr lang="en-US" dirty="0"/>
              <a:t> </a:t>
            </a:r>
            <a:r>
              <a:rPr lang="en-US" dirty="0" err="1"/>
              <a:t>til</a:t>
            </a:r>
            <a:r>
              <a:rPr lang="en-US" dirty="0"/>
              <a:t> </a:t>
            </a:r>
            <a:r>
              <a:rPr lang="en-US" dirty="0" err="1"/>
              <a:t>tekst</a:t>
            </a:r>
            <a:endParaRPr lang="en-US" dirty="0"/>
          </a:p>
        </p:txBody>
      </p:sp>
      <p:sp>
        <p:nvSpPr>
          <p:cNvPr id="11" name="Text Placeholder 6">
            <a:extLst>
              <a:ext uri="{FF2B5EF4-FFF2-40B4-BE49-F238E27FC236}">
                <a16:creationId xmlns:a16="http://schemas.microsoft.com/office/drawing/2014/main" id="{D8FF648E-4414-E603-F7BC-8A4B8A11FBB3}"/>
              </a:ext>
            </a:extLst>
          </p:cNvPr>
          <p:cNvSpPr>
            <a:spLocks noGrp="1"/>
          </p:cNvSpPr>
          <p:nvPr>
            <p:ph type="body" sz="quarter" idx="16" hasCustomPrompt="1"/>
          </p:nvPr>
        </p:nvSpPr>
        <p:spPr>
          <a:xfrm>
            <a:off x="4359000" y="4032000"/>
            <a:ext cx="3474000" cy="2095200"/>
          </a:xfrm>
          <a:solidFill>
            <a:schemeClr val="accent3"/>
          </a:solidFill>
        </p:spPr>
        <p:txBody>
          <a:bodyPr lIns="183600" tIns="183600" rIns="90000" bIns="468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err="1"/>
              <a:t>Klikk</a:t>
            </a:r>
            <a:r>
              <a:rPr lang="en-US" dirty="0"/>
              <a:t> for å </a:t>
            </a:r>
            <a:r>
              <a:rPr lang="en-US" dirty="0" err="1"/>
              <a:t>legge</a:t>
            </a:r>
            <a:r>
              <a:rPr lang="en-US" dirty="0"/>
              <a:t> </a:t>
            </a:r>
            <a:r>
              <a:rPr lang="en-US" dirty="0" err="1"/>
              <a:t>til</a:t>
            </a:r>
            <a:r>
              <a:rPr lang="en-US" dirty="0"/>
              <a:t> </a:t>
            </a:r>
            <a:r>
              <a:rPr lang="en-US" dirty="0" err="1"/>
              <a:t>tekst</a:t>
            </a:r>
            <a:endParaRPr lang="en-US" dirty="0"/>
          </a:p>
        </p:txBody>
      </p:sp>
      <p:sp>
        <p:nvSpPr>
          <p:cNvPr id="12" name="Text Placeholder 6">
            <a:extLst>
              <a:ext uri="{FF2B5EF4-FFF2-40B4-BE49-F238E27FC236}">
                <a16:creationId xmlns:a16="http://schemas.microsoft.com/office/drawing/2014/main" id="{490A7CFE-50FB-7063-9978-9CBCFE17E05B}"/>
              </a:ext>
            </a:extLst>
          </p:cNvPr>
          <p:cNvSpPr>
            <a:spLocks noGrp="1"/>
          </p:cNvSpPr>
          <p:nvPr>
            <p:ph type="body" sz="quarter" idx="17" hasCustomPrompt="1"/>
          </p:nvPr>
        </p:nvSpPr>
        <p:spPr>
          <a:xfrm>
            <a:off x="8127134" y="1627314"/>
            <a:ext cx="3474000" cy="2095200"/>
          </a:xfrm>
          <a:solidFill>
            <a:schemeClr val="bg1">
              <a:lumMod val="65000"/>
            </a:schemeClr>
          </a:solidFill>
        </p:spPr>
        <p:txBody>
          <a:bodyPr lIns="183600" tIns="183600" rIns="90000" bIns="46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Klikk</a:t>
            </a:r>
            <a:r>
              <a:rPr lang="en-US" dirty="0"/>
              <a:t> for å </a:t>
            </a:r>
            <a:r>
              <a:rPr lang="en-US" dirty="0" err="1"/>
              <a:t>legge</a:t>
            </a:r>
            <a:r>
              <a:rPr lang="en-US" dirty="0"/>
              <a:t> </a:t>
            </a:r>
            <a:r>
              <a:rPr lang="en-US" dirty="0" err="1"/>
              <a:t>til</a:t>
            </a:r>
            <a:r>
              <a:rPr lang="en-US" dirty="0"/>
              <a:t> </a:t>
            </a:r>
            <a:r>
              <a:rPr lang="en-US" dirty="0" err="1"/>
              <a:t>tekst</a:t>
            </a:r>
            <a:endParaRPr lang="en-US" dirty="0"/>
          </a:p>
        </p:txBody>
      </p:sp>
      <p:sp>
        <p:nvSpPr>
          <p:cNvPr id="13" name="Text Placeholder 6">
            <a:extLst>
              <a:ext uri="{FF2B5EF4-FFF2-40B4-BE49-F238E27FC236}">
                <a16:creationId xmlns:a16="http://schemas.microsoft.com/office/drawing/2014/main" id="{932EE011-7B52-3F06-22C4-D6314CBE6594}"/>
              </a:ext>
            </a:extLst>
          </p:cNvPr>
          <p:cNvSpPr>
            <a:spLocks noGrp="1"/>
          </p:cNvSpPr>
          <p:nvPr>
            <p:ph type="body" sz="quarter" idx="18" hasCustomPrompt="1"/>
          </p:nvPr>
        </p:nvSpPr>
        <p:spPr>
          <a:xfrm>
            <a:off x="8127134" y="4032000"/>
            <a:ext cx="3474000" cy="2095200"/>
          </a:xfrm>
          <a:solidFill>
            <a:schemeClr val="bg1">
              <a:lumMod val="65000"/>
            </a:schemeClr>
          </a:solidFill>
        </p:spPr>
        <p:txBody>
          <a:bodyPr lIns="183600" tIns="183600" rIns="90000" bIns="46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Klikk</a:t>
            </a:r>
            <a:r>
              <a:rPr lang="en-US" dirty="0"/>
              <a:t> for å </a:t>
            </a:r>
            <a:r>
              <a:rPr lang="en-US" dirty="0" err="1"/>
              <a:t>legge</a:t>
            </a:r>
            <a:r>
              <a:rPr lang="en-US" dirty="0"/>
              <a:t> </a:t>
            </a:r>
            <a:r>
              <a:rPr lang="en-US" dirty="0" err="1"/>
              <a:t>til</a:t>
            </a:r>
            <a:r>
              <a:rPr lang="en-US" dirty="0"/>
              <a:t> </a:t>
            </a:r>
            <a:r>
              <a:rPr lang="en-US" dirty="0" err="1"/>
              <a:t>tekst</a:t>
            </a:r>
            <a:endParaRPr lang="en-US" dirty="0"/>
          </a:p>
        </p:txBody>
      </p:sp>
      <p:sp>
        <p:nvSpPr>
          <p:cNvPr id="14" name="Logotype">
            <a:extLst>
              <a:ext uri="{FF2B5EF4-FFF2-40B4-BE49-F238E27FC236}">
                <a16:creationId xmlns:a16="http://schemas.microsoft.com/office/drawing/2014/main" id="{8C4AC7DB-B6F3-A081-D0AE-29770DA789A3}"/>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6" name="Text Placeholder 7">
            <a:extLst>
              <a:ext uri="{FF2B5EF4-FFF2-40B4-BE49-F238E27FC236}">
                <a16:creationId xmlns:a16="http://schemas.microsoft.com/office/drawing/2014/main" id="{0F99DFC5-3C30-CAF1-547F-1AEE90149C77}"/>
              </a:ext>
            </a:extLst>
          </p:cNvPr>
          <p:cNvSpPr>
            <a:spLocks noGrp="1"/>
          </p:cNvSpPr>
          <p:nvPr>
            <p:ph type="body" sz="quarter" idx="25" hasCustomPrompt="1"/>
          </p:nvPr>
        </p:nvSpPr>
        <p:spPr>
          <a:xfrm>
            <a:off x="576262" y="291600"/>
            <a:ext cx="5180400" cy="180000"/>
          </a:xfrm>
        </p:spPr>
        <p:txBody>
          <a:bodyPr/>
          <a:lstStyle>
            <a:lvl1pPr marL="6350" indent="0">
              <a:buNone/>
              <a:defRPr sz="1200"/>
            </a:lvl1pPr>
          </a:lstStyle>
          <a:p>
            <a:pPr lvl="0"/>
            <a:r>
              <a:rPr lang="nb-NO" dirty="0"/>
              <a:t>Klikk for å legge til kapittel</a:t>
            </a:r>
            <a:endParaRPr lang="en-US" dirty="0"/>
          </a:p>
        </p:txBody>
      </p:sp>
    </p:spTree>
    <p:extLst>
      <p:ext uri="{BB962C8B-B14F-4D97-AF65-F5344CB8AC3E}">
        <p14:creationId xmlns:p14="http://schemas.microsoft.com/office/powerpoint/2010/main" val="11685924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7 Tre sirkler">
    <p:bg>
      <p:bgPr>
        <a:solidFill>
          <a:schemeClr val="tx2"/>
        </a:solidFill>
        <a:effectLst/>
      </p:bgPr>
    </p:bg>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9E751731-59C5-B049-9487-248BD0C40892}"/>
              </a:ext>
            </a:extLst>
          </p:cNvPr>
          <p:cNvSpPr>
            <a:spLocks noGrp="1"/>
          </p:cNvSpPr>
          <p:nvPr>
            <p:ph type="body" sz="quarter" idx="26" hasCustomPrompt="1"/>
          </p:nvPr>
        </p:nvSpPr>
        <p:spPr>
          <a:xfrm>
            <a:off x="1874652" y="2262600"/>
            <a:ext cx="2332800" cy="2332800"/>
          </a:xfrm>
          <a:prstGeom prst="ellipse">
            <a:avLst/>
          </a:prstGeom>
          <a:ln w="25400">
            <a:solidFill>
              <a:schemeClr val="bg1"/>
            </a:solidFill>
          </a:ln>
        </p:spPr>
        <p:txBody>
          <a:bodyPr lIns="108000" tIns="108000" rIns="108000" bIns="108000" anchor="ctr">
            <a:noAutofit/>
          </a:bodyPr>
          <a:lstStyle>
            <a:lvl1pPr marL="0" indent="0" algn="ctr">
              <a:lnSpc>
                <a:spcPct val="85000"/>
              </a:lnSpc>
              <a:spcBef>
                <a:spcPts val="0"/>
              </a:spcBef>
              <a:buNone/>
              <a:defRPr sz="2600" spc="40" baseline="0">
                <a:solidFill>
                  <a:schemeClr val="bg1"/>
                </a:solidFill>
              </a:defRPr>
            </a:lvl1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p:txBody>
      </p:sp>
      <p:sp>
        <p:nvSpPr>
          <p:cNvPr id="9" name="Text Placeholder 5">
            <a:extLst>
              <a:ext uri="{FF2B5EF4-FFF2-40B4-BE49-F238E27FC236}">
                <a16:creationId xmlns:a16="http://schemas.microsoft.com/office/drawing/2014/main" id="{2BF17C3F-4594-0234-607B-47E0495D9314}"/>
              </a:ext>
            </a:extLst>
          </p:cNvPr>
          <p:cNvSpPr>
            <a:spLocks noGrp="1"/>
          </p:cNvSpPr>
          <p:nvPr>
            <p:ph type="body" sz="quarter" idx="34" hasCustomPrompt="1"/>
          </p:nvPr>
        </p:nvSpPr>
        <p:spPr>
          <a:xfrm>
            <a:off x="4932130" y="2262600"/>
            <a:ext cx="2332800" cy="2332800"/>
          </a:xfrm>
          <a:prstGeom prst="ellipse">
            <a:avLst/>
          </a:prstGeom>
          <a:ln w="25400">
            <a:solidFill>
              <a:schemeClr val="bg1"/>
            </a:solidFill>
          </a:ln>
        </p:spPr>
        <p:txBody>
          <a:bodyPr lIns="108000" tIns="108000" rIns="108000" bIns="108000" anchor="ctr">
            <a:noAutofit/>
          </a:bodyPr>
          <a:lstStyle>
            <a:lvl1pPr marL="0" indent="0" algn="ctr">
              <a:lnSpc>
                <a:spcPct val="85000"/>
              </a:lnSpc>
              <a:spcBef>
                <a:spcPts val="0"/>
              </a:spcBef>
              <a:buNone/>
              <a:defRPr sz="2600" spc="40" baseline="0">
                <a:solidFill>
                  <a:schemeClr val="bg1"/>
                </a:solidFill>
              </a:defRPr>
            </a:lvl1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p:txBody>
      </p:sp>
      <p:sp>
        <p:nvSpPr>
          <p:cNvPr id="10" name="Text Placeholder 5">
            <a:extLst>
              <a:ext uri="{FF2B5EF4-FFF2-40B4-BE49-F238E27FC236}">
                <a16:creationId xmlns:a16="http://schemas.microsoft.com/office/drawing/2014/main" id="{CB601D8E-5667-925C-CEB0-C6CEE482EFEC}"/>
              </a:ext>
            </a:extLst>
          </p:cNvPr>
          <p:cNvSpPr>
            <a:spLocks noGrp="1"/>
          </p:cNvSpPr>
          <p:nvPr>
            <p:ph type="body" sz="quarter" idx="35" hasCustomPrompt="1"/>
          </p:nvPr>
        </p:nvSpPr>
        <p:spPr>
          <a:xfrm>
            <a:off x="7989608" y="2262600"/>
            <a:ext cx="2332800" cy="2332800"/>
          </a:xfrm>
          <a:prstGeom prst="ellipse">
            <a:avLst/>
          </a:prstGeom>
          <a:ln w="25400">
            <a:solidFill>
              <a:schemeClr val="bg1"/>
            </a:solidFill>
          </a:ln>
        </p:spPr>
        <p:txBody>
          <a:bodyPr lIns="108000" tIns="108000" rIns="108000" bIns="108000" anchor="ctr">
            <a:noAutofit/>
          </a:bodyPr>
          <a:lstStyle>
            <a:lvl1pPr marL="0" indent="0" algn="ctr">
              <a:lnSpc>
                <a:spcPct val="85000"/>
              </a:lnSpc>
              <a:spcBef>
                <a:spcPts val="0"/>
              </a:spcBef>
              <a:buNone/>
              <a:defRPr sz="2600" spc="40" baseline="0">
                <a:solidFill>
                  <a:schemeClr val="bg1"/>
                </a:solidFill>
              </a:defRPr>
            </a:lvl1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p:txBody>
      </p:sp>
      <p:sp>
        <p:nvSpPr>
          <p:cNvPr id="7" name="Logotype">
            <a:extLst>
              <a:ext uri="{FF2B5EF4-FFF2-40B4-BE49-F238E27FC236}">
                <a16:creationId xmlns:a16="http://schemas.microsoft.com/office/drawing/2014/main" id="{361D69C9-9F79-76B7-685E-B5699C4166BC}"/>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bg1"/>
          </a:solidFill>
          <a:ln w="6350" cap="flat">
            <a:noFill/>
            <a:prstDash val="solid"/>
            <a:miter/>
          </a:ln>
        </p:spPr>
        <p:txBody>
          <a:bodyPr wrap="square" rtlCol="0" anchor="ctr">
            <a:noAutofit/>
          </a:bodyPr>
          <a:lstStyle/>
          <a:p>
            <a:endParaRPr lang="en-US" noProof="0">
              <a:solidFill>
                <a:schemeClr val="tx2"/>
              </a:solidFill>
            </a:endParaRPr>
          </a:p>
        </p:txBody>
      </p:sp>
    </p:spTree>
    <p:extLst>
      <p:ext uri="{BB962C8B-B14F-4D97-AF65-F5344CB8AC3E}">
        <p14:creationId xmlns:p14="http://schemas.microsoft.com/office/powerpoint/2010/main" val="12855354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7 Fire sirkler">
    <p:bg>
      <p:bgPr>
        <a:solidFill>
          <a:schemeClr val="tx2"/>
        </a:solidFill>
        <a:effectLst/>
      </p:bgPr>
    </p:bg>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9E751731-59C5-B049-9487-248BD0C40892}"/>
              </a:ext>
            </a:extLst>
          </p:cNvPr>
          <p:cNvSpPr>
            <a:spLocks noGrp="1"/>
          </p:cNvSpPr>
          <p:nvPr>
            <p:ph type="body" sz="quarter" idx="26" hasCustomPrompt="1"/>
          </p:nvPr>
        </p:nvSpPr>
        <p:spPr>
          <a:xfrm>
            <a:off x="721332" y="2264400"/>
            <a:ext cx="2327008" cy="2327008"/>
          </a:xfrm>
          <a:prstGeom prst="ellipse">
            <a:avLst/>
          </a:prstGeom>
          <a:ln w="25400">
            <a:solidFill>
              <a:schemeClr val="bg1"/>
            </a:solidFill>
          </a:ln>
        </p:spPr>
        <p:txBody>
          <a:bodyPr lIns="108000" tIns="108000" rIns="108000" bIns="108000" anchor="ctr">
            <a:noAutofit/>
          </a:bodyPr>
          <a:lstStyle>
            <a:lvl1pPr marL="0" indent="0" algn="ctr">
              <a:lnSpc>
                <a:spcPct val="85000"/>
              </a:lnSpc>
              <a:spcBef>
                <a:spcPts val="0"/>
              </a:spcBef>
              <a:buNone/>
              <a:defRPr sz="2600" spc="40" baseline="0">
                <a:solidFill>
                  <a:schemeClr val="bg1"/>
                </a:solidFill>
              </a:defRPr>
            </a:lvl1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p:txBody>
      </p:sp>
      <p:sp>
        <p:nvSpPr>
          <p:cNvPr id="9" name="Text Placeholder 5">
            <a:extLst>
              <a:ext uri="{FF2B5EF4-FFF2-40B4-BE49-F238E27FC236}">
                <a16:creationId xmlns:a16="http://schemas.microsoft.com/office/drawing/2014/main" id="{2BF17C3F-4594-0234-607B-47E0495D9314}"/>
              </a:ext>
            </a:extLst>
          </p:cNvPr>
          <p:cNvSpPr>
            <a:spLocks noGrp="1"/>
          </p:cNvSpPr>
          <p:nvPr>
            <p:ph type="body" sz="quarter" idx="34" hasCustomPrompt="1"/>
          </p:nvPr>
        </p:nvSpPr>
        <p:spPr>
          <a:xfrm>
            <a:off x="3527967" y="2264400"/>
            <a:ext cx="2327008" cy="2327008"/>
          </a:xfrm>
          <a:prstGeom prst="ellipse">
            <a:avLst/>
          </a:prstGeom>
          <a:ln w="25400">
            <a:solidFill>
              <a:schemeClr val="bg1"/>
            </a:solidFill>
          </a:ln>
        </p:spPr>
        <p:txBody>
          <a:bodyPr lIns="108000" tIns="108000" rIns="108000" bIns="108000" anchor="ctr">
            <a:noAutofit/>
          </a:bodyPr>
          <a:lstStyle>
            <a:lvl1pPr marL="0" indent="0" algn="ctr">
              <a:lnSpc>
                <a:spcPct val="85000"/>
              </a:lnSpc>
              <a:spcBef>
                <a:spcPts val="0"/>
              </a:spcBef>
              <a:buNone/>
              <a:defRPr sz="2600" spc="40" baseline="0">
                <a:solidFill>
                  <a:schemeClr val="bg1"/>
                </a:solidFill>
              </a:defRPr>
            </a:lvl1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p:txBody>
      </p:sp>
      <p:sp>
        <p:nvSpPr>
          <p:cNvPr id="10" name="Text Placeholder 5">
            <a:extLst>
              <a:ext uri="{FF2B5EF4-FFF2-40B4-BE49-F238E27FC236}">
                <a16:creationId xmlns:a16="http://schemas.microsoft.com/office/drawing/2014/main" id="{CB601D8E-5667-925C-CEB0-C6CEE482EFEC}"/>
              </a:ext>
            </a:extLst>
          </p:cNvPr>
          <p:cNvSpPr>
            <a:spLocks noGrp="1"/>
          </p:cNvSpPr>
          <p:nvPr>
            <p:ph type="body" sz="quarter" idx="35" hasCustomPrompt="1"/>
          </p:nvPr>
        </p:nvSpPr>
        <p:spPr>
          <a:xfrm>
            <a:off x="6334602" y="2264400"/>
            <a:ext cx="2327008" cy="2327008"/>
          </a:xfrm>
          <a:prstGeom prst="ellipse">
            <a:avLst/>
          </a:prstGeom>
          <a:ln w="25400">
            <a:solidFill>
              <a:schemeClr val="bg1"/>
            </a:solidFill>
          </a:ln>
        </p:spPr>
        <p:txBody>
          <a:bodyPr lIns="108000" tIns="108000" rIns="108000" bIns="108000" anchor="ctr">
            <a:noAutofit/>
          </a:bodyPr>
          <a:lstStyle>
            <a:lvl1pPr marL="0" indent="0" algn="ctr">
              <a:lnSpc>
                <a:spcPct val="85000"/>
              </a:lnSpc>
              <a:spcBef>
                <a:spcPts val="0"/>
              </a:spcBef>
              <a:buNone/>
              <a:defRPr sz="2600" spc="40" baseline="0">
                <a:solidFill>
                  <a:schemeClr val="bg1"/>
                </a:solidFill>
              </a:defRPr>
            </a:lvl1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p:txBody>
      </p:sp>
      <p:sp>
        <p:nvSpPr>
          <p:cNvPr id="17" name="Text Placeholder 5">
            <a:extLst>
              <a:ext uri="{FF2B5EF4-FFF2-40B4-BE49-F238E27FC236}">
                <a16:creationId xmlns:a16="http://schemas.microsoft.com/office/drawing/2014/main" id="{DAF0FA8E-D93F-245A-251E-62AB33667ED5}"/>
              </a:ext>
            </a:extLst>
          </p:cNvPr>
          <p:cNvSpPr>
            <a:spLocks noGrp="1"/>
          </p:cNvSpPr>
          <p:nvPr>
            <p:ph type="body" sz="quarter" idx="37" hasCustomPrompt="1"/>
          </p:nvPr>
        </p:nvSpPr>
        <p:spPr>
          <a:xfrm>
            <a:off x="9141236" y="2264400"/>
            <a:ext cx="2327008" cy="2327008"/>
          </a:xfrm>
          <a:prstGeom prst="ellipse">
            <a:avLst/>
          </a:prstGeom>
          <a:ln w="25400">
            <a:solidFill>
              <a:schemeClr val="bg1"/>
            </a:solidFill>
          </a:ln>
        </p:spPr>
        <p:txBody>
          <a:bodyPr lIns="108000" tIns="108000" rIns="108000" bIns="108000" anchor="ctr">
            <a:noAutofit/>
          </a:bodyPr>
          <a:lstStyle>
            <a:lvl1pPr marL="0" indent="0" algn="ctr">
              <a:lnSpc>
                <a:spcPct val="85000"/>
              </a:lnSpc>
              <a:spcBef>
                <a:spcPts val="0"/>
              </a:spcBef>
              <a:buNone/>
              <a:defRPr sz="2600" spc="40" baseline="0">
                <a:solidFill>
                  <a:schemeClr val="bg1"/>
                </a:solidFill>
              </a:defRPr>
            </a:lvl1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p:txBody>
      </p:sp>
      <p:sp>
        <p:nvSpPr>
          <p:cNvPr id="7" name="Logotype">
            <a:extLst>
              <a:ext uri="{FF2B5EF4-FFF2-40B4-BE49-F238E27FC236}">
                <a16:creationId xmlns:a16="http://schemas.microsoft.com/office/drawing/2014/main" id="{39B1D69B-BF30-E683-54A5-0130E0A9C45C}"/>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bg1"/>
          </a:solidFill>
          <a:ln w="6350" cap="flat">
            <a:noFill/>
            <a:prstDash val="solid"/>
            <a:miter/>
          </a:ln>
        </p:spPr>
        <p:txBody>
          <a:bodyPr wrap="square" rtlCol="0" anchor="ctr">
            <a:noAutofit/>
          </a:bodyPr>
          <a:lstStyle/>
          <a:p>
            <a:endParaRPr lang="en-US" noProof="0">
              <a:solidFill>
                <a:schemeClr val="tx2"/>
              </a:solidFill>
            </a:endParaRPr>
          </a:p>
        </p:txBody>
      </p:sp>
    </p:spTree>
    <p:extLst>
      <p:ext uri="{BB962C8B-B14F-4D97-AF65-F5344CB8AC3E}">
        <p14:creationId xmlns:p14="http://schemas.microsoft.com/office/powerpoint/2010/main" val="2714364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7 Fem sirkler">
    <p:bg>
      <p:bgPr>
        <a:solidFill>
          <a:schemeClr val="tx2"/>
        </a:solidFill>
        <a:effectLst/>
      </p:bgPr>
    </p:bg>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9E751731-59C5-B049-9487-248BD0C40892}"/>
              </a:ext>
            </a:extLst>
          </p:cNvPr>
          <p:cNvSpPr>
            <a:spLocks noGrp="1"/>
          </p:cNvSpPr>
          <p:nvPr>
            <p:ph type="body" sz="quarter" idx="26" hasCustomPrompt="1"/>
          </p:nvPr>
        </p:nvSpPr>
        <p:spPr>
          <a:xfrm>
            <a:off x="576000" y="2264400"/>
            <a:ext cx="2033413" cy="2033413"/>
          </a:xfrm>
          <a:prstGeom prst="ellipse">
            <a:avLst/>
          </a:prstGeom>
          <a:ln w="25400">
            <a:solidFill>
              <a:schemeClr val="bg1"/>
            </a:solidFill>
          </a:ln>
        </p:spPr>
        <p:txBody>
          <a:bodyPr lIns="108000" tIns="108000" rIns="108000" bIns="108000" anchor="ctr">
            <a:noAutofit/>
          </a:bodyPr>
          <a:lstStyle>
            <a:lvl1pPr marL="0" indent="0" algn="ctr">
              <a:lnSpc>
                <a:spcPct val="85000"/>
              </a:lnSpc>
              <a:spcBef>
                <a:spcPts val="0"/>
              </a:spcBef>
              <a:buNone/>
              <a:defRPr sz="2200" spc="40" baseline="0">
                <a:solidFill>
                  <a:schemeClr val="bg1"/>
                </a:solidFill>
              </a:defRPr>
            </a:lvl1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p:txBody>
      </p:sp>
      <p:sp>
        <p:nvSpPr>
          <p:cNvPr id="9" name="Text Placeholder 5">
            <a:extLst>
              <a:ext uri="{FF2B5EF4-FFF2-40B4-BE49-F238E27FC236}">
                <a16:creationId xmlns:a16="http://schemas.microsoft.com/office/drawing/2014/main" id="{2BF17C3F-4594-0234-607B-47E0495D9314}"/>
              </a:ext>
            </a:extLst>
          </p:cNvPr>
          <p:cNvSpPr>
            <a:spLocks noGrp="1"/>
          </p:cNvSpPr>
          <p:nvPr>
            <p:ph type="body" sz="quarter" idx="34" hasCustomPrompt="1"/>
          </p:nvPr>
        </p:nvSpPr>
        <p:spPr>
          <a:xfrm>
            <a:off x="2827272" y="2264400"/>
            <a:ext cx="2033413" cy="2033413"/>
          </a:xfrm>
          <a:prstGeom prst="ellipse">
            <a:avLst/>
          </a:prstGeom>
          <a:ln w="25400">
            <a:solidFill>
              <a:schemeClr val="bg1"/>
            </a:solidFill>
          </a:ln>
        </p:spPr>
        <p:txBody>
          <a:bodyPr lIns="108000" tIns="108000" rIns="108000" bIns="108000" anchor="ctr">
            <a:noAutofit/>
          </a:bodyPr>
          <a:lstStyle>
            <a:lvl1pPr marL="0" indent="0" algn="ctr">
              <a:lnSpc>
                <a:spcPct val="85000"/>
              </a:lnSpc>
              <a:spcBef>
                <a:spcPts val="0"/>
              </a:spcBef>
              <a:buNone/>
              <a:defRPr sz="2200" spc="40" baseline="0">
                <a:solidFill>
                  <a:schemeClr val="bg1"/>
                </a:solidFill>
              </a:defRPr>
            </a:lvl1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p:txBody>
      </p:sp>
      <p:sp>
        <p:nvSpPr>
          <p:cNvPr id="10" name="Text Placeholder 5">
            <a:extLst>
              <a:ext uri="{FF2B5EF4-FFF2-40B4-BE49-F238E27FC236}">
                <a16:creationId xmlns:a16="http://schemas.microsoft.com/office/drawing/2014/main" id="{CB601D8E-5667-925C-CEB0-C6CEE482EFEC}"/>
              </a:ext>
            </a:extLst>
          </p:cNvPr>
          <p:cNvSpPr>
            <a:spLocks noGrp="1"/>
          </p:cNvSpPr>
          <p:nvPr>
            <p:ph type="body" sz="quarter" idx="35" hasCustomPrompt="1"/>
          </p:nvPr>
        </p:nvSpPr>
        <p:spPr>
          <a:xfrm>
            <a:off x="5078544" y="2264400"/>
            <a:ext cx="2033413" cy="2033413"/>
          </a:xfrm>
          <a:prstGeom prst="ellipse">
            <a:avLst/>
          </a:prstGeom>
          <a:ln w="25400">
            <a:solidFill>
              <a:schemeClr val="bg1"/>
            </a:solidFill>
          </a:ln>
        </p:spPr>
        <p:txBody>
          <a:bodyPr lIns="108000" tIns="108000" rIns="108000" bIns="108000" anchor="ctr">
            <a:noAutofit/>
          </a:bodyPr>
          <a:lstStyle>
            <a:lvl1pPr marL="0" indent="0" algn="ctr">
              <a:lnSpc>
                <a:spcPct val="85000"/>
              </a:lnSpc>
              <a:spcBef>
                <a:spcPts val="0"/>
              </a:spcBef>
              <a:buNone/>
              <a:defRPr sz="2200" spc="40" baseline="0">
                <a:solidFill>
                  <a:schemeClr val="bg1"/>
                </a:solidFill>
              </a:defRPr>
            </a:lvl1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p:txBody>
      </p:sp>
      <p:sp>
        <p:nvSpPr>
          <p:cNvPr id="15" name="Text Placeholder 5">
            <a:extLst>
              <a:ext uri="{FF2B5EF4-FFF2-40B4-BE49-F238E27FC236}">
                <a16:creationId xmlns:a16="http://schemas.microsoft.com/office/drawing/2014/main" id="{1DE1F46A-BA79-042C-CE16-53C7ED07306C}"/>
              </a:ext>
            </a:extLst>
          </p:cNvPr>
          <p:cNvSpPr>
            <a:spLocks noGrp="1"/>
          </p:cNvSpPr>
          <p:nvPr>
            <p:ph type="body" sz="quarter" idx="36" hasCustomPrompt="1"/>
          </p:nvPr>
        </p:nvSpPr>
        <p:spPr>
          <a:xfrm>
            <a:off x="9581088" y="2264400"/>
            <a:ext cx="2033413" cy="2033413"/>
          </a:xfrm>
          <a:prstGeom prst="ellipse">
            <a:avLst/>
          </a:prstGeom>
          <a:ln w="25400">
            <a:solidFill>
              <a:schemeClr val="bg1"/>
            </a:solidFill>
          </a:ln>
        </p:spPr>
        <p:txBody>
          <a:bodyPr lIns="108000" tIns="108000" rIns="108000" bIns="108000" anchor="ctr">
            <a:noAutofit/>
          </a:bodyPr>
          <a:lstStyle>
            <a:lvl1pPr marL="0" indent="0" algn="ctr">
              <a:lnSpc>
                <a:spcPct val="85000"/>
              </a:lnSpc>
              <a:spcBef>
                <a:spcPts val="0"/>
              </a:spcBef>
              <a:buNone/>
              <a:defRPr sz="2200" spc="40" baseline="0">
                <a:solidFill>
                  <a:schemeClr val="bg1"/>
                </a:solidFill>
              </a:defRPr>
            </a:lvl1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p:txBody>
      </p:sp>
      <p:sp>
        <p:nvSpPr>
          <p:cNvPr id="17" name="Text Placeholder 5">
            <a:extLst>
              <a:ext uri="{FF2B5EF4-FFF2-40B4-BE49-F238E27FC236}">
                <a16:creationId xmlns:a16="http://schemas.microsoft.com/office/drawing/2014/main" id="{DAF0FA8E-D93F-245A-251E-62AB33667ED5}"/>
              </a:ext>
            </a:extLst>
          </p:cNvPr>
          <p:cNvSpPr>
            <a:spLocks noGrp="1"/>
          </p:cNvSpPr>
          <p:nvPr>
            <p:ph type="body" sz="quarter" idx="37" hasCustomPrompt="1"/>
          </p:nvPr>
        </p:nvSpPr>
        <p:spPr>
          <a:xfrm>
            <a:off x="7329816" y="2264400"/>
            <a:ext cx="2033413" cy="2033413"/>
          </a:xfrm>
          <a:prstGeom prst="ellipse">
            <a:avLst/>
          </a:prstGeom>
          <a:ln w="25400">
            <a:solidFill>
              <a:schemeClr val="bg1"/>
            </a:solidFill>
          </a:ln>
        </p:spPr>
        <p:txBody>
          <a:bodyPr lIns="108000" tIns="108000" rIns="108000" bIns="108000" anchor="ctr">
            <a:noAutofit/>
          </a:bodyPr>
          <a:lstStyle>
            <a:lvl1pPr marL="0" indent="0" algn="ctr">
              <a:lnSpc>
                <a:spcPct val="85000"/>
              </a:lnSpc>
              <a:spcBef>
                <a:spcPts val="0"/>
              </a:spcBef>
              <a:buNone/>
              <a:defRPr sz="2200" spc="40" baseline="0">
                <a:solidFill>
                  <a:schemeClr val="bg1"/>
                </a:solidFill>
              </a:defRPr>
            </a:lvl1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p:txBody>
      </p:sp>
      <p:sp>
        <p:nvSpPr>
          <p:cNvPr id="7" name="Logotype">
            <a:extLst>
              <a:ext uri="{FF2B5EF4-FFF2-40B4-BE49-F238E27FC236}">
                <a16:creationId xmlns:a16="http://schemas.microsoft.com/office/drawing/2014/main" id="{8469FB3D-0903-3CAD-3A92-73D77528970D}"/>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bg1"/>
          </a:solidFill>
          <a:ln w="6350" cap="flat">
            <a:noFill/>
            <a:prstDash val="solid"/>
            <a:miter/>
          </a:ln>
        </p:spPr>
        <p:txBody>
          <a:bodyPr wrap="square" rtlCol="0" anchor="ctr">
            <a:noAutofit/>
          </a:bodyPr>
          <a:lstStyle/>
          <a:p>
            <a:endParaRPr lang="en-US" noProof="0">
              <a:solidFill>
                <a:schemeClr val="tx2"/>
              </a:solidFill>
            </a:endParaRPr>
          </a:p>
        </p:txBody>
      </p:sp>
    </p:spTree>
    <p:extLst>
      <p:ext uri="{BB962C8B-B14F-4D97-AF65-F5344CB8AC3E}">
        <p14:creationId xmlns:p14="http://schemas.microsoft.com/office/powerpoint/2010/main" val="10039202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7 Stor bunntekst Blå">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1AC318-313F-A063-D5CC-51B6683A5A7E}"/>
              </a:ext>
            </a:extLst>
          </p:cNvPr>
          <p:cNvSpPr>
            <a:spLocks noGrp="1"/>
          </p:cNvSpPr>
          <p:nvPr>
            <p:ph type="title" hasCustomPrompt="1"/>
          </p:nvPr>
        </p:nvSpPr>
        <p:spPr>
          <a:xfrm>
            <a:off x="576000" y="1266031"/>
            <a:ext cx="7253550" cy="4325938"/>
          </a:xfrm>
        </p:spPr>
        <p:txBody>
          <a:bodyPr anchor="b"/>
          <a:lstStyle>
            <a:lvl1pPr>
              <a:lnSpc>
                <a:spcPct val="90000"/>
              </a:lnSpc>
              <a:defRPr sz="2800"/>
            </a:lvl1pPr>
          </a:lstStyle>
          <a:p>
            <a:r>
              <a:rPr lang="en-US" dirty="0" err="1"/>
              <a:t>Klikk</a:t>
            </a:r>
            <a:r>
              <a:rPr lang="en-US" dirty="0"/>
              <a:t> for å </a:t>
            </a:r>
            <a:r>
              <a:rPr lang="en-US" dirty="0" err="1"/>
              <a:t>legge</a:t>
            </a:r>
            <a:r>
              <a:rPr lang="en-US" dirty="0"/>
              <a:t> </a:t>
            </a:r>
            <a:r>
              <a:rPr lang="en-US" dirty="0" err="1"/>
              <a:t>til</a:t>
            </a:r>
            <a:r>
              <a:rPr lang="en-US" dirty="0"/>
              <a:t> </a:t>
            </a:r>
            <a:r>
              <a:rPr lang="en-US" dirty="0" err="1"/>
              <a:t>lengre</a:t>
            </a:r>
            <a:r>
              <a:rPr lang="en-US" dirty="0"/>
              <a:t> </a:t>
            </a:r>
            <a:r>
              <a:rPr lang="en-US" dirty="0" err="1"/>
              <a:t>og</a:t>
            </a:r>
            <a:r>
              <a:rPr lang="en-US" dirty="0"/>
              <a:t> </a:t>
            </a:r>
            <a:r>
              <a:rPr lang="en-US" dirty="0" err="1"/>
              <a:t>større</a:t>
            </a:r>
            <a:r>
              <a:rPr lang="en-US" dirty="0"/>
              <a:t> </a:t>
            </a:r>
            <a:r>
              <a:rPr lang="en-US" dirty="0" err="1"/>
              <a:t>tekst</a:t>
            </a:r>
            <a:endParaRPr lang="en-US" dirty="0"/>
          </a:p>
        </p:txBody>
      </p:sp>
      <p:sp>
        <p:nvSpPr>
          <p:cNvPr id="6" name="Logotype">
            <a:extLst>
              <a:ext uri="{FF2B5EF4-FFF2-40B4-BE49-F238E27FC236}">
                <a16:creationId xmlns:a16="http://schemas.microsoft.com/office/drawing/2014/main" id="{746A32DB-7581-83D7-A26C-02C675FBC8D0}"/>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7" name="Text Placeholder 7">
            <a:extLst>
              <a:ext uri="{FF2B5EF4-FFF2-40B4-BE49-F238E27FC236}">
                <a16:creationId xmlns:a16="http://schemas.microsoft.com/office/drawing/2014/main" id="{433C047A-1536-D827-B98D-C32B0E0CFAE8}"/>
              </a:ext>
            </a:extLst>
          </p:cNvPr>
          <p:cNvSpPr>
            <a:spLocks noGrp="1"/>
          </p:cNvSpPr>
          <p:nvPr>
            <p:ph type="body" sz="quarter" idx="25" hasCustomPrompt="1"/>
          </p:nvPr>
        </p:nvSpPr>
        <p:spPr>
          <a:xfrm>
            <a:off x="576262" y="291600"/>
            <a:ext cx="5180400" cy="180000"/>
          </a:xfrm>
        </p:spPr>
        <p:txBody>
          <a:bodyPr/>
          <a:lstStyle>
            <a:lvl1pPr marL="6350" indent="0">
              <a:buNone/>
              <a:defRPr sz="1200"/>
            </a:lvl1pPr>
          </a:lstStyle>
          <a:p>
            <a:pPr lvl="0"/>
            <a:r>
              <a:rPr lang="nb-NO" dirty="0"/>
              <a:t>Klikk for å legge til kapittel</a:t>
            </a:r>
            <a:endParaRPr lang="en-US" dirty="0"/>
          </a:p>
        </p:txBody>
      </p:sp>
    </p:spTree>
    <p:extLst>
      <p:ext uri="{BB962C8B-B14F-4D97-AF65-F5344CB8AC3E}">
        <p14:creationId xmlns:p14="http://schemas.microsoft.com/office/powerpoint/2010/main" val="1946748647"/>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7 Stor overskrift og tekst blå">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1C16E-B6AA-9F15-4D77-32D4F6008623}"/>
              </a:ext>
            </a:extLst>
          </p:cNvPr>
          <p:cNvSpPr>
            <a:spLocks noGrp="1"/>
          </p:cNvSpPr>
          <p:nvPr>
            <p:ph type="title" hasCustomPrompt="1"/>
          </p:nvPr>
        </p:nvSpPr>
        <p:spPr>
          <a:xfrm>
            <a:off x="576000" y="1753971"/>
            <a:ext cx="3487366" cy="4375367"/>
          </a:xfrm>
        </p:spPr>
        <p:txBody>
          <a:bodyPr/>
          <a:lstStyle>
            <a:lvl1pPr>
              <a:lnSpc>
                <a:spcPct val="90000"/>
              </a:lnSpc>
              <a:defRPr sz="6600"/>
            </a:lvl1pPr>
          </a:lstStyle>
          <a:p>
            <a:r>
              <a:rPr lang="en-US" dirty="0"/>
              <a:t>En </a:t>
            </a:r>
            <a:r>
              <a:rPr lang="en-US" dirty="0" err="1"/>
              <a:t>stor</a:t>
            </a:r>
            <a:r>
              <a:rPr lang="en-US" dirty="0"/>
              <a:t> </a:t>
            </a:r>
            <a:r>
              <a:rPr lang="en-US" dirty="0" err="1"/>
              <a:t>overskrift</a:t>
            </a:r>
            <a:endParaRPr lang="en-US" dirty="0"/>
          </a:p>
        </p:txBody>
      </p:sp>
      <p:sp>
        <p:nvSpPr>
          <p:cNvPr id="8" name="Text Placeholder 7">
            <a:extLst>
              <a:ext uri="{FF2B5EF4-FFF2-40B4-BE49-F238E27FC236}">
                <a16:creationId xmlns:a16="http://schemas.microsoft.com/office/drawing/2014/main" id="{C566EFEC-D35A-D370-3864-22A9C5FC374E}"/>
              </a:ext>
            </a:extLst>
          </p:cNvPr>
          <p:cNvSpPr>
            <a:spLocks noGrp="1"/>
          </p:cNvSpPr>
          <p:nvPr>
            <p:ph type="body" sz="quarter" idx="13" hasCustomPrompt="1"/>
          </p:nvPr>
        </p:nvSpPr>
        <p:spPr>
          <a:xfrm>
            <a:off x="4348162" y="1803400"/>
            <a:ext cx="7267576" cy="4325938"/>
          </a:xfrm>
        </p:spPr>
        <p:txBody>
          <a:bodyPr/>
          <a:lstStyle>
            <a:lvl1pPr marL="6350" indent="0">
              <a:buNone/>
              <a:defRPr sz="2400"/>
            </a:lvl1pPr>
            <a:lvl2pPr marL="180975" indent="0">
              <a:buNone/>
              <a:defRPr sz="2400"/>
            </a:lvl2pPr>
            <a:lvl3pPr marL="357188" indent="0">
              <a:buNone/>
              <a:defRPr sz="2400"/>
            </a:lvl3pPr>
            <a:lvl4pPr marL="539563" indent="0">
              <a:buNone/>
              <a:defRPr sz="2400"/>
            </a:lvl4pPr>
            <a:lvl5pPr marL="715962" indent="0">
              <a:buNone/>
              <a:defRPr sz="2400"/>
            </a:lvl5pPr>
          </a:lstStyle>
          <a:p>
            <a:pPr lvl="0"/>
            <a:r>
              <a:rPr lang="en-US" dirty="0" err="1"/>
              <a:t>Klikk</a:t>
            </a:r>
            <a:r>
              <a:rPr lang="en-US" dirty="0"/>
              <a:t> for å </a:t>
            </a:r>
            <a:r>
              <a:rPr lang="en-US" dirty="0" err="1"/>
              <a:t>legge</a:t>
            </a:r>
            <a:r>
              <a:rPr lang="en-US" dirty="0"/>
              <a:t> </a:t>
            </a:r>
            <a:r>
              <a:rPr lang="en-US" dirty="0" err="1"/>
              <a:t>til</a:t>
            </a:r>
            <a:r>
              <a:rPr lang="en-US" dirty="0"/>
              <a:t> </a:t>
            </a:r>
            <a:r>
              <a:rPr lang="en-US" dirty="0" err="1"/>
              <a:t>en</a:t>
            </a:r>
            <a:r>
              <a:rPr lang="en-US" dirty="0"/>
              <a:t> </a:t>
            </a:r>
            <a:r>
              <a:rPr lang="en-US" dirty="0" err="1"/>
              <a:t>lengre</a:t>
            </a:r>
            <a:r>
              <a:rPr lang="en-US" dirty="0"/>
              <a:t> </a:t>
            </a:r>
            <a:r>
              <a:rPr lang="en-US" dirty="0" err="1"/>
              <a:t>og</a:t>
            </a:r>
            <a:r>
              <a:rPr lang="en-US" dirty="0"/>
              <a:t> </a:t>
            </a:r>
            <a:r>
              <a:rPr lang="en-US" dirty="0" err="1"/>
              <a:t>større</a:t>
            </a:r>
            <a:r>
              <a:rPr lang="en-US" dirty="0"/>
              <a:t> </a:t>
            </a:r>
            <a:r>
              <a:rPr lang="en-US" dirty="0" err="1"/>
              <a:t>tekst</a:t>
            </a:r>
            <a:endParaRPr lang="en-US" dirty="0"/>
          </a:p>
        </p:txBody>
      </p:sp>
      <p:sp>
        <p:nvSpPr>
          <p:cNvPr id="9" name="Logotype">
            <a:extLst>
              <a:ext uri="{FF2B5EF4-FFF2-40B4-BE49-F238E27FC236}">
                <a16:creationId xmlns:a16="http://schemas.microsoft.com/office/drawing/2014/main" id="{259675FE-C264-3534-EB96-CA4E26397538}"/>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6" name="Text Placeholder 7">
            <a:extLst>
              <a:ext uri="{FF2B5EF4-FFF2-40B4-BE49-F238E27FC236}">
                <a16:creationId xmlns:a16="http://schemas.microsoft.com/office/drawing/2014/main" id="{F6698865-8F28-E119-256F-D361F6A16EA9}"/>
              </a:ext>
            </a:extLst>
          </p:cNvPr>
          <p:cNvSpPr>
            <a:spLocks noGrp="1"/>
          </p:cNvSpPr>
          <p:nvPr>
            <p:ph type="body" sz="quarter" idx="25" hasCustomPrompt="1"/>
          </p:nvPr>
        </p:nvSpPr>
        <p:spPr>
          <a:xfrm>
            <a:off x="576262" y="291600"/>
            <a:ext cx="5180400" cy="180000"/>
          </a:xfrm>
        </p:spPr>
        <p:txBody>
          <a:bodyPr/>
          <a:lstStyle>
            <a:lvl1pPr marL="6350" indent="0">
              <a:buNone/>
              <a:defRPr sz="1200"/>
            </a:lvl1pPr>
          </a:lstStyle>
          <a:p>
            <a:pPr lvl="0"/>
            <a:r>
              <a:rPr lang="nb-NO" dirty="0"/>
              <a:t>Klikk for å legge til kapittel</a:t>
            </a:r>
            <a:endParaRPr lang="en-US" dirty="0"/>
          </a:p>
        </p:txBody>
      </p:sp>
    </p:spTree>
    <p:extLst>
      <p:ext uri="{BB962C8B-B14F-4D97-AF65-F5344CB8AC3E}">
        <p14:creationId xmlns:p14="http://schemas.microsoft.com/office/powerpoint/2010/main" val="271120204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1178"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 Stor overskrift Grå">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1C16E-B6AA-9F15-4D77-32D4F6008623}"/>
              </a:ext>
            </a:extLst>
          </p:cNvPr>
          <p:cNvSpPr>
            <a:spLocks noGrp="1"/>
          </p:cNvSpPr>
          <p:nvPr>
            <p:ph type="title" hasCustomPrompt="1"/>
          </p:nvPr>
        </p:nvSpPr>
        <p:spPr>
          <a:xfrm>
            <a:off x="575999" y="1753200"/>
            <a:ext cx="5377125" cy="4376138"/>
          </a:xfrm>
        </p:spPr>
        <p:txBody>
          <a:bodyPr/>
          <a:lstStyle>
            <a:lvl1pPr>
              <a:lnSpc>
                <a:spcPct val="90000"/>
              </a:lnSpc>
              <a:defRPr sz="6000"/>
            </a:lvl1pPr>
          </a:lstStyle>
          <a:p>
            <a:r>
              <a:rPr lang="en-US" dirty="0"/>
              <a:t>En </a:t>
            </a:r>
            <a:r>
              <a:rPr lang="en-US" dirty="0" err="1"/>
              <a:t>stor</a:t>
            </a:r>
            <a:r>
              <a:rPr lang="en-US" dirty="0"/>
              <a:t> </a:t>
            </a:r>
            <a:r>
              <a:rPr lang="en-US" dirty="0" err="1"/>
              <a:t>overskrift</a:t>
            </a:r>
            <a:endParaRPr lang="en-US" dirty="0"/>
          </a:p>
        </p:txBody>
      </p:sp>
      <p:sp>
        <p:nvSpPr>
          <p:cNvPr id="9" name="Logotype">
            <a:extLst>
              <a:ext uri="{FF2B5EF4-FFF2-40B4-BE49-F238E27FC236}">
                <a16:creationId xmlns:a16="http://schemas.microsoft.com/office/drawing/2014/main" id="{259675FE-C264-3534-EB96-CA4E26397538}"/>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6" name="Text Placeholder 7">
            <a:extLst>
              <a:ext uri="{FF2B5EF4-FFF2-40B4-BE49-F238E27FC236}">
                <a16:creationId xmlns:a16="http://schemas.microsoft.com/office/drawing/2014/main" id="{D85E7B69-6D75-D34A-365D-829DBCA2B05C}"/>
              </a:ext>
            </a:extLst>
          </p:cNvPr>
          <p:cNvSpPr>
            <a:spLocks noGrp="1"/>
          </p:cNvSpPr>
          <p:nvPr>
            <p:ph type="body" sz="quarter" idx="25" hasCustomPrompt="1"/>
          </p:nvPr>
        </p:nvSpPr>
        <p:spPr>
          <a:xfrm>
            <a:off x="576262" y="291600"/>
            <a:ext cx="5180400" cy="180000"/>
          </a:xfrm>
        </p:spPr>
        <p:txBody>
          <a:bodyPr/>
          <a:lstStyle>
            <a:lvl1pPr marL="6350" indent="0">
              <a:buNone/>
              <a:defRPr sz="1200"/>
            </a:lvl1pPr>
          </a:lstStyle>
          <a:p>
            <a:pPr lvl="0"/>
            <a:r>
              <a:rPr lang="nb-NO" dirty="0"/>
              <a:t>Klikk for å legge til kapittel</a:t>
            </a:r>
            <a:endParaRPr lang="en-US" dirty="0"/>
          </a:p>
        </p:txBody>
      </p:sp>
    </p:spTree>
    <p:extLst>
      <p:ext uri="{BB962C8B-B14F-4D97-AF65-F5344CB8AC3E}">
        <p14:creationId xmlns:p14="http://schemas.microsoft.com/office/powerpoint/2010/main" val="25829549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 Tittel start bilde">
    <p:bg>
      <p:bgPr>
        <a:solidFill>
          <a:schemeClr val="bg1"/>
        </a:solidFill>
        <a:effectLst/>
      </p:bgPr>
    </p:bg>
    <p:spTree>
      <p:nvGrpSpPr>
        <p:cNvPr id="1" name=""/>
        <p:cNvGrpSpPr/>
        <p:nvPr/>
      </p:nvGrpSpPr>
      <p:grpSpPr>
        <a:xfrm>
          <a:off x="0" y="0"/>
          <a:ext cx="0" cy="0"/>
          <a:chOff x="0" y="0"/>
          <a:chExt cx="0" cy="0"/>
        </a:xfrm>
      </p:grpSpPr>
      <p:sp>
        <p:nvSpPr>
          <p:cNvPr id="16" name="Picture Placeholder 1">
            <a:extLst>
              <a:ext uri="{FF2B5EF4-FFF2-40B4-BE49-F238E27FC236}">
                <a16:creationId xmlns:a16="http://schemas.microsoft.com/office/drawing/2014/main" id="{65EEAE91-E57E-6747-89AA-18B1431204B2}"/>
              </a:ext>
            </a:extLst>
          </p:cNvPr>
          <p:cNvSpPr>
            <a:spLocks noGrp="1"/>
          </p:cNvSpPr>
          <p:nvPr>
            <p:ph type="pic" sz="quarter" idx="13" hasCustomPrompt="1"/>
          </p:nvPr>
        </p:nvSpPr>
        <p:spPr>
          <a:xfrm>
            <a:off x="3" y="3"/>
            <a:ext cx="12191998" cy="6857998"/>
          </a:xfrm>
          <a:custGeom>
            <a:avLst/>
            <a:gdLst>
              <a:gd name="connsiteX0" fmla="*/ 936965 w 12191998"/>
              <a:gd name="connsiteY0" fmla="*/ 389410 h 6857998"/>
              <a:gd name="connsiteX1" fmla="*/ 957275 w 12191998"/>
              <a:gd name="connsiteY1" fmla="*/ 449691 h 6857998"/>
              <a:gd name="connsiteX2" fmla="*/ 917304 w 12191998"/>
              <a:gd name="connsiteY2" fmla="*/ 449691 h 6857998"/>
              <a:gd name="connsiteX3" fmla="*/ 1553818 w 12191998"/>
              <a:gd name="connsiteY3" fmla="*/ 389410 h 6857998"/>
              <a:gd name="connsiteX4" fmla="*/ 1574127 w 12191998"/>
              <a:gd name="connsiteY4" fmla="*/ 449690 h 6857998"/>
              <a:gd name="connsiteX5" fmla="*/ 1534156 w 12191998"/>
              <a:gd name="connsiteY5" fmla="*/ 449690 h 6857998"/>
              <a:gd name="connsiteX6" fmla="*/ 1029007 w 12191998"/>
              <a:gd name="connsiteY6" fmla="*/ 356677 h 6857998"/>
              <a:gd name="connsiteX7" fmla="*/ 1029007 w 12191998"/>
              <a:gd name="connsiteY7" fmla="*/ 513753 h 6857998"/>
              <a:gd name="connsiteX8" fmla="*/ 1065413 w 12191998"/>
              <a:gd name="connsiteY8" fmla="*/ 513753 h 6857998"/>
              <a:gd name="connsiteX9" fmla="*/ 1065413 w 12191998"/>
              <a:gd name="connsiteY9" fmla="*/ 416850 h 6857998"/>
              <a:gd name="connsiteX10" fmla="*/ 1127963 w 12191998"/>
              <a:gd name="connsiteY10" fmla="*/ 513429 h 6857998"/>
              <a:gd name="connsiteX11" fmla="*/ 1127963 w 12191998"/>
              <a:gd name="connsiteY11" fmla="*/ 513753 h 6857998"/>
              <a:gd name="connsiteX12" fmla="*/ 1165665 w 12191998"/>
              <a:gd name="connsiteY12" fmla="*/ 513753 h 6857998"/>
              <a:gd name="connsiteX13" fmla="*/ 1165557 w 12191998"/>
              <a:gd name="connsiteY13" fmla="*/ 479831 h 6857998"/>
              <a:gd name="connsiteX14" fmla="*/ 1165341 w 12191998"/>
              <a:gd name="connsiteY14" fmla="*/ 356677 h 6857998"/>
              <a:gd name="connsiteX15" fmla="*/ 1129151 w 12191998"/>
              <a:gd name="connsiteY15" fmla="*/ 356677 h 6857998"/>
              <a:gd name="connsiteX16" fmla="*/ 1129151 w 12191998"/>
              <a:gd name="connsiteY16" fmla="*/ 455416 h 6857998"/>
              <a:gd name="connsiteX17" fmla="*/ 1066062 w 12191998"/>
              <a:gd name="connsiteY17" fmla="*/ 356677 h 6857998"/>
              <a:gd name="connsiteX18" fmla="*/ 913306 w 12191998"/>
              <a:gd name="connsiteY18" fmla="*/ 356677 h 6857998"/>
              <a:gd name="connsiteX19" fmla="*/ 858967 w 12191998"/>
              <a:gd name="connsiteY19" fmla="*/ 513753 h 6857998"/>
              <a:gd name="connsiteX20" fmla="*/ 897318 w 12191998"/>
              <a:gd name="connsiteY20" fmla="*/ 513753 h 6857998"/>
              <a:gd name="connsiteX21" fmla="*/ 907257 w 12191998"/>
              <a:gd name="connsiteY21" fmla="*/ 481668 h 6857998"/>
              <a:gd name="connsiteX22" fmla="*/ 967430 w 12191998"/>
              <a:gd name="connsiteY22" fmla="*/ 481668 h 6857998"/>
              <a:gd name="connsiteX23" fmla="*/ 977693 w 12191998"/>
              <a:gd name="connsiteY23" fmla="*/ 513753 h 6857998"/>
              <a:gd name="connsiteX24" fmla="*/ 1015503 w 12191998"/>
              <a:gd name="connsiteY24" fmla="*/ 513753 h 6857998"/>
              <a:gd name="connsiteX25" fmla="*/ 959543 w 12191998"/>
              <a:gd name="connsiteY25" fmla="*/ 356677 h 6857998"/>
              <a:gd name="connsiteX26" fmla="*/ 620219 w 12191998"/>
              <a:gd name="connsiteY26" fmla="*/ 356677 h 6857998"/>
              <a:gd name="connsiteX27" fmla="*/ 571498 w 12191998"/>
              <a:gd name="connsiteY27" fmla="*/ 404426 h 6857998"/>
              <a:gd name="connsiteX28" fmla="*/ 620219 w 12191998"/>
              <a:gd name="connsiteY28" fmla="*/ 450231 h 6857998"/>
              <a:gd name="connsiteX29" fmla="*/ 657382 w 12191998"/>
              <a:gd name="connsiteY29" fmla="*/ 450231 h 6857998"/>
              <a:gd name="connsiteX30" fmla="*/ 671534 w 12191998"/>
              <a:gd name="connsiteY30" fmla="*/ 464815 h 6857998"/>
              <a:gd name="connsiteX31" fmla="*/ 657382 w 12191998"/>
              <a:gd name="connsiteY31" fmla="*/ 479399 h 6857998"/>
              <a:gd name="connsiteX32" fmla="*/ 577764 w 12191998"/>
              <a:gd name="connsiteY32" fmla="*/ 479399 h 6857998"/>
              <a:gd name="connsiteX33" fmla="*/ 577764 w 12191998"/>
              <a:gd name="connsiteY33" fmla="*/ 513753 h 6857998"/>
              <a:gd name="connsiteX34" fmla="*/ 655977 w 12191998"/>
              <a:gd name="connsiteY34" fmla="*/ 513753 h 6857998"/>
              <a:gd name="connsiteX35" fmla="*/ 705347 w 12191998"/>
              <a:gd name="connsiteY35" fmla="*/ 464815 h 6857998"/>
              <a:gd name="connsiteX36" fmla="*/ 662999 w 12191998"/>
              <a:gd name="connsiteY36" fmla="*/ 419010 h 6857998"/>
              <a:gd name="connsiteX37" fmla="*/ 620219 w 12191998"/>
              <a:gd name="connsiteY37" fmla="*/ 419010 h 6857998"/>
              <a:gd name="connsiteX38" fmla="*/ 605419 w 12191998"/>
              <a:gd name="connsiteY38" fmla="*/ 404426 h 6857998"/>
              <a:gd name="connsiteX39" fmla="*/ 620219 w 12191998"/>
              <a:gd name="connsiteY39" fmla="*/ 389842 h 6857998"/>
              <a:gd name="connsiteX40" fmla="*/ 694436 w 12191998"/>
              <a:gd name="connsiteY40" fmla="*/ 389842 h 6857998"/>
              <a:gd name="connsiteX41" fmla="*/ 694436 w 12191998"/>
              <a:gd name="connsiteY41" fmla="*/ 356677 h 6857998"/>
              <a:gd name="connsiteX42" fmla="*/ 1530159 w 12191998"/>
              <a:gd name="connsiteY42" fmla="*/ 356676 h 6857998"/>
              <a:gd name="connsiteX43" fmla="*/ 1475928 w 12191998"/>
              <a:gd name="connsiteY43" fmla="*/ 513752 h 6857998"/>
              <a:gd name="connsiteX44" fmla="*/ 1514278 w 12191998"/>
              <a:gd name="connsiteY44" fmla="*/ 513752 h 6857998"/>
              <a:gd name="connsiteX45" fmla="*/ 1524217 w 12191998"/>
              <a:gd name="connsiteY45" fmla="*/ 481668 h 6857998"/>
              <a:gd name="connsiteX46" fmla="*/ 1584390 w 12191998"/>
              <a:gd name="connsiteY46" fmla="*/ 481668 h 6857998"/>
              <a:gd name="connsiteX47" fmla="*/ 1594653 w 12191998"/>
              <a:gd name="connsiteY47" fmla="*/ 513752 h 6857998"/>
              <a:gd name="connsiteX48" fmla="*/ 1632356 w 12191998"/>
              <a:gd name="connsiteY48" fmla="*/ 513752 h 6857998"/>
              <a:gd name="connsiteX49" fmla="*/ 1576396 w 12191998"/>
              <a:gd name="connsiteY49" fmla="*/ 356676 h 6857998"/>
              <a:gd name="connsiteX50" fmla="*/ 1236424 w 12191998"/>
              <a:gd name="connsiteY50" fmla="*/ 356676 h 6857998"/>
              <a:gd name="connsiteX51" fmla="*/ 1187702 w 12191998"/>
              <a:gd name="connsiteY51" fmla="*/ 404426 h 6857998"/>
              <a:gd name="connsiteX52" fmla="*/ 1236424 w 12191998"/>
              <a:gd name="connsiteY52" fmla="*/ 450231 h 6857998"/>
              <a:gd name="connsiteX53" fmla="*/ 1273587 w 12191998"/>
              <a:gd name="connsiteY53" fmla="*/ 450231 h 6857998"/>
              <a:gd name="connsiteX54" fmla="*/ 1287739 w 12191998"/>
              <a:gd name="connsiteY54" fmla="*/ 464815 h 6857998"/>
              <a:gd name="connsiteX55" fmla="*/ 1273587 w 12191998"/>
              <a:gd name="connsiteY55" fmla="*/ 479399 h 6857998"/>
              <a:gd name="connsiteX56" fmla="*/ 1194076 w 12191998"/>
              <a:gd name="connsiteY56" fmla="*/ 479399 h 6857998"/>
              <a:gd name="connsiteX57" fmla="*/ 1194076 w 12191998"/>
              <a:gd name="connsiteY57" fmla="*/ 513752 h 6857998"/>
              <a:gd name="connsiteX58" fmla="*/ 1272290 w 12191998"/>
              <a:gd name="connsiteY58" fmla="*/ 513752 h 6857998"/>
              <a:gd name="connsiteX59" fmla="*/ 1321660 w 12191998"/>
              <a:gd name="connsiteY59" fmla="*/ 464815 h 6857998"/>
              <a:gd name="connsiteX60" fmla="*/ 1279204 w 12191998"/>
              <a:gd name="connsiteY60" fmla="*/ 419010 h 6857998"/>
              <a:gd name="connsiteX61" fmla="*/ 1236424 w 12191998"/>
              <a:gd name="connsiteY61" fmla="*/ 419010 h 6857998"/>
              <a:gd name="connsiteX62" fmla="*/ 1221624 w 12191998"/>
              <a:gd name="connsiteY62" fmla="*/ 404426 h 6857998"/>
              <a:gd name="connsiteX63" fmla="*/ 1236424 w 12191998"/>
              <a:gd name="connsiteY63" fmla="*/ 389842 h 6857998"/>
              <a:gd name="connsiteX64" fmla="*/ 1310641 w 12191998"/>
              <a:gd name="connsiteY64" fmla="*/ 389842 h 6857998"/>
              <a:gd name="connsiteX65" fmla="*/ 1310641 w 12191998"/>
              <a:gd name="connsiteY65" fmla="*/ 356676 h 6857998"/>
              <a:gd name="connsiteX66" fmla="*/ 726522 w 12191998"/>
              <a:gd name="connsiteY66" fmla="*/ 356568 h 6857998"/>
              <a:gd name="connsiteX67" fmla="*/ 726522 w 12191998"/>
              <a:gd name="connsiteY67" fmla="*/ 513752 h 6857998"/>
              <a:gd name="connsiteX68" fmla="*/ 762712 w 12191998"/>
              <a:gd name="connsiteY68" fmla="*/ 513752 h 6857998"/>
              <a:gd name="connsiteX69" fmla="*/ 762712 w 12191998"/>
              <a:gd name="connsiteY69" fmla="*/ 447422 h 6857998"/>
              <a:gd name="connsiteX70" fmla="*/ 814351 w 12191998"/>
              <a:gd name="connsiteY70" fmla="*/ 513752 h 6857998"/>
              <a:gd name="connsiteX71" fmla="*/ 856699 w 12191998"/>
              <a:gd name="connsiteY71" fmla="*/ 513752 h 6857998"/>
              <a:gd name="connsiteX72" fmla="*/ 797174 w 12191998"/>
              <a:gd name="connsiteY72" fmla="*/ 435214 h 6857998"/>
              <a:gd name="connsiteX73" fmla="*/ 856699 w 12191998"/>
              <a:gd name="connsiteY73" fmla="*/ 356568 h 6857998"/>
              <a:gd name="connsiteX74" fmla="*/ 814351 w 12191998"/>
              <a:gd name="connsiteY74" fmla="*/ 356568 h 6857998"/>
              <a:gd name="connsiteX75" fmla="*/ 762712 w 12191998"/>
              <a:gd name="connsiteY75" fmla="*/ 422899 h 6857998"/>
              <a:gd name="connsiteX76" fmla="*/ 762712 w 12191998"/>
              <a:gd name="connsiteY76" fmla="*/ 356568 h 6857998"/>
              <a:gd name="connsiteX77" fmla="*/ 1343374 w 12191998"/>
              <a:gd name="connsiteY77" fmla="*/ 356568 h 6857998"/>
              <a:gd name="connsiteX78" fmla="*/ 1343374 w 12191998"/>
              <a:gd name="connsiteY78" fmla="*/ 513752 h 6857998"/>
              <a:gd name="connsiteX79" fmla="*/ 1379673 w 12191998"/>
              <a:gd name="connsiteY79" fmla="*/ 513752 h 6857998"/>
              <a:gd name="connsiteX80" fmla="*/ 1379673 w 12191998"/>
              <a:gd name="connsiteY80" fmla="*/ 447422 h 6857998"/>
              <a:gd name="connsiteX81" fmla="*/ 1431311 w 12191998"/>
              <a:gd name="connsiteY81" fmla="*/ 513752 h 6857998"/>
              <a:gd name="connsiteX82" fmla="*/ 1473551 w 12191998"/>
              <a:gd name="connsiteY82" fmla="*/ 513752 h 6857998"/>
              <a:gd name="connsiteX83" fmla="*/ 1414134 w 12191998"/>
              <a:gd name="connsiteY83" fmla="*/ 435214 h 6857998"/>
              <a:gd name="connsiteX84" fmla="*/ 1473551 w 12191998"/>
              <a:gd name="connsiteY84" fmla="*/ 356568 h 6857998"/>
              <a:gd name="connsiteX85" fmla="*/ 1431311 w 12191998"/>
              <a:gd name="connsiteY85" fmla="*/ 356568 h 6857998"/>
              <a:gd name="connsiteX86" fmla="*/ 1379673 w 12191998"/>
              <a:gd name="connsiteY86" fmla="*/ 422899 h 6857998"/>
              <a:gd name="connsiteX87" fmla="*/ 1379673 w 12191998"/>
              <a:gd name="connsiteY87" fmla="*/ 356568 h 6857998"/>
              <a:gd name="connsiteX88" fmla="*/ 0 w 12191998"/>
              <a:gd name="connsiteY88" fmla="*/ 0 h 6857998"/>
              <a:gd name="connsiteX89" fmla="*/ 12191998 w 12191998"/>
              <a:gd name="connsiteY89" fmla="*/ 0 h 6857998"/>
              <a:gd name="connsiteX90" fmla="*/ 12191998 w 12191998"/>
              <a:gd name="connsiteY90" fmla="*/ 6857998 h 6857998"/>
              <a:gd name="connsiteX91" fmla="*/ 0 w 12191998"/>
              <a:gd name="connsiteY91"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8" h="6857998">
                <a:moveTo>
                  <a:pt x="936965" y="389410"/>
                </a:moveTo>
                <a:lnTo>
                  <a:pt x="957275" y="449691"/>
                </a:lnTo>
                <a:lnTo>
                  <a:pt x="917304" y="449691"/>
                </a:lnTo>
                <a:close/>
                <a:moveTo>
                  <a:pt x="1553818" y="389410"/>
                </a:moveTo>
                <a:lnTo>
                  <a:pt x="1574127" y="449690"/>
                </a:lnTo>
                <a:lnTo>
                  <a:pt x="1534156" y="449690"/>
                </a:lnTo>
                <a:close/>
                <a:moveTo>
                  <a:pt x="1029007" y="356677"/>
                </a:moveTo>
                <a:lnTo>
                  <a:pt x="1029007" y="513753"/>
                </a:lnTo>
                <a:lnTo>
                  <a:pt x="1065413" y="513753"/>
                </a:lnTo>
                <a:lnTo>
                  <a:pt x="1065413" y="416850"/>
                </a:lnTo>
                <a:lnTo>
                  <a:pt x="1127963" y="513429"/>
                </a:lnTo>
                <a:lnTo>
                  <a:pt x="1127963" y="513753"/>
                </a:lnTo>
                <a:lnTo>
                  <a:pt x="1165665" y="513753"/>
                </a:lnTo>
                <a:lnTo>
                  <a:pt x="1165557" y="479831"/>
                </a:lnTo>
                <a:lnTo>
                  <a:pt x="1165341" y="356677"/>
                </a:lnTo>
                <a:lnTo>
                  <a:pt x="1129151" y="356677"/>
                </a:lnTo>
                <a:lnTo>
                  <a:pt x="1129151" y="455416"/>
                </a:lnTo>
                <a:lnTo>
                  <a:pt x="1066062" y="356677"/>
                </a:lnTo>
                <a:close/>
                <a:moveTo>
                  <a:pt x="913306" y="356677"/>
                </a:moveTo>
                <a:lnTo>
                  <a:pt x="858967" y="513753"/>
                </a:lnTo>
                <a:lnTo>
                  <a:pt x="897318" y="513753"/>
                </a:lnTo>
                <a:lnTo>
                  <a:pt x="907257" y="481668"/>
                </a:lnTo>
                <a:lnTo>
                  <a:pt x="967430" y="481668"/>
                </a:lnTo>
                <a:lnTo>
                  <a:pt x="977693" y="513753"/>
                </a:lnTo>
                <a:lnTo>
                  <a:pt x="1015503" y="513753"/>
                </a:lnTo>
                <a:lnTo>
                  <a:pt x="959543" y="356677"/>
                </a:lnTo>
                <a:close/>
                <a:moveTo>
                  <a:pt x="620219" y="356677"/>
                </a:moveTo>
                <a:cubicBezTo>
                  <a:pt x="589863" y="356677"/>
                  <a:pt x="571498" y="374393"/>
                  <a:pt x="571498" y="404426"/>
                </a:cubicBezTo>
                <a:cubicBezTo>
                  <a:pt x="571498" y="434458"/>
                  <a:pt x="592780" y="450231"/>
                  <a:pt x="620219" y="450231"/>
                </a:cubicBezTo>
                <a:lnTo>
                  <a:pt x="657382" y="450231"/>
                </a:lnTo>
                <a:cubicBezTo>
                  <a:pt x="666780" y="450231"/>
                  <a:pt x="671534" y="457361"/>
                  <a:pt x="671534" y="464815"/>
                </a:cubicBezTo>
                <a:cubicBezTo>
                  <a:pt x="671534" y="472485"/>
                  <a:pt x="666780" y="479399"/>
                  <a:pt x="657382" y="479399"/>
                </a:cubicBezTo>
                <a:lnTo>
                  <a:pt x="577764" y="479399"/>
                </a:lnTo>
                <a:lnTo>
                  <a:pt x="577764" y="513753"/>
                </a:lnTo>
                <a:lnTo>
                  <a:pt x="655977" y="513753"/>
                </a:lnTo>
                <a:cubicBezTo>
                  <a:pt x="686982" y="513753"/>
                  <a:pt x="705347" y="496684"/>
                  <a:pt x="705347" y="464815"/>
                </a:cubicBezTo>
                <a:cubicBezTo>
                  <a:pt x="705347" y="436079"/>
                  <a:pt x="686982" y="419010"/>
                  <a:pt x="662999" y="419010"/>
                </a:cubicBezTo>
                <a:lnTo>
                  <a:pt x="620219" y="419010"/>
                </a:lnTo>
                <a:cubicBezTo>
                  <a:pt x="610173" y="419010"/>
                  <a:pt x="605419" y="412096"/>
                  <a:pt x="605419" y="404426"/>
                </a:cubicBezTo>
                <a:cubicBezTo>
                  <a:pt x="605419" y="396756"/>
                  <a:pt x="610173" y="389842"/>
                  <a:pt x="620219" y="389842"/>
                </a:cubicBezTo>
                <a:lnTo>
                  <a:pt x="694436" y="389842"/>
                </a:lnTo>
                <a:lnTo>
                  <a:pt x="694436" y="356677"/>
                </a:lnTo>
                <a:close/>
                <a:moveTo>
                  <a:pt x="1530159" y="356676"/>
                </a:moveTo>
                <a:lnTo>
                  <a:pt x="1475928" y="513752"/>
                </a:lnTo>
                <a:lnTo>
                  <a:pt x="1514278" y="513752"/>
                </a:lnTo>
                <a:lnTo>
                  <a:pt x="1524217" y="481668"/>
                </a:lnTo>
                <a:lnTo>
                  <a:pt x="1584390" y="481668"/>
                </a:lnTo>
                <a:lnTo>
                  <a:pt x="1594653" y="513752"/>
                </a:lnTo>
                <a:lnTo>
                  <a:pt x="1632356" y="513752"/>
                </a:lnTo>
                <a:lnTo>
                  <a:pt x="1576396" y="356676"/>
                </a:lnTo>
                <a:close/>
                <a:moveTo>
                  <a:pt x="1236424" y="356676"/>
                </a:moveTo>
                <a:cubicBezTo>
                  <a:pt x="1206176" y="356676"/>
                  <a:pt x="1187702" y="374393"/>
                  <a:pt x="1187702" y="404426"/>
                </a:cubicBezTo>
                <a:cubicBezTo>
                  <a:pt x="1187702" y="434458"/>
                  <a:pt x="1208984" y="450231"/>
                  <a:pt x="1236424" y="450231"/>
                </a:cubicBezTo>
                <a:lnTo>
                  <a:pt x="1273587" y="450231"/>
                </a:lnTo>
                <a:cubicBezTo>
                  <a:pt x="1282985" y="450231"/>
                  <a:pt x="1287739" y="457360"/>
                  <a:pt x="1287739" y="464815"/>
                </a:cubicBezTo>
                <a:cubicBezTo>
                  <a:pt x="1287739" y="472485"/>
                  <a:pt x="1282985" y="479399"/>
                  <a:pt x="1273587" y="479399"/>
                </a:cubicBezTo>
                <a:lnTo>
                  <a:pt x="1194076" y="479399"/>
                </a:lnTo>
                <a:lnTo>
                  <a:pt x="1194076" y="513752"/>
                </a:lnTo>
                <a:lnTo>
                  <a:pt x="1272290" y="513752"/>
                </a:lnTo>
                <a:cubicBezTo>
                  <a:pt x="1303295" y="513752"/>
                  <a:pt x="1321660" y="496684"/>
                  <a:pt x="1321660" y="464815"/>
                </a:cubicBezTo>
                <a:cubicBezTo>
                  <a:pt x="1321660" y="436079"/>
                  <a:pt x="1303187" y="419010"/>
                  <a:pt x="1279204" y="419010"/>
                </a:cubicBezTo>
                <a:lnTo>
                  <a:pt x="1236424" y="419010"/>
                </a:lnTo>
                <a:cubicBezTo>
                  <a:pt x="1226377" y="419010"/>
                  <a:pt x="1221624" y="412096"/>
                  <a:pt x="1221624" y="404426"/>
                </a:cubicBezTo>
                <a:cubicBezTo>
                  <a:pt x="1221624" y="396756"/>
                  <a:pt x="1226377" y="389842"/>
                  <a:pt x="1236424" y="389842"/>
                </a:cubicBezTo>
                <a:lnTo>
                  <a:pt x="1310641" y="389842"/>
                </a:lnTo>
                <a:lnTo>
                  <a:pt x="1310641" y="356676"/>
                </a:lnTo>
                <a:close/>
                <a:moveTo>
                  <a:pt x="726522" y="356568"/>
                </a:moveTo>
                <a:lnTo>
                  <a:pt x="726522" y="513752"/>
                </a:lnTo>
                <a:lnTo>
                  <a:pt x="762712" y="513752"/>
                </a:lnTo>
                <a:lnTo>
                  <a:pt x="762712" y="447422"/>
                </a:lnTo>
                <a:lnTo>
                  <a:pt x="814351" y="513752"/>
                </a:lnTo>
                <a:lnTo>
                  <a:pt x="856699" y="513752"/>
                </a:lnTo>
                <a:lnTo>
                  <a:pt x="797174" y="435214"/>
                </a:lnTo>
                <a:lnTo>
                  <a:pt x="856699" y="356568"/>
                </a:lnTo>
                <a:lnTo>
                  <a:pt x="814351" y="356568"/>
                </a:lnTo>
                <a:lnTo>
                  <a:pt x="762712" y="422899"/>
                </a:lnTo>
                <a:lnTo>
                  <a:pt x="762712" y="356568"/>
                </a:lnTo>
                <a:close/>
                <a:moveTo>
                  <a:pt x="1343374" y="356568"/>
                </a:moveTo>
                <a:lnTo>
                  <a:pt x="1343374" y="513752"/>
                </a:lnTo>
                <a:lnTo>
                  <a:pt x="1379673" y="513752"/>
                </a:lnTo>
                <a:lnTo>
                  <a:pt x="1379673" y="447422"/>
                </a:lnTo>
                <a:lnTo>
                  <a:pt x="1431311" y="513752"/>
                </a:lnTo>
                <a:lnTo>
                  <a:pt x="1473551" y="513752"/>
                </a:lnTo>
                <a:lnTo>
                  <a:pt x="1414134" y="435214"/>
                </a:lnTo>
                <a:lnTo>
                  <a:pt x="1473551" y="356568"/>
                </a:lnTo>
                <a:lnTo>
                  <a:pt x="1431311" y="356568"/>
                </a:lnTo>
                <a:lnTo>
                  <a:pt x="1379673" y="422899"/>
                </a:lnTo>
                <a:lnTo>
                  <a:pt x="1379673" y="356568"/>
                </a:lnTo>
                <a:close/>
                <a:moveTo>
                  <a:pt x="0" y="0"/>
                </a:moveTo>
                <a:lnTo>
                  <a:pt x="12191998" y="0"/>
                </a:lnTo>
                <a:lnTo>
                  <a:pt x="12191998" y="6857998"/>
                </a:lnTo>
                <a:lnTo>
                  <a:pt x="0" y="6857998"/>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nb-NO" noProof="0" dirty="0"/>
              <a:t>Hvis bildeplassholderikonet er under tekstboksen, velger du den grå plassholderboksen og går deretter til «sett inn» i toppmenyen og legger til bilde. IKKE flytt tekstboksen!</a:t>
            </a:r>
            <a:endParaRPr lang="en-US" noProof="0" dirty="0"/>
          </a:p>
        </p:txBody>
      </p:sp>
      <p:sp>
        <p:nvSpPr>
          <p:cNvPr id="3" name="Title 2">
            <a:extLst>
              <a:ext uri="{FF2B5EF4-FFF2-40B4-BE49-F238E27FC236}">
                <a16:creationId xmlns:a16="http://schemas.microsoft.com/office/drawing/2014/main" id="{C3500BE8-0CEC-4C01-7DFF-0DA88A40D470}"/>
              </a:ext>
            </a:extLst>
          </p:cNvPr>
          <p:cNvSpPr>
            <a:spLocks noGrp="1"/>
          </p:cNvSpPr>
          <p:nvPr>
            <p:ph type="title" hasCustomPrompt="1"/>
          </p:nvPr>
        </p:nvSpPr>
        <p:spPr>
          <a:xfrm>
            <a:off x="575999" y="1845591"/>
            <a:ext cx="7378109" cy="1903912"/>
          </a:xfrm>
        </p:spPr>
        <p:txBody>
          <a:bodyPr anchor="b"/>
          <a:lstStyle>
            <a:lvl1pPr>
              <a:lnSpc>
                <a:spcPct val="85000"/>
              </a:lnSpc>
              <a:defRPr sz="4200" spc="40" baseline="0">
                <a:solidFill>
                  <a:schemeClr val="bg1"/>
                </a:solidFill>
              </a:defRPr>
            </a:lvl1pPr>
          </a:lstStyle>
          <a:p>
            <a:r>
              <a:rPr lang="nb-NO" dirty="0"/>
              <a:t>Klikk for å legge til en overskrift på maksimalt to linjer</a:t>
            </a:r>
            <a:endParaRPr lang="en-US" dirty="0"/>
          </a:p>
        </p:txBody>
      </p:sp>
      <p:sp>
        <p:nvSpPr>
          <p:cNvPr id="15" name="Text Placeholder 3">
            <a:extLst>
              <a:ext uri="{FF2B5EF4-FFF2-40B4-BE49-F238E27FC236}">
                <a16:creationId xmlns:a16="http://schemas.microsoft.com/office/drawing/2014/main" id="{4ADADDBC-B851-244D-89BA-2589CA8A6CD4}"/>
              </a:ext>
            </a:extLst>
          </p:cNvPr>
          <p:cNvSpPr>
            <a:spLocks noGrp="1"/>
          </p:cNvSpPr>
          <p:nvPr>
            <p:ph type="body" sz="quarter" idx="15" hasCustomPrompt="1"/>
          </p:nvPr>
        </p:nvSpPr>
        <p:spPr>
          <a:xfrm>
            <a:off x="576000" y="3915585"/>
            <a:ext cx="3773171" cy="646331"/>
          </a:xfrm>
          <a:prstGeom prst="rect">
            <a:avLst/>
          </a:prstGeom>
        </p:spPr>
        <p:txBody>
          <a:bodyPr anchor="t">
            <a:noAutofit/>
          </a:bodyPr>
          <a:lstStyle>
            <a:lvl1pPr marL="0" indent="0">
              <a:lnSpc>
                <a:spcPct val="100000"/>
              </a:lnSpc>
              <a:spcBef>
                <a:spcPts val="0"/>
              </a:spcBef>
              <a:buNone/>
              <a:defRPr sz="1400" spc="70" baseline="0">
                <a:solidFill>
                  <a:schemeClr val="bg1"/>
                </a:solidFill>
              </a:defRPr>
            </a:lvl1pPr>
          </a:lstStyle>
          <a:p>
            <a:pPr lvl="0"/>
            <a:r>
              <a:rPr lang="nb-NO" dirty="0"/>
              <a:t>Klikk for å legge til navn, tittel, Forretningsenhet og dato</a:t>
            </a:r>
            <a:endParaRPr lang="en-GB" dirty="0"/>
          </a:p>
        </p:txBody>
      </p:sp>
      <p:sp>
        <p:nvSpPr>
          <p:cNvPr id="19" name="Project Text Placeholder 7">
            <a:extLst>
              <a:ext uri="{FF2B5EF4-FFF2-40B4-BE49-F238E27FC236}">
                <a16:creationId xmlns:a16="http://schemas.microsoft.com/office/drawing/2014/main" id="{781C0485-B54D-504A-8E1C-DA7CC3C0FF1B}"/>
              </a:ext>
            </a:extLst>
          </p:cNvPr>
          <p:cNvSpPr>
            <a:spLocks noGrp="1"/>
          </p:cNvSpPr>
          <p:nvPr>
            <p:ph type="body" sz="quarter" idx="16" hasCustomPrompt="1"/>
          </p:nvPr>
        </p:nvSpPr>
        <p:spPr>
          <a:xfrm rot="5400000">
            <a:off x="9788686" y="1916687"/>
            <a:ext cx="4320000"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grpSp>
        <p:nvGrpSpPr>
          <p:cNvPr id="2" name="Instructions">
            <a:extLst>
              <a:ext uri="{FF2B5EF4-FFF2-40B4-BE49-F238E27FC236}">
                <a16:creationId xmlns:a16="http://schemas.microsoft.com/office/drawing/2014/main" id="{638BAAD7-33E8-98AE-D352-06CBA7AF7151}"/>
              </a:ext>
            </a:extLst>
          </p:cNvPr>
          <p:cNvGrpSpPr/>
          <p:nvPr userDrawn="1"/>
        </p:nvGrpSpPr>
        <p:grpSpPr>
          <a:xfrm>
            <a:off x="12395260" y="-12189"/>
            <a:ext cx="1681523" cy="2112003"/>
            <a:chOff x="12395260" y="-12189"/>
            <a:chExt cx="1681523" cy="2112003"/>
          </a:xfrm>
        </p:grpSpPr>
        <p:sp>
          <p:nvSpPr>
            <p:cNvPr id="8" name="textruta 5">
              <a:extLst>
                <a:ext uri="{FF2B5EF4-FFF2-40B4-BE49-F238E27FC236}">
                  <a16:creationId xmlns:a16="http://schemas.microsoft.com/office/drawing/2014/main" id="{51D675F3-1889-4447-B0F4-FBE407433188}"/>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018DEEF0-DD94-5249-9246-FD6718231BD2}"/>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dirty="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dirty="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dirty="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dirty="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dirty="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dirty="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dirty="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dirty="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0C1C4400-D3B5-244D-A4E9-12F13E258CD7}"/>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862FDDFE-BBE6-8844-9178-35DB0AD8FE9D}"/>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Tree>
    <p:extLst>
      <p:ext uri="{BB962C8B-B14F-4D97-AF65-F5344CB8AC3E}">
        <p14:creationId xmlns:p14="http://schemas.microsoft.com/office/powerpoint/2010/main" val="40867804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 Stor tekst og fullstendig bilde">
    <p:spTree>
      <p:nvGrpSpPr>
        <p:cNvPr id="1" name=""/>
        <p:cNvGrpSpPr/>
        <p:nvPr/>
      </p:nvGrpSpPr>
      <p:grpSpPr>
        <a:xfrm>
          <a:off x="0" y="0"/>
          <a:ext cx="0" cy="0"/>
          <a:chOff x="0" y="0"/>
          <a:chExt cx="0" cy="0"/>
        </a:xfrm>
      </p:grpSpPr>
      <p:sp>
        <p:nvSpPr>
          <p:cNvPr id="9" name="Picture Placeholder 1">
            <a:extLst>
              <a:ext uri="{FF2B5EF4-FFF2-40B4-BE49-F238E27FC236}">
                <a16:creationId xmlns:a16="http://schemas.microsoft.com/office/drawing/2014/main" id="{570A3F39-99A8-7054-79DC-0DFED83907DA}"/>
              </a:ext>
            </a:extLst>
          </p:cNvPr>
          <p:cNvSpPr>
            <a:spLocks noGrp="1"/>
          </p:cNvSpPr>
          <p:nvPr>
            <p:ph type="pic" sz="quarter" idx="14"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nb-NO" noProof="0" dirty="0"/>
              <a:t>Hvis bildeplassholderikonet er under tekstboksen, velger du den grå plassholderboksen og går deretter til «Sett inn» i toppmenyen og legger til bilde. IKKE flytt tekstboksen!</a:t>
            </a:r>
            <a:endParaRPr lang="en-US" noProof="0" dirty="0"/>
          </a:p>
        </p:txBody>
      </p:sp>
      <p:sp>
        <p:nvSpPr>
          <p:cNvPr id="2" name="Title 1">
            <a:extLst>
              <a:ext uri="{FF2B5EF4-FFF2-40B4-BE49-F238E27FC236}">
                <a16:creationId xmlns:a16="http://schemas.microsoft.com/office/drawing/2014/main" id="{8891C16E-B6AA-9F15-4D77-32D4F6008623}"/>
              </a:ext>
            </a:extLst>
          </p:cNvPr>
          <p:cNvSpPr>
            <a:spLocks noGrp="1"/>
          </p:cNvSpPr>
          <p:nvPr>
            <p:ph type="title" hasCustomPrompt="1"/>
          </p:nvPr>
        </p:nvSpPr>
        <p:spPr>
          <a:xfrm>
            <a:off x="575999" y="641900"/>
            <a:ext cx="5377125" cy="1845007"/>
          </a:xfrm>
        </p:spPr>
        <p:txBody>
          <a:bodyPr/>
          <a:lstStyle>
            <a:lvl1pPr>
              <a:lnSpc>
                <a:spcPct val="90000"/>
              </a:lnSpc>
              <a:defRPr sz="7000">
                <a:solidFill>
                  <a:schemeClr val="bg1"/>
                </a:solidFill>
              </a:defRPr>
            </a:lvl1pPr>
          </a:lstStyle>
          <a:p>
            <a:r>
              <a:rPr lang="en-US" dirty="0"/>
              <a:t>En </a:t>
            </a:r>
            <a:r>
              <a:rPr lang="en-US" dirty="0" err="1"/>
              <a:t>stor</a:t>
            </a:r>
            <a:r>
              <a:rPr lang="en-US" dirty="0"/>
              <a:t> </a:t>
            </a:r>
            <a:r>
              <a:rPr lang="en-US" dirty="0" err="1"/>
              <a:t>overskrift</a:t>
            </a:r>
            <a:endParaRPr lang="en-US" dirty="0"/>
          </a:p>
        </p:txBody>
      </p:sp>
      <p:sp>
        <p:nvSpPr>
          <p:cNvPr id="8" name="Text Placeholder 7">
            <a:extLst>
              <a:ext uri="{FF2B5EF4-FFF2-40B4-BE49-F238E27FC236}">
                <a16:creationId xmlns:a16="http://schemas.microsoft.com/office/drawing/2014/main" id="{C566EFEC-D35A-D370-3864-22A9C5FC374E}"/>
              </a:ext>
            </a:extLst>
          </p:cNvPr>
          <p:cNvSpPr>
            <a:spLocks noGrp="1"/>
          </p:cNvSpPr>
          <p:nvPr>
            <p:ph type="body" sz="quarter" idx="13" hasCustomPrompt="1"/>
          </p:nvPr>
        </p:nvSpPr>
        <p:spPr>
          <a:xfrm>
            <a:off x="575999" y="2909500"/>
            <a:ext cx="5377126" cy="3219838"/>
          </a:xfrm>
        </p:spPr>
        <p:txBody>
          <a:bodyPr/>
          <a:lstStyle>
            <a:lvl1pPr marL="6350" indent="0">
              <a:buNone/>
              <a:defRPr sz="2400">
                <a:solidFill>
                  <a:schemeClr val="bg1"/>
                </a:solidFill>
              </a:defRPr>
            </a:lvl1pPr>
            <a:lvl2pPr marL="180975" indent="0">
              <a:buNone/>
              <a:defRPr sz="2400"/>
            </a:lvl2pPr>
            <a:lvl3pPr marL="357188" indent="0">
              <a:buNone/>
              <a:defRPr sz="2400"/>
            </a:lvl3pPr>
            <a:lvl4pPr marL="539563" indent="0">
              <a:buNone/>
              <a:defRPr sz="2400"/>
            </a:lvl4pPr>
            <a:lvl5pPr marL="715962" indent="0">
              <a:buNone/>
              <a:defRPr sz="2400"/>
            </a:lvl5pPr>
          </a:lstStyle>
          <a:p>
            <a:pPr lvl="0"/>
            <a:r>
              <a:rPr lang="en-US" dirty="0" err="1"/>
              <a:t>Klikk</a:t>
            </a:r>
            <a:r>
              <a:rPr lang="en-US" dirty="0"/>
              <a:t> for å </a:t>
            </a:r>
            <a:r>
              <a:rPr lang="en-US" dirty="0" err="1"/>
              <a:t>legge</a:t>
            </a:r>
            <a:r>
              <a:rPr lang="en-US" dirty="0"/>
              <a:t> </a:t>
            </a:r>
            <a:r>
              <a:rPr lang="en-US" dirty="0" err="1"/>
              <a:t>til</a:t>
            </a:r>
            <a:r>
              <a:rPr lang="en-US" dirty="0"/>
              <a:t> </a:t>
            </a:r>
            <a:r>
              <a:rPr lang="en-US" dirty="0" err="1"/>
              <a:t>en</a:t>
            </a:r>
            <a:r>
              <a:rPr lang="en-US" dirty="0"/>
              <a:t> </a:t>
            </a:r>
            <a:r>
              <a:rPr lang="en-US" dirty="0" err="1"/>
              <a:t>lengre</a:t>
            </a:r>
            <a:r>
              <a:rPr lang="en-US" dirty="0"/>
              <a:t> </a:t>
            </a:r>
            <a:r>
              <a:rPr lang="en-US" dirty="0" err="1"/>
              <a:t>og</a:t>
            </a:r>
            <a:r>
              <a:rPr lang="en-US" dirty="0"/>
              <a:t> </a:t>
            </a:r>
            <a:r>
              <a:rPr lang="en-US" dirty="0" err="1"/>
              <a:t>større</a:t>
            </a:r>
            <a:r>
              <a:rPr lang="en-US" dirty="0"/>
              <a:t> </a:t>
            </a:r>
            <a:r>
              <a:rPr lang="en-US" dirty="0" err="1"/>
              <a:t>tekst</a:t>
            </a:r>
            <a:endParaRPr lang="en-US" dirty="0"/>
          </a:p>
        </p:txBody>
      </p:sp>
      <p:sp>
        <p:nvSpPr>
          <p:cNvPr id="10" name="Project Text Placeholder 4">
            <a:extLst>
              <a:ext uri="{FF2B5EF4-FFF2-40B4-BE49-F238E27FC236}">
                <a16:creationId xmlns:a16="http://schemas.microsoft.com/office/drawing/2014/main" id="{4EC4F75A-EA33-EA2F-3924-9D8B616EAF3E}"/>
              </a:ext>
            </a:extLst>
          </p:cNvPr>
          <p:cNvSpPr>
            <a:spLocks noGrp="1"/>
          </p:cNvSpPr>
          <p:nvPr>
            <p:ph type="body" sz="quarter" idx="20" hasCustomPrompt="1"/>
          </p:nvPr>
        </p:nvSpPr>
        <p:spPr>
          <a:xfrm rot="5400000">
            <a:off x="9788686" y="1916687"/>
            <a:ext cx="4320000"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grpSp>
        <p:nvGrpSpPr>
          <p:cNvPr id="11" name="Instructions">
            <a:extLst>
              <a:ext uri="{FF2B5EF4-FFF2-40B4-BE49-F238E27FC236}">
                <a16:creationId xmlns:a16="http://schemas.microsoft.com/office/drawing/2014/main" id="{C6D5D63B-08CC-8F75-441D-DD983DA2B6BC}"/>
              </a:ext>
            </a:extLst>
          </p:cNvPr>
          <p:cNvGrpSpPr/>
          <p:nvPr userDrawn="1"/>
        </p:nvGrpSpPr>
        <p:grpSpPr>
          <a:xfrm>
            <a:off x="12395260" y="-12189"/>
            <a:ext cx="1681523" cy="2112003"/>
            <a:chOff x="12395260" y="-12189"/>
            <a:chExt cx="1681523" cy="2112003"/>
          </a:xfrm>
        </p:grpSpPr>
        <p:sp>
          <p:nvSpPr>
            <p:cNvPr id="12" name="textruta 5">
              <a:extLst>
                <a:ext uri="{FF2B5EF4-FFF2-40B4-BE49-F238E27FC236}">
                  <a16:creationId xmlns:a16="http://schemas.microsoft.com/office/drawing/2014/main" id="{5D6B9751-C59D-F48B-2BD4-2341C50ED292}"/>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GB" sz="900" baseline="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GB" sz="900" b="1" baseline="0">
                  <a:solidFill>
                    <a:schemeClr val="tx1">
                      <a:lumMod val="65000"/>
                      <a:lumOff val="35000"/>
                    </a:schemeClr>
                  </a:solidFill>
                  <a:latin typeface="Arial" panose="020B0604020202020204" pitchFamily="34" charset="0"/>
                  <a:cs typeface="Arial" panose="020B0604020202020204" pitchFamily="34" charset="0"/>
                </a:rPr>
                <a:t>right click the image </a:t>
              </a:r>
              <a:r>
                <a:rPr lang="en-GB" sz="900" baseline="0">
                  <a:solidFill>
                    <a:schemeClr val="tx1">
                      <a:lumMod val="65000"/>
                      <a:lumOff val="35000"/>
                    </a:schemeClr>
                  </a:solidFill>
                  <a:latin typeface="Arial" panose="020B0604020202020204" pitchFamily="34" charset="0"/>
                  <a:cs typeface="Arial" panose="020B0604020202020204" pitchFamily="34" charset="0"/>
                </a:rPr>
                <a:t>and use – </a:t>
              </a:r>
              <a:r>
                <a:rPr lang="en-GB" sz="900" b="1">
                  <a:solidFill>
                    <a:schemeClr val="tx1">
                      <a:lumMod val="65000"/>
                      <a:lumOff val="35000"/>
                    </a:schemeClr>
                  </a:solidFill>
                  <a:latin typeface="Arial" panose="020B0604020202020204" pitchFamily="34" charset="0"/>
                  <a:cs typeface="Arial" panose="020B0604020202020204" pitchFamily="34" charset="0"/>
                </a:rPr>
                <a:t>S</a:t>
              </a:r>
              <a:r>
                <a:rPr lang="en-GB" sz="900" b="1" baseline="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3" name="textruta 6">
              <a:extLst>
                <a:ext uri="{FF2B5EF4-FFF2-40B4-BE49-F238E27FC236}">
                  <a16:creationId xmlns:a16="http://schemas.microsoft.com/office/drawing/2014/main" id="{B12A08CC-CA94-6D84-6734-627CAB534D33}"/>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GB" sz="900" baseline="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GB" sz="900" b="1" baseline="0">
                  <a:solidFill>
                    <a:schemeClr val="tx1">
                      <a:lumMod val="65000"/>
                      <a:lumOff val="35000"/>
                    </a:schemeClr>
                  </a:solidFill>
                  <a:latin typeface="Arial" panose="020B0604020202020204" pitchFamily="34" charset="0"/>
                  <a:cs typeface="Arial" panose="020B0604020202020204" pitchFamily="34" charset="0"/>
                </a:rPr>
                <a:t>Format Background </a:t>
              </a:r>
              <a:r>
                <a:rPr lang="en-GB" sz="900" baseline="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GB" sz="900" b="1" baseline="0">
                  <a:solidFill>
                    <a:schemeClr val="tx1">
                      <a:lumMod val="65000"/>
                      <a:lumOff val="35000"/>
                    </a:schemeClr>
                  </a:solidFill>
                  <a:latin typeface="Arial" panose="020B0604020202020204" pitchFamily="34" charset="0"/>
                  <a:cs typeface="Arial" panose="020B0604020202020204" pitchFamily="34" charset="0"/>
                </a:rPr>
                <a:t>Solid fill</a:t>
              </a:r>
              <a:r>
                <a:rPr lang="en-GB" sz="900" baseline="0">
                  <a:solidFill>
                    <a:schemeClr val="tx1">
                      <a:lumMod val="65000"/>
                      <a:lumOff val="35000"/>
                    </a:schemeClr>
                  </a:solidFill>
                  <a:latin typeface="Arial" panose="020B0604020202020204" pitchFamily="34" charset="0"/>
                  <a:cs typeface="Arial" panose="020B0604020202020204" pitchFamily="34" charset="0"/>
                </a:rPr>
                <a:t> – </a:t>
              </a:r>
              <a:r>
                <a:rPr lang="en-GB" sz="900" b="1" baseline="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GB" sz="900" baseline="0">
                <a:solidFill>
                  <a:schemeClr val="tx1">
                    <a:lumMod val="65000"/>
                    <a:lumOff val="35000"/>
                  </a:schemeClr>
                </a:solidFill>
                <a:latin typeface="Arial" panose="020B0604020202020204" pitchFamily="34" charset="0"/>
                <a:cs typeface="Arial" panose="020B0604020202020204" pitchFamily="34" charset="0"/>
              </a:endParaRPr>
            </a:p>
            <a:p>
              <a:pPr algn="ctr"/>
              <a:endParaRPr lang="en-GB" sz="900" baseline="0">
                <a:solidFill>
                  <a:schemeClr val="tx1">
                    <a:lumMod val="65000"/>
                    <a:lumOff val="35000"/>
                  </a:schemeClr>
                </a:solidFill>
                <a:latin typeface="Arial" panose="020B0604020202020204" pitchFamily="34" charset="0"/>
                <a:cs typeface="Arial" panose="020B0604020202020204" pitchFamily="34" charset="0"/>
              </a:endParaRPr>
            </a:p>
            <a:p>
              <a:pPr algn="ctr"/>
              <a:endParaRPr lang="en-GB" sz="900" baseline="0">
                <a:solidFill>
                  <a:schemeClr val="tx1">
                    <a:lumMod val="65000"/>
                    <a:lumOff val="35000"/>
                  </a:schemeClr>
                </a:solidFill>
                <a:latin typeface="Arial" panose="020B0604020202020204" pitchFamily="34" charset="0"/>
                <a:cs typeface="Arial" panose="020B0604020202020204" pitchFamily="34" charset="0"/>
              </a:endParaRPr>
            </a:p>
          </p:txBody>
        </p:sp>
        <p:sp>
          <p:nvSpPr>
            <p:cNvPr id="14" name="Rektangel 7">
              <a:extLst>
                <a:ext uri="{FF2B5EF4-FFF2-40B4-BE49-F238E27FC236}">
                  <a16:creationId xmlns:a16="http://schemas.microsoft.com/office/drawing/2014/main" id="{7AB9331A-D9E3-6042-CE8B-F17891A02B5C}"/>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ktangel 8">
              <a:extLst>
                <a:ext uri="{FF2B5EF4-FFF2-40B4-BE49-F238E27FC236}">
                  <a16:creationId xmlns:a16="http://schemas.microsoft.com/office/drawing/2014/main" id="{5E817229-123E-2088-4BC1-CED6B6258644}"/>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6" name="Text Placeholder 7">
            <a:extLst>
              <a:ext uri="{FF2B5EF4-FFF2-40B4-BE49-F238E27FC236}">
                <a16:creationId xmlns:a16="http://schemas.microsoft.com/office/drawing/2014/main" id="{CE337E95-0925-4132-F4A4-C574FBECBCC3}"/>
              </a:ext>
            </a:extLst>
          </p:cNvPr>
          <p:cNvSpPr>
            <a:spLocks noGrp="1"/>
          </p:cNvSpPr>
          <p:nvPr>
            <p:ph type="body" sz="quarter" idx="25" hasCustomPrompt="1"/>
          </p:nvPr>
        </p:nvSpPr>
        <p:spPr>
          <a:xfrm>
            <a:off x="576262" y="291600"/>
            <a:ext cx="5376862" cy="180000"/>
          </a:xfrm>
        </p:spPr>
        <p:txBody>
          <a:bodyPr/>
          <a:lstStyle>
            <a:lvl1pPr marL="6350" indent="0">
              <a:buNone/>
              <a:defRPr sz="1200">
                <a:solidFill>
                  <a:schemeClr val="bg1"/>
                </a:solidFill>
              </a:defRPr>
            </a:lvl1pPr>
          </a:lstStyle>
          <a:p>
            <a:pPr lvl="0"/>
            <a:r>
              <a:rPr lang="nb-NO" dirty="0"/>
              <a:t>Klikk for å legge til kapittel</a:t>
            </a:r>
            <a:endParaRPr lang="en-US" dirty="0"/>
          </a:p>
        </p:txBody>
      </p:sp>
    </p:spTree>
    <p:extLst>
      <p:ext uri="{BB962C8B-B14F-4D97-AF65-F5344CB8AC3E}">
        <p14:creationId xmlns:p14="http://schemas.microsoft.com/office/powerpoint/2010/main" val="152310336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 Overskrift og fullt bilde med prosent">
    <p:bg>
      <p:bgPr>
        <a:solidFill>
          <a:schemeClr val="tx2"/>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544DF57-7764-0643-BBD9-8E9A5BB6A5C0}"/>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accent1"/>
                </a:solidFill>
              </a:defRPr>
            </a:lvl1pPr>
          </a:lstStyle>
          <a:p>
            <a:r>
              <a:rPr lang="nb-NO" noProof="0" dirty="0"/>
              <a:t>Klikk på ikonet for å legge til et bilde</a:t>
            </a:r>
            <a:endParaRPr lang="en-US" noProof="0" dirty="0"/>
          </a:p>
        </p:txBody>
      </p:sp>
      <p:sp>
        <p:nvSpPr>
          <p:cNvPr id="7" name="Text Placeholder 6">
            <a:extLst>
              <a:ext uri="{FF2B5EF4-FFF2-40B4-BE49-F238E27FC236}">
                <a16:creationId xmlns:a16="http://schemas.microsoft.com/office/drawing/2014/main" id="{53EC9915-54A7-B3D1-F30C-6C4539AAF997}"/>
              </a:ext>
            </a:extLst>
          </p:cNvPr>
          <p:cNvSpPr>
            <a:spLocks noGrp="1"/>
          </p:cNvSpPr>
          <p:nvPr>
            <p:ph type="body" sz="quarter" idx="42" hasCustomPrompt="1"/>
          </p:nvPr>
        </p:nvSpPr>
        <p:spPr>
          <a:xfrm>
            <a:off x="576000" y="1259681"/>
            <a:ext cx="5377125" cy="4338638"/>
          </a:xfrm>
        </p:spPr>
        <p:txBody>
          <a:bodyPr anchor="ctr"/>
          <a:lstStyle>
            <a:lvl1pPr marL="6350" indent="0">
              <a:buNone/>
              <a:defRPr sz="9600"/>
            </a:lvl1pPr>
            <a:lvl2pPr marL="0" indent="0">
              <a:buNone/>
              <a:tabLst/>
              <a:defRPr sz="3600"/>
            </a:lvl2pPr>
            <a:lvl3pPr marL="0" indent="0">
              <a:spcBef>
                <a:spcPts val="2000"/>
              </a:spcBef>
              <a:buNone/>
              <a:tabLst/>
              <a:defRPr sz="1100"/>
            </a:lvl3pPr>
          </a:lstStyle>
          <a:p>
            <a:pPr lvl="0"/>
            <a:r>
              <a:rPr lang="en-US" dirty="0"/>
              <a:t>XX%</a:t>
            </a:r>
          </a:p>
          <a:p>
            <a:pPr lvl="1"/>
            <a:r>
              <a:rPr lang="en-US" dirty="0"/>
              <a:t>Andre </a:t>
            </a:r>
            <a:r>
              <a:rPr lang="en-US" dirty="0" err="1"/>
              <a:t>nivå</a:t>
            </a:r>
            <a:endParaRPr lang="en-US" dirty="0"/>
          </a:p>
          <a:p>
            <a:pPr lvl="2"/>
            <a:r>
              <a:rPr lang="en-US" dirty="0" err="1"/>
              <a:t>Tredje</a:t>
            </a:r>
            <a:r>
              <a:rPr lang="en-US" dirty="0"/>
              <a:t> </a:t>
            </a:r>
            <a:r>
              <a:rPr lang="en-US" dirty="0" err="1"/>
              <a:t>nivå</a:t>
            </a:r>
            <a:endParaRPr lang="en-US" dirty="0"/>
          </a:p>
        </p:txBody>
      </p:sp>
      <p:sp>
        <p:nvSpPr>
          <p:cNvPr id="21" name="Text Placeholder 4">
            <a:extLst>
              <a:ext uri="{FF2B5EF4-FFF2-40B4-BE49-F238E27FC236}">
                <a16:creationId xmlns:a16="http://schemas.microsoft.com/office/drawing/2014/main" id="{5CE675EA-9466-B54F-B83A-BE1E916021C6}"/>
              </a:ext>
            </a:extLst>
          </p:cNvPr>
          <p:cNvSpPr>
            <a:spLocks noGrp="1"/>
          </p:cNvSpPr>
          <p:nvPr>
            <p:ph type="body" sz="quarter" idx="14" hasCustomPrompt="1"/>
          </p:nvPr>
        </p:nvSpPr>
        <p:spPr>
          <a:xfrm rot="5400000">
            <a:off x="9788686" y="1916687"/>
            <a:ext cx="4320000"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grpSp>
        <p:nvGrpSpPr>
          <p:cNvPr id="2" name="Instructions">
            <a:extLst>
              <a:ext uri="{FF2B5EF4-FFF2-40B4-BE49-F238E27FC236}">
                <a16:creationId xmlns:a16="http://schemas.microsoft.com/office/drawing/2014/main" id="{0A2E9069-27AE-C26C-14F7-891F4EA15D20}"/>
              </a:ext>
            </a:extLst>
          </p:cNvPr>
          <p:cNvGrpSpPr/>
          <p:nvPr userDrawn="1"/>
        </p:nvGrpSpPr>
        <p:grpSpPr>
          <a:xfrm>
            <a:off x="12395260" y="-12189"/>
            <a:ext cx="1681523" cy="5990165"/>
            <a:chOff x="12395260" y="-12189"/>
            <a:chExt cx="1681523" cy="5990165"/>
          </a:xfrm>
        </p:grpSpPr>
        <p:sp>
          <p:nvSpPr>
            <p:cNvPr id="8" name="textruta 5">
              <a:extLst>
                <a:ext uri="{FF2B5EF4-FFF2-40B4-BE49-F238E27FC236}">
                  <a16:creationId xmlns:a16="http://schemas.microsoft.com/office/drawing/2014/main" id="{9CA758BD-5C55-6540-BFC0-18BA5E290BA3}"/>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D6D03EBC-FF28-B246-9262-70768DB96EB3}"/>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4C4F2B59-2BF8-804B-B8CA-05F71E9FA5C2}"/>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483A10B1-05B8-D24F-9FD4-3E109436BAAF}"/>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ruta 11">
              <a:extLst>
                <a:ext uri="{FF2B5EF4-FFF2-40B4-BE49-F238E27FC236}">
                  <a16:creationId xmlns:a16="http://schemas.microsoft.com/office/drawing/2014/main" id="{567CC080-E0B4-6645-B343-8E58FF0C1643}"/>
                </a:ext>
              </a:extLst>
            </p:cNvPr>
            <p:cNvSpPr txBox="1"/>
            <p:nvPr userDrawn="1"/>
          </p:nvSpPr>
          <p:spPr>
            <a:xfrm>
              <a:off x="12395260" y="4085150"/>
              <a:ext cx="1681523" cy="1892826"/>
            </a:xfrm>
            <a:prstGeom prst="rect">
              <a:avLst/>
            </a:prstGeom>
            <a:solidFill>
              <a:schemeClr val="bg1"/>
            </a:solidFill>
            <a:effectLst/>
          </p:spPr>
          <p:txBody>
            <a:bodyPr wrap="square" rtlCol="0" anchor="ctr" anchorCtr="0">
              <a:spAutoFit/>
            </a:bodyPr>
            <a:lstStyle/>
            <a:p>
              <a:pPr algn="ctr"/>
              <a:r>
                <a:rPr lang="en-US" sz="900" baseline="0" noProof="0" dirty="0">
                  <a:solidFill>
                    <a:schemeClr val="tx1">
                      <a:lumMod val="65000"/>
                      <a:lumOff val="35000"/>
                    </a:schemeClr>
                  </a:solidFill>
                  <a:latin typeface="+mn-lt"/>
                  <a:cs typeface="Arial" panose="020B0604020202020204" pitchFamily="34" charset="0"/>
                </a:rPr>
                <a:t>To change from </a:t>
              </a:r>
              <a:r>
                <a:rPr lang="en-US" sz="900" b="1" baseline="0" noProof="0" dirty="0">
                  <a:solidFill>
                    <a:schemeClr val="tx1">
                      <a:lumMod val="65000"/>
                      <a:lumOff val="35000"/>
                    </a:schemeClr>
                  </a:solidFill>
                  <a:latin typeface="+mn-lt"/>
                  <a:cs typeface="Arial" panose="020B0604020202020204" pitchFamily="34" charset="0"/>
                </a:rPr>
                <a:t>statistics</a:t>
              </a:r>
              <a:r>
                <a:rPr lang="en-US" sz="900" baseline="0" noProof="0" dirty="0">
                  <a:solidFill>
                    <a:schemeClr val="tx1">
                      <a:lumMod val="65000"/>
                      <a:lumOff val="35000"/>
                    </a:schemeClr>
                  </a:solidFill>
                  <a:latin typeface="+mn-lt"/>
                  <a:cs typeface="Arial" panose="020B0604020202020204" pitchFamily="34" charset="0"/>
                </a:rPr>
                <a:t> to </a:t>
              </a:r>
              <a:r>
                <a:rPr lang="en-US" sz="900" b="1" baseline="0" noProof="0" dirty="0">
                  <a:solidFill>
                    <a:schemeClr val="tx1">
                      <a:lumMod val="65000"/>
                      <a:lumOff val="35000"/>
                    </a:schemeClr>
                  </a:solidFill>
                  <a:latin typeface="+mn-lt"/>
                  <a:cs typeface="Arial" panose="020B0604020202020204" pitchFamily="34" charset="0"/>
                </a:rPr>
                <a:t>body text and source </a:t>
              </a:r>
              <a:r>
                <a:rPr lang="en-US" sz="900" baseline="0" noProof="0" dirty="0">
                  <a:solidFill>
                    <a:schemeClr val="tx1">
                      <a:lumMod val="65000"/>
                      <a:lumOff val="35000"/>
                    </a:schemeClr>
                  </a:solidFill>
                  <a:latin typeface="+mn-lt"/>
                  <a:cs typeface="Arial" panose="020B0604020202020204" pitchFamily="34" charset="0"/>
                </a:rPr>
                <a:t>or to </a:t>
              </a:r>
              <a:r>
                <a:rPr lang="en-US" sz="900" b="1" baseline="0" noProof="0" dirty="0">
                  <a:solidFill>
                    <a:schemeClr val="tx1">
                      <a:lumMod val="65000"/>
                      <a:lumOff val="35000"/>
                    </a:schemeClr>
                  </a:solidFill>
                  <a:latin typeface="+mn-lt"/>
                  <a:cs typeface="Arial" panose="020B0604020202020204" pitchFamily="34" charset="0"/>
                </a:rPr>
                <a:t>use bullets</a:t>
              </a:r>
              <a:r>
                <a:rPr lang="en-US" sz="900" baseline="0" noProof="0" dirty="0">
                  <a:solidFill>
                    <a:schemeClr val="tx1">
                      <a:lumMod val="65000"/>
                      <a:lumOff val="35000"/>
                    </a:schemeClr>
                  </a:solidFill>
                  <a:latin typeface="+mn-lt"/>
                  <a:cs typeface="Arial" panose="020B0604020202020204" pitchFamily="34" charset="0"/>
                </a:rPr>
                <a:t>, press </a:t>
              </a:r>
              <a:r>
                <a:rPr lang="en-US" sz="900" b="1" baseline="0" noProof="0" dirty="0">
                  <a:solidFill>
                    <a:schemeClr val="tx1">
                      <a:lumMod val="65000"/>
                      <a:lumOff val="35000"/>
                    </a:schemeClr>
                  </a:solidFill>
                  <a:latin typeface="+mn-lt"/>
                  <a:cs typeface="Arial" panose="020B0604020202020204" pitchFamily="34" charset="0"/>
                </a:rPr>
                <a:t>enter/return </a:t>
              </a:r>
              <a:r>
                <a:rPr lang="en-US" sz="900" baseline="0" noProof="0" dirty="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dirty="0">
                <a:solidFill>
                  <a:schemeClr val="tx1">
                    <a:lumMod val="65000"/>
                    <a:lumOff val="35000"/>
                  </a:schemeClr>
                </a:solidFill>
                <a:latin typeface="+mn-lt"/>
                <a:cs typeface="Arial" panose="020B0604020202020204" pitchFamily="34" charset="0"/>
              </a:endParaRPr>
            </a:p>
            <a:p>
              <a:pPr algn="ctr"/>
              <a:endParaRPr lang="en-US" sz="900" baseline="0" noProof="0" dirty="0">
                <a:solidFill>
                  <a:schemeClr val="tx1">
                    <a:lumMod val="65000"/>
                    <a:lumOff val="35000"/>
                  </a:schemeClr>
                </a:solidFill>
                <a:latin typeface="+mn-lt"/>
                <a:cs typeface="Arial" panose="020B0604020202020204" pitchFamily="34" charset="0"/>
              </a:endParaRPr>
            </a:p>
            <a:p>
              <a:pPr algn="ctr"/>
              <a:endParaRPr lang="en-US" sz="900" baseline="0" noProof="0" dirty="0">
                <a:solidFill>
                  <a:schemeClr val="tx1">
                    <a:lumMod val="65000"/>
                    <a:lumOff val="35000"/>
                  </a:schemeClr>
                </a:solidFill>
                <a:latin typeface="+mn-lt"/>
                <a:cs typeface="Arial" panose="020B0604020202020204" pitchFamily="34" charset="0"/>
              </a:endParaRPr>
            </a:p>
            <a:p>
              <a:pPr algn="ctr"/>
              <a:endParaRPr lang="en-US" sz="900" baseline="0" noProof="0" dirty="0">
                <a:solidFill>
                  <a:schemeClr val="tx1">
                    <a:lumMod val="65000"/>
                    <a:lumOff val="35000"/>
                  </a:schemeClr>
                </a:solidFill>
                <a:latin typeface="+mn-lt"/>
                <a:cs typeface="Arial" panose="020B0604020202020204" pitchFamily="34" charset="0"/>
              </a:endParaRPr>
            </a:p>
            <a:p>
              <a:pPr algn="ctr"/>
              <a:endParaRPr lang="en-US" sz="900" baseline="0" noProof="0" dirty="0">
                <a:solidFill>
                  <a:schemeClr val="tx1">
                    <a:lumMod val="65000"/>
                    <a:lumOff val="35000"/>
                  </a:schemeClr>
                </a:solidFill>
                <a:latin typeface="+mn-lt"/>
                <a:cs typeface="Arial" panose="020B0604020202020204" pitchFamily="34" charset="0"/>
              </a:endParaRPr>
            </a:p>
            <a:p>
              <a:pPr algn="ctr"/>
              <a:endParaRPr lang="en-US" sz="900" baseline="0" noProof="0" dirty="0">
                <a:solidFill>
                  <a:schemeClr val="tx1">
                    <a:lumMod val="65000"/>
                    <a:lumOff val="35000"/>
                  </a:schemeClr>
                </a:solidFill>
                <a:latin typeface="+mn-lt"/>
                <a:cs typeface="Arial" panose="020B0604020202020204" pitchFamily="34" charset="0"/>
              </a:endParaRPr>
            </a:p>
            <a:p>
              <a:pPr algn="ctr"/>
              <a:endParaRPr lang="en-US" sz="900" baseline="0" noProof="0" dirty="0">
                <a:solidFill>
                  <a:schemeClr val="tx1">
                    <a:lumMod val="65000"/>
                    <a:lumOff val="35000"/>
                  </a:schemeClr>
                </a:solidFill>
                <a:latin typeface="+mn-lt"/>
                <a:cs typeface="Arial" panose="020B0604020202020204" pitchFamily="34" charset="0"/>
              </a:endParaRPr>
            </a:p>
          </p:txBody>
        </p:sp>
        <p:pic>
          <p:nvPicPr>
            <p:cNvPr id="13" name="Picture 9">
              <a:extLst>
                <a:ext uri="{FF2B5EF4-FFF2-40B4-BE49-F238E27FC236}">
                  <a16:creationId xmlns:a16="http://schemas.microsoft.com/office/drawing/2014/main" id="{359C9406-E00B-424F-B110-6C1F4D8428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14" name="Oval 4">
              <a:extLst>
                <a:ext uri="{FF2B5EF4-FFF2-40B4-BE49-F238E27FC236}">
                  <a16:creationId xmlns:a16="http://schemas.microsoft.com/office/drawing/2014/main" id="{5C256491-67DF-A248-A90E-627FCDF80B83}"/>
                </a:ext>
              </a:extLst>
            </p:cNvPr>
            <p:cNvSpPr/>
            <p:nvPr userDrawn="1"/>
          </p:nvSpPr>
          <p:spPr>
            <a:xfrm>
              <a:off x="13194299" y="52819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16" name="Connector: Elbow 131">
              <a:extLst>
                <a:ext uri="{FF2B5EF4-FFF2-40B4-BE49-F238E27FC236}">
                  <a16:creationId xmlns:a16="http://schemas.microsoft.com/office/drawing/2014/main" id="{5D4FBB2B-EA79-FE42-A088-3353E1F76FB1}"/>
                </a:ext>
              </a:extLst>
            </p:cNvPr>
            <p:cNvCxnSpPr>
              <a:cxnSpLocks/>
              <a:endCxn id="14" idx="0"/>
            </p:cNvCxnSpPr>
            <p:nvPr userDrawn="1"/>
          </p:nvCxnSpPr>
          <p:spPr>
            <a:xfrm rot="5400000">
              <a:off x="13324711" y="50100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 name="Text Placeholder 7">
            <a:extLst>
              <a:ext uri="{FF2B5EF4-FFF2-40B4-BE49-F238E27FC236}">
                <a16:creationId xmlns:a16="http://schemas.microsoft.com/office/drawing/2014/main" id="{22DBF1E1-040E-359F-786F-EE26A7B8F88E}"/>
              </a:ext>
            </a:extLst>
          </p:cNvPr>
          <p:cNvSpPr>
            <a:spLocks noGrp="1"/>
          </p:cNvSpPr>
          <p:nvPr>
            <p:ph type="body" sz="quarter" idx="25" hasCustomPrompt="1"/>
          </p:nvPr>
        </p:nvSpPr>
        <p:spPr>
          <a:xfrm>
            <a:off x="576262" y="291600"/>
            <a:ext cx="5180400" cy="180000"/>
          </a:xfrm>
        </p:spPr>
        <p:txBody>
          <a:bodyPr/>
          <a:lstStyle>
            <a:lvl1pPr marL="6350" indent="0">
              <a:buNone/>
              <a:defRPr sz="1200"/>
            </a:lvl1pPr>
          </a:lstStyle>
          <a:p>
            <a:pPr lvl="0"/>
            <a:r>
              <a:rPr lang="nb-NO" dirty="0"/>
              <a:t>Klikk for å legge til kapittel</a:t>
            </a:r>
            <a:endParaRPr lang="en-US" dirty="0"/>
          </a:p>
        </p:txBody>
      </p:sp>
    </p:spTree>
    <p:extLst>
      <p:ext uri="{BB962C8B-B14F-4D97-AF65-F5344CB8AC3E}">
        <p14:creationId xmlns:p14="http://schemas.microsoft.com/office/powerpoint/2010/main" val="2805278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7 Overskrift og fullt bilde med prosent - Blå">
    <p:bg>
      <p:bgPr>
        <a:solidFill>
          <a:schemeClr val="tx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3EC9915-54A7-B3D1-F30C-6C4539AAF997}"/>
              </a:ext>
            </a:extLst>
          </p:cNvPr>
          <p:cNvSpPr>
            <a:spLocks noGrp="1"/>
          </p:cNvSpPr>
          <p:nvPr>
            <p:ph type="body" sz="quarter" idx="42" hasCustomPrompt="1"/>
          </p:nvPr>
        </p:nvSpPr>
        <p:spPr>
          <a:xfrm>
            <a:off x="576000" y="1259681"/>
            <a:ext cx="5377125" cy="4338638"/>
          </a:xfrm>
        </p:spPr>
        <p:txBody>
          <a:bodyPr anchor="ctr"/>
          <a:lstStyle>
            <a:lvl1pPr marL="6350" indent="0">
              <a:buNone/>
              <a:defRPr sz="9600">
                <a:solidFill>
                  <a:schemeClr val="bg1"/>
                </a:solidFill>
              </a:defRPr>
            </a:lvl1pPr>
            <a:lvl2pPr marL="0" indent="0">
              <a:buNone/>
              <a:tabLst/>
              <a:defRPr sz="3600">
                <a:solidFill>
                  <a:schemeClr val="bg1"/>
                </a:solidFill>
              </a:defRPr>
            </a:lvl2pPr>
            <a:lvl3pPr marL="0" indent="0">
              <a:spcBef>
                <a:spcPts val="2000"/>
              </a:spcBef>
              <a:buNone/>
              <a:tabLst/>
              <a:defRPr sz="1100">
                <a:solidFill>
                  <a:schemeClr val="bg1"/>
                </a:solidFill>
              </a:defRPr>
            </a:lvl3pPr>
          </a:lstStyle>
          <a:p>
            <a:pPr lvl="0"/>
            <a:r>
              <a:rPr lang="en-US" dirty="0"/>
              <a:t>XX%</a:t>
            </a:r>
          </a:p>
          <a:p>
            <a:pPr lvl="1"/>
            <a:r>
              <a:rPr lang="en-US" dirty="0"/>
              <a:t>Andre </a:t>
            </a:r>
            <a:r>
              <a:rPr lang="en-US" dirty="0" err="1"/>
              <a:t>nivå</a:t>
            </a:r>
            <a:endParaRPr lang="en-US" dirty="0"/>
          </a:p>
          <a:p>
            <a:pPr lvl="2"/>
            <a:r>
              <a:rPr lang="en-US" dirty="0" err="1"/>
              <a:t>Tredje</a:t>
            </a:r>
            <a:r>
              <a:rPr lang="en-US" dirty="0"/>
              <a:t> </a:t>
            </a:r>
            <a:r>
              <a:rPr lang="en-US" dirty="0" err="1"/>
              <a:t>nivå</a:t>
            </a:r>
            <a:endParaRPr lang="en-US" dirty="0"/>
          </a:p>
        </p:txBody>
      </p:sp>
      <p:grpSp>
        <p:nvGrpSpPr>
          <p:cNvPr id="17" name="Group 16">
            <a:extLst>
              <a:ext uri="{FF2B5EF4-FFF2-40B4-BE49-F238E27FC236}">
                <a16:creationId xmlns:a16="http://schemas.microsoft.com/office/drawing/2014/main" id="{129E12D4-E972-8979-67A6-063DF4F5AC5F}"/>
              </a:ext>
            </a:extLst>
          </p:cNvPr>
          <p:cNvGrpSpPr/>
          <p:nvPr userDrawn="1"/>
        </p:nvGrpSpPr>
        <p:grpSpPr>
          <a:xfrm>
            <a:off x="12395260" y="4085150"/>
            <a:ext cx="1681523" cy="1892826"/>
            <a:chOff x="12395260" y="4085150"/>
            <a:chExt cx="1681523" cy="1892826"/>
          </a:xfrm>
        </p:grpSpPr>
        <p:sp>
          <p:nvSpPr>
            <p:cNvPr id="12" name="textruta 11">
              <a:extLst>
                <a:ext uri="{FF2B5EF4-FFF2-40B4-BE49-F238E27FC236}">
                  <a16:creationId xmlns:a16="http://schemas.microsoft.com/office/drawing/2014/main" id="{567CC080-E0B4-6645-B343-8E58FF0C1643}"/>
                </a:ext>
              </a:extLst>
            </p:cNvPr>
            <p:cNvSpPr txBox="1"/>
            <p:nvPr userDrawn="1"/>
          </p:nvSpPr>
          <p:spPr>
            <a:xfrm>
              <a:off x="12395260" y="4085150"/>
              <a:ext cx="1681523" cy="1892826"/>
            </a:xfrm>
            <a:prstGeom prst="rect">
              <a:avLst/>
            </a:prstGeom>
            <a:solidFill>
              <a:schemeClr val="bg1"/>
            </a:solidFill>
            <a:effectLst/>
          </p:spPr>
          <p:txBody>
            <a:bodyPr wrap="square" rtlCol="0" anchor="ctr" anchorCtr="0">
              <a:spAutoFit/>
            </a:bodyPr>
            <a:lstStyle/>
            <a:p>
              <a:pPr algn="ctr"/>
              <a:r>
                <a:rPr lang="en-US" sz="900" baseline="0" noProof="0" dirty="0">
                  <a:solidFill>
                    <a:schemeClr val="tx1">
                      <a:lumMod val="65000"/>
                      <a:lumOff val="35000"/>
                    </a:schemeClr>
                  </a:solidFill>
                  <a:latin typeface="+mn-lt"/>
                  <a:cs typeface="Arial" panose="020B0604020202020204" pitchFamily="34" charset="0"/>
                </a:rPr>
                <a:t>To change from </a:t>
              </a:r>
              <a:r>
                <a:rPr lang="en-US" sz="900" b="1" baseline="0" noProof="0" dirty="0">
                  <a:solidFill>
                    <a:schemeClr val="tx1">
                      <a:lumMod val="65000"/>
                      <a:lumOff val="35000"/>
                    </a:schemeClr>
                  </a:solidFill>
                  <a:latin typeface="+mn-lt"/>
                  <a:cs typeface="Arial" panose="020B0604020202020204" pitchFamily="34" charset="0"/>
                </a:rPr>
                <a:t>statistics</a:t>
              </a:r>
              <a:r>
                <a:rPr lang="en-US" sz="900" baseline="0" noProof="0" dirty="0">
                  <a:solidFill>
                    <a:schemeClr val="tx1">
                      <a:lumMod val="65000"/>
                      <a:lumOff val="35000"/>
                    </a:schemeClr>
                  </a:solidFill>
                  <a:latin typeface="+mn-lt"/>
                  <a:cs typeface="Arial" panose="020B0604020202020204" pitchFamily="34" charset="0"/>
                </a:rPr>
                <a:t> to </a:t>
              </a:r>
              <a:r>
                <a:rPr lang="en-US" sz="900" b="1" baseline="0" noProof="0" dirty="0">
                  <a:solidFill>
                    <a:schemeClr val="tx1">
                      <a:lumMod val="65000"/>
                      <a:lumOff val="35000"/>
                    </a:schemeClr>
                  </a:solidFill>
                  <a:latin typeface="+mn-lt"/>
                  <a:cs typeface="Arial" panose="020B0604020202020204" pitchFamily="34" charset="0"/>
                </a:rPr>
                <a:t>body text and source </a:t>
              </a:r>
              <a:r>
                <a:rPr lang="en-US" sz="900" baseline="0" noProof="0" dirty="0">
                  <a:solidFill>
                    <a:schemeClr val="tx1">
                      <a:lumMod val="65000"/>
                      <a:lumOff val="35000"/>
                    </a:schemeClr>
                  </a:solidFill>
                  <a:latin typeface="+mn-lt"/>
                  <a:cs typeface="Arial" panose="020B0604020202020204" pitchFamily="34" charset="0"/>
                </a:rPr>
                <a:t>or to </a:t>
              </a:r>
              <a:r>
                <a:rPr lang="en-US" sz="900" b="1" baseline="0" noProof="0" dirty="0">
                  <a:solidFill>
                    <a:schemeClr val="tx1">
                      <a:lumMod val="65000"/>
                      <a:lumOff val="35000"/>
                    </a:schemeClr>
                  </a:solidFill>
                  <a:latin typeface="+mn-lt"/>
                  <a:cs typeface="Arial" panose="020B0604020202020204" pitchFamily="34" charset="0"/>
                </a:rPr>
                <a:t>use bullets</a:t>
              </a:r>
              <a:r>
                <a:rPr lang="en-US" sz="900" baseline="0" noProof="0" dirty="0">
                  <a:solidFill>
                    <a:schemeClr val="tx1">
                      <a:lumMod val="65000"/>
                      <a:lumOff val="35000"/>
                    </a:schemeClr>
                  </a:solidFill>
                  <a:latin typeface="+mn-lt"/>
                  <a:cs typeface="Arial" panose="020B0604020202020204" pitchFamily="34" charset="0"/>
                </a:rPr>
                <a:t>, press </a:t>
              </a:r>
              <a:r>
                <a:rPr lang="en-US" sz="900" b="1" baseline="0" noProof="0" dirty="0">
                  <a:solidFill>
                    <a:schemeClr val="tx1">
                      <a:lumMod val="65000"/>
                      <a:lumOff val="35000"/>
                    </a:schemeClr>
                  </a:solidFill>
                  <a:latin typeface="+mn-lt"/>
                  <a:cs typeface="Arial" panose="020B0604020202020204" pitchFamily="34" charset="0"/>
                </a:rPr>
                <a:t>enter/return </a:t>
              </a:r>
              <a:r>
                <a:rPr lang="en-US" sz="900" baseline="0" noProof="0" dirty="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dirty="0">
                <a:solidFill>
                  <a:schemeClr val="tx1">
                    <a:lumMod val="65000"/>
                    <a:lumOff val="35000"/>
                  </a:schemeClr>
                </a:solidFill>
                <a:latin typeface="+mn-lt"/>
                <a:cs typeface="Arial" panose="020B0604020202020204" pitchFamily="34" charset="0"/>
              </a:endParaRPr>
            </a:p>
            <a:p>
              <a:pPr algn="ctr"/>
              <a:endParaRPr lang="en-US" sz="900" baseline="0" noProof="0" dirty="0">
                <a:solidFill>
                  <a:schemeClr val="tx1">
                    <a:lumMod val="65000"/>
                    <a:lumOff val="35000"/>
                  </a:schemeClr>
                </a:solidFill>
                <a:latin typeface="+mn-lt"/>
                <a:cs typeface="Arial" panose="020B0604020202020204" pitchFamily="34" charset="0"/>
              </a:endParaRPr>
            </a:p>
            <a:p>
              <a:pPr algn="ctr"/>
              <a:endParaRPr lang="en-US" sz="900" baseline="0" noProof="0" dirty="0">
                <a:solidFill>
                  <a:schemeClr val="tx1">
                    <a:lumMod val="65000"/>
                    <a:lumOff val="35000"/>
                  </a:schemeClr>
                </a:solidFill>
                <a:latin typeface="+mn-lt"/>
                <a:cs typeface="Arial" panose="020B0604020202020204" pitchFamily="34" charset="0"/>
              </a:endParaRPr>
            </a:p>
            <a:p>
              <a:pPr algn="ctr"/>
              <a:endParaRPr lang="en-US" sz="900" baseline="0" noProof="0" dirty="0">
                <a:solidFill>
                  <a:schemeClr val="tx1">
                    <a:lumMod val="65000"/>
                    <a:lumOff val="35000"/>
                  </a:schemeClr>
                </a:solidFill>
                <a:latin typeface="+mn-lt"/>
                <a:cs typeface="Arial" panose="020B0604020202020204" pitchFamily="34" charset="0"/>
              </a:endParaRPr>
            </a:p>
            <a:p>
              <a:pPr algn="ctr"/>
              <a:endParaRPr lang="en-US" sz="900" baseline="0" noProof="0" dirty="0">
                <a:solidFill>
                  <a:schemeClr val="tx1">
                    <a:lumMod val="65000"/>
                    <a:lumOff val="35000"/>
                  </a:schemeClr>
                </a:solidFill>
                <a:latin typeface="+mn-lt"/>
                <a:cs typeface="Arial" panose="020B0604020202020204" pitchFamily="34" charset="0"/>
              </a:endParaRPr>
            </a:p>
            <a:p>
              <a:pPr algn="ctr"/>
              <a:endParaRPr lang="en-US" sz="900" baseline="0" noProof="0" dirty="0">
                <a:solidFill>
                  <a:schemeClr val="tx1">
                    <a:lumMod val="65000"/>
                    <a:lumOff val="35000"/>
                  </a:schemeClr>
                </a:solidFill>
                <a:latin typeface="+mn-lt"/>
                <a:cs typeface="Arial" panose="020B0604020202020204" pitchFamily="34" charset="0"/>
              </a:endParaRPr>
            </a:p>
            <a:p>
              <a:pPr algn="ctr"/>
              <a:endParaRPr lang="en-US" sz="900" baseline="0" noProof="0" dirty="0">
                <a:solidFill>
                  <a:schemeClr val="tx1">
                    <a:lumMod val="65000"/>
                    <a:lumOff val="35000"/>
                  </a:schemeClr>
                </a:solidFill>
                <a:latin typeface="+mn-lt"/>
                <a:cs typeface="Arial" panose="020B0604020202020204" pitchFamily="34" charset="0"/>
              </a:endParaRPr>
            </a:p>
          </p:txBody>
        </p:sp>
        <p:pic>
          <p:nvPicPr>
            <p:cNvPr id="13" name="Picture 9">
              <a:extLst>
                <a:ext uri="{FF2B5EF4-FFF2-40B4-BE49-F238E27FC236}">
                  <a16:creationId xmlns:a16="http://schemas.microsoft.com/office/drawing/2014/main" id="{359C9406-E00B-424F-B110-6C1F4D8428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14" name="Oval 4">
              <a:extLst>
                <a:ext uri="{FF2B5EF4-FFF2-40B4-BE49-F238E27FC236}">
                  <a16:creationId xmlns:a16="http://schemas.microsoft.com/office/drawing/2014/main" id="{5C256491-67DF-A248-A90E-627FCDF80B83}"/>
                </a:ext>
              </a:extLst>
            </p:cNvPr>
            <p:cNvSpPr/>
            <p:nvPr userDrawn="1"/>
          </p:nvSpPr>
          <p:spPr>
            <a:xfrm>
              <a:off x="13194299" y="52819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16" name="Connector: Elbow 131">
              <a:extLst>
                <a:ext uri="{FF2B5EF4-FFF2-40B4-BE49-F238E27FC236}">
                  <a16:creationId xmlns:a16="http://schemas.microsoft.com/office/drawing/2014/main" id="{5D4FBB2B-EA79-FE42-A088-3353E1F76FB1}"/>
                </a:ext>
              </a:extLst>
            </p:cNvPr>
            <p:cNvCxnSpPr>
              <a:cxnSpLocks/>
              <a:endCxn id="14" idx="0"/>
            </p:cNvCxnSpPr>
            <p:nvPr userDrawn="1"/>
          </p:nvCxnSpPr>
          <p:spPr>
            <a:xfrm rot="5400000">
              <a:off x="13324711" y="50100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 name="Logotype">
            <a:extLst>
              <a:ext uri="{FF2B5EF4-FFF2-40B4-BE49-F238E27FC236}">
                <a16:creationId xmlns:a16="http://schemas.microsoft.com/office/drawing/2014/main" id="{55AD9C82-188A-B8D9-A5A4-772AAFD4C076}"/>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bg1"/>
          </a:solidFill>
          <a:ln w="6350" cap="flat">
            <a:noFill/>
            <a:prstDash val="solid"/>
            <a:miter/>
          </a:ln>
        </p:spPr>
        <p:txBody>
          <a:bodyPr wrap="square" rtlCol="0" anchor="ctr">
            <a:noAutofit/>
          </a:bodyPr>
          <a:lstStyle/>
          <a:p>
            <a:endParaRPr lang="en-US" noProof="0">
              <a:solidFill>
                <a:schemeClr val="tx2"/>
              </a:solidFill>
            </a:endParaRPr>
          </a:p>
        </p:txBody>
      </p:sp>
      <p:sp>
        <p:nvSpPr>
          <p:cNvPr id="2" name="Text Placeholder 7">
            <a:extLst>
              <a:ext uri="{FF2B5EF4-FFF2-40B4-BE49-F238E27FC236}">
                <a16:creationId xmlns:a16="http://schemas.microsoft.com/office/drawing/2014/main" id="{85C57281-4153-42A6-D389-75AFDB14ABE8}"/>
              </a:ext>
            </a:extLst>
          </p:cNvPr>
          <p:cNvSpPr>
            <a:spLocks noGrp="1"/>
          </p:cNvSpPr>
          <p:nvPr>
            <p:ph type="body" sz="quarter" idx="25" hasCustomPrompt="1"/>
          </p:nvPr>
        </p:nvSpPr>
        <p:spPr>
          <a:xfrm>
            <a:off x="576262" y="291600"/>
            <a:ext cx="5180400" cy="180000"/>
          </a:xfrm>
        </p:spPr>
        <p:txBody>
          <a:bodyPr/>
          <a:lstStyle>
            <a:lvl1pPr marL="6350" indent="0">
              <a:buNone/>
              <a:defRPr sz="1200">
                <a:solidFill>
                  <a:schemeClr val="bg1"/>
                </a:solidFill>
              </a:defRPr>
            </a:lvl1pPr>
          </a:lstStyle>
          <a:p>
            <a:pPr lvl="0"/>
            <a:r>
              <a:rPr lang="nb-NO" dirty="0"/>
              <a:t>Klikk for å legge til kapittel</a:t>
            </a:r>
            <a:endParaRPr lang="en-US" dirty="0"/>
          </a:p>
        </p:txBody>
      </p:sp>
    </p:spTree>
    <p:extLst>
      <p:ext uri="{BB962C8B-B14F-4D97-AF65-F5344CB8AC3E}">
        <p14:creationId xmlns:p14="http://schemas.microsoft.com/office/powerpoint/2010/main" val="30640656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 Tekst og smalt bilde med prosen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83718FC5-379A-3343-904E-06A5A117D84C}"/>
              </a:ext>
            </a:extLst>
          </p:cNvPr>
          <p:cNvSpPr>
            <a:spLocks noGrp="1"/>
          </p:cNvSpPr>
          <p:nvPr>
            <p:ph type="pic" sz="quarter" idx="18" hasCustomPrompt="1"/>
          </p:nvPr>
        </p:nvSpPr>
        <p:spPr>
          <a:xfrm>
            <a:off x="8142000" y="-1"/>
            <a:ext cx="4050000" cy="6868800"/>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tx2"/>
                </a:solidFill>
              </a:defRPr>
            </a:lvl1pPr>
          </a:lstStyle>
          <a:p>
            <a:r>
              <a:rPr lang="nb-NO" noProof="0" dirty="0"/>
              <a:t>Klikk på ikonet for å legge til et bilde</a:t>
            </a:r>
            <a:endParaRPr lang="en-US" noProof="0" dirty="0"/>
          </a:p>
        </p:txBody>
      </p:sp>
      <p:sp>
        <p:nvSpPr>
          <p:cNvPr id="3" name="Title 1">
            <a:extLst>
              <a:ext uri="{FF2B5EF4-FFF2-40B4-BE49-F238E27FC236}">
                <a16:creationId xmlns:a16="http://schemas.microsoft.com/office/drawing/2014/main" id="{D8D3A030-7966-00B7-79F7-55D33BFE00C4}"/>
              </a:ext>
            </a:extLst>
          </p:cNvPr>
          <p:cNvSpPr>
            <a:spLocks noGrp="1"/>
          </p:cNvSpPr>
          <p:nvPr>
            <p:ph type="title" hasCustomPrompt="1"/>
          </p:nvPr>
        </p:nvSpPr>
        <p:spPr>
          <a:xfrm>
            <a:off x="576000" y="730800"/>
            <a:ext cx="7253550" cy="860400"/>
          </a:xfrm>
        </p:spPr>
        <p:txBody>
          <a:bodyPr/>
          <a:lstStyle/>
          <a:p>
            <a:r>
              <a:rPr lang="nb-NO" dirty="0"/>
              <a:t>Klikk for å legge til en overskrift på maksimalt to linjer</a:t>
            </a:r>
            <a:endParaRPr lang="en-US" dirty="0"/>
          </a:p>
        </p:txBody>
      </p:sp>
      <p:sp>
        <p:nvSpPr>
          <p:cNvPr id="8" name="Text Placeholder 7">
            <a:extLst>
              <a:ext uri="{FF2B5EF4-FFF2-40B4-BE49-F238E27FC236}">
                <a16:creationId xmlns:a16="http://schemas.microsoft.com/office/drawing/2014/main" id="{2E443046-6083-654F-90A3-8BC37A592844}"/>
              </a:ext>
            </a:extLst>
          </p:cNvPr>
          <p:cNvSpPr>
            <a:spLocks noGrp="1"/>
          </p:cNvSpPr>
          <p:nvPr>
            <p:ph type="body" sz="quarter" idx="19" hasCustomPrompt="1"/>
          </p:nvPr>
        </p:nvSpPr>
        <p:spPr>
          <a:xfrm>
            <a:off x="576000" y="2527201"/>
            <a:ext cx="3481650" cy="353159"/>
          </a:xfrm>
        </p:spPr>
        <p:txBody>
          <a:bodyPr/>
          <a:lstStyle>
            <a:lvl1pPr marL="0" indent="0">
              <a:lnSpc>
                <a:spcPct val="100000"/>
              </a:lnSpc>
              <a:spcBef>
                <a:spcPts val="0"/>
              </a:spcBef>
              <a:spcAft>
                <a:spcPts val="2000"/>
              </a:spcAft>
              <a:buNone/>
              <a:defRPr sz="1800" b="1" spc="40" baseline="0"/>
            </a:lvl1pPr>
            <a:lvl2pPr marL="180000">
              <a:lnSpc>
                <a:spcPct val="100000"/>
              </a:lnSpc>
              <a:spcBef>
                <a:spcPts val="0"/>
              </a:spcBef>
              <a:spcAft>
                <a:spcPts val="600"/>
              </a:spcAft>
              <a:defRPr sz="1800" spc="40" baseline="0"/>
            </a:lvl2pPr>
            <a:lvl3pPr marL="404813" indent="-182563">
              <a:tabLst/>
              <a:defRPr sz="1400" spc="40" baseline="0"/>
            </a:lvl3pPr>
            <a:lvl4pPr marL="536575" indent="-131763">
              <a:tabLst/>
              <a:defRPr sz="1200" spc="40" baseline="0"/>
            </a:lvl4pPr>
            <a:lvl5pPr marL="627063" indent="-130175">
              <a:tabLst/>
              <a:defRPr sz="1100" spc="40" baseline="0"/>
            </a:lvl5pPr>
          </a:lstStyle>
          <a:p>
            <a:pPr lvl="0"/>
            <a:r>
              <a:rPr lang="nb-NO" noProof="0" dirty="0"/>
              <a:t>Klikk for å legge til overskrift</a:t>
            </a:r>
            <a:endParaRPr lang="en-US" noProof="0" dirty="0"/>
          </a:p>
        </p:txBody>
      </p:sp>
      <p:sp>
        <p:nvSpPr>
          <p:cNvPr id="16" name="Text Placeholder 7">
            <a:extLst>
              <a:ext uri="{FF2B5EF4-FFF2-40B4-BE49-F238E27FC236}">
                <a16:creationId xmlns:a16="http://schemas.microsoft.com/office/drawing/2014/main" id="{E67F9331-98D1-9C4B-905A-0ADF2E53F9BE}"/>
              </a:ext>
            </a:extLst>
          </p:cNvPr>
          <p:cNvSpPr>
            <a:spLocks noGrp="1"/>
          </p:cNvSpPr>
          <p:nvPr>
            <p:ph type="body" sz="quarter" idx="20" hasCustomPrompt="1"/>
          </p:nvPr>
        </p:nvSpPr>
        <p:spPr>
          <a:xfrm>
            <a:off x="4360747" y="2527201"/>
            <a:ext cx="3470274" cy="353159"/>
          </a:xfrm>
        </p:spPr>
        <p:txBody>
          <a:bodyPr/>
          <a:lstStyle>
            <a:lvl1pPr marL="0" indent="0">
              <a:lnSpc>
                <a:spcPct val="100000"/>
              </a:lnSpc>
              <a:spcBef>
                <a:spcPts val="0"/>
              </a:spcBef>
              <a:spcAft>
                <a:spcPts val="2000"/>
              </a:spcAft>
              <a:buNone/>
              <a:defRPr sz="1800" b="1" spc="40" baseline="0"/>
            </a:lvl1pPr>
            <a:lvl2pPr marL="180000">
              <a:lnSpc>
                <a:spcPct val="100000"/>
              </a:lnSpc>
              <a:spcBef>
                <a:spcPts val="0"/>
              </a:spcBef>
              <a:spcAft>
                <a:spcPts val="600"/>
              </a:spcAft>
              <a:defRPr sz="1800" spc="40" baseline="0"/>
            </a:lvl2pPr>
            <a:lvl3pPr marL="404813" indent="-182563">
              <a:tabLst/>
              <a:defRPr sz="1400" spc="40" baseline="0"/>
            </a:lvl3pPr>
            <a:lvl4pPr marL="536575" indent="-131763">
              <a:tabLst/>
              <a:defRPr sz="1200" spc="40" baseline="0"/>
            </a:lvl4pPr>
            <a:lvl5pPr marL="627063" indent="-130175">
              <a:tabLst/>
              <a:defRPr sz="1100" spc="40" baseline="0"/>
            </a:lvl5pPr>
          </a:lstStyle>
          <a:p>
            <a:pPr lvl="0"/>
            <a:r>
              <a:rPr lang="nb-NO" noProof="0" dirty="0"/>
              <a:t>Klikk for å legge til overskrift</a:t>
            </a:r>
            <a:endParaRPr lang="en-US" noProof="0" dirty="0"/>
          </a:p>
        </p:txBody>
      </p:sp>
      <p:sp>
        <p:nvSpPr>
          <p:cNvPr id="18" name="Text Placerholder 8">
            <a:extLst>
              <a:ext uri="{FF2B5EF4-FFF2-40B4-BE49-F238E27FC236}">
                <a16:creationId xmlns:a16="http://schemas.microsoft.com/office/drawing/2014/main" id="{B167AB32-6297-C042-8F90-85FF79E8A715}"/>
              </a:ext>
            </a:extLst>
          </p:cNvPr>
          <p:cNvSpPr>
            <a:spLocks noGrp="1"/>
          </p:cNvSpPr>
          <p:nvPr>
            <p:ph type="body" sz="quarter" idx="22" hasCustomPrompt="1"/>
          </p:nvPr>
        </p:nvSpPr>
        <p:spPr>
          <a:xfrm>
            <a:off x="576001" y="3101340"/>
            <a:ext cx="3481650" cy="3027998"/>
          </a:xfrm>
        </p:spPr>
        <p:txBody>
          <a:bodyPr/>
          <a:lstStyle/>
          <a:p>
            <a:pPr lvl="0"/>
            <a:r>
              <a:rPr lang="nb-NO" noProof="0" dirty="0"/>
              <a:t>Klikk for å legge til brødtekst</a:t>
            </a:r>
            <a:endParaRPr lang="en-US" noProof="0" dirty="0"/>
          </a:p>
        </p:txBody>
      </p:sp>
      <p:sp>
        <p:nvSpPr>
          <p:cNvPr id="20" name="Text Placeholder 9">
            <a:extLst>
              <a:ext uri="{FF2B5EF4-FFF2-40B4-BE49-F238E27FC236}">
                <a16:creationId xmlns:a16="http://schemas.microsoft.com/office/drawing/2014/main" id="{A3BB055C-51F0-9547-B732-F77893221A8A}"/>
              </a:ext>
            </a:extLst>
          </p:cNvPr>
          <p:cNvSpPr>
            <a:spLocks noGrp="1"/>
          </p:cNvSpPr>
          <p:nvPr>
            <p:ph type="body" sz="quarter" idx="23" hasCustomPrompt="1"/>
          </p:nvPr>
        </p:nvSpPr>
        <p:spPr>
          <a:xfrm>
            <a:off x="4360747" y="3101340"/>
            <a:ext cx="3468803" cy="3027998"/>
          </a:xfrm>
        </p:spPr>
        <p:txBody>
          <a:bodyPr/>
          <a:lstStyle/>
          <a:p>
            <a:pPr lvl="0"/>
            <a:r>
              <a:rPr lang="nb-NO" noProof="0" dirty="0"/>
              <a:t>Klikk for å legge til brødtekst</a:t>
            </a:r>
            <a:endParaRPr lang="en-US" noProof="0" dirty="0"/>
          </a:p>
        </p:txBody>
      </p:sp>
      <p:sp>
        <p:nvSpPr>
          <p:cNvPr id="29" name="Text Placeholder 4">
            <a:extLst>
              <a:ext uri="{FF2B5EF4-FFF2-40B4-BE49-F238E27FC236}">
                <a16:creationId xmlns:a16="http://schemas.microsoft.com/office/drawing/2014/main" id="{451A2045-A8EE-6E45-9F6D-0E79C884BB53}"/>
              </a:ext>
            </a:extLst>
          </p:cNvPr>
          <p:cNvSpPr>
            <a:spLocks noGrp="1"/>
          </p:cNvSpPr>
          <p:nvPr>
            <p:ph type="body" sz="quarter" idx="24" hasCustomPrompt="1"/>
          </p:nvPr>
        </p:nvSpPr>
        <p:spPr>
          <a:xfrm rot="5400000">
            <a:off x="9788686" y="1916687"/>
            <a:ext cx="4320000"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sp>
        <p:nvSpPr>
          <p:cNvPr id="2" name="Logotype">
            <a:extLst>
              <a:ext uri="{FF2B5EF4-FFF2-40B4-BE49-F238E27FC236}">
                <a16:creationId xmlns:a16="http://schemas.microsoft.com/office/drawing/2014/main" id="{C0586384-EB19-7D03-ED0E-96149E3EB767}"/>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grpSp>
        <p:nvGrpSpPr>
          <p:cNvPr id="7" name="Group 6">
            <a:extLst>
              <a:ext uri="{FF2B5EF4-FFF2-40B4-BE49-F238E27FC236}">
                <a16:creationId xmlns:a16="http://schemas.microsoft.com/office/drawing/2014/main" id="{5010F006-51A8-F328-B77F-CD9948B8DA06}"/>
              </a:ext>
            </a:extLst>
          </p:cNvPr>
          <p:cNvGrpSpPr/>
          <p:nvPr userDrawn="1"/>
        </p:nvGrpSpPr>
        <p:grpSpPr>
          <a:xfrm>
            <a:off x="12395260" y="4085150"/>
            <a:ext cx="1681523" cy="1892826"/>
            <a:chOff x="12395260" y="4085150"/>
            <a:chExt cx="1681523" cy="1892826"/>
          </a:xfrm>
        </p:grpSpPr>
        <p:sp>
          <p:nvSpPr>
            <p:cNvPr id="9" name="textruta 11">
              <a:extLst>
                <a:ext uri="{FF2B5EF4-FFF2-40B4-BE49-F238E27FC236}">
                  <a16:creationId xmlns:a16="http://schemas.microsoft.com/office/drawing/2014/main" id="{384881D4-3541-C345-A3DC-E4F6371434EE}"/>
                </a:ext>
              </a:extLst>
            </p:cNvPr>
            <p:cNvSpPr txBox="1"/>
            <p:nvPr userDrawn="1"/>
          </p:nvSpPr>
          <p:spPr>
            <a:xfrm>
              <a:off x="12395260" y="4085150"/>
              <a:ext cx="1681523" cy="1892826"/>
            </a:xfrm>
            <a:prstGeom prst="rect">
              <a:avLst/>
            </a:prstGeom>
            <a:solidFill>
              <a:schemeClr val="bg1"/>
            </a:solidFill>
            <a:effectLst/>
          </p:spPr>
          <p:txBody>
            <a:bodyPr wrap="square" rtlCol="0" anchor="ctr" anchorCtr="0">
              <a:spAutoFit/>
            </a:bodyPr>
            <a:lstStyle/>
            <a:p>
              <a:pPr algn="ctr"/>
              <a:r>
                <a:rPr lang="en-US" sz="900" baseline="0" noProof="0" dirty="0">
                  <a:solidFill>
                    <a:schemeClr val="tx1">
                      <a:lumMod val="65000"/>
                      <a:lumOff val="35000"/>
                    </a:schemeClr>
                  </a:solidFill>
                  <a:latin typeface="+mn-lt"/>
                  <a:cs typeface="Arial" panose="020B0604020202020204" pitchFamily="34" charset="0"/>
                </a:rPr>
                <a:t>To change from </a:t>
              </a:r>
              <a:r>
                <a:rPr lang="en-US" sz="900" b="1" baseline="0" noProof="0" dirty="0">
                  <a:solidFill>
                    <a:schemeClr val="tx1">
                      <a:lumMod val="65000"/>
                      <a:lumOff val="35000"/>
                    </a:schemeClr>
                  </a:solidFill>
                  <a:latin typeface="+mn-lt"/>
                  <a:cs typeface="Arial" panose="020B0604020202020204" pitchFamily="34" charset="0"/>
                </a:rPr>
                <a:t>statistics</a:t>
              </a:r>
              <a:r>
                <a:rPr lang="en-US" sz="900" baseline="0" noProof="0" dirty="0">
                  <a:solidFill>
                    <a:schemeClr val="tx1">
                      <a:lumMod val="65000"/>
                      <a:lumOff val="35000"/>
                    </a:schemeClr>
                  </a:solidFill>
                  <a:latin typeface="+mn-lt"/>
                  <a:cs typeface="Arial" panose="020B0604020202020204" pitchFamily="34" charset="0"/>
                </a:rPr>
                <a:t> to </a:t>
              </a:r>
              <a:r>
                <a:rPr lang="en-US" sz="900" b="1" baseline="0" noProof="0" dirty="0">
                  <a:solidFill>
                    <a:schemeClr val="tx1">
                      <a:lumMod val="65000"/>
                      <a:lumOff val="35000"/>
                    </a:schemeClr>
                  </a:solidFill>
                  <a:latin typeface="+mn-lt"/>
                  <a:cs typeface="Arial" panose="020B0604020202020204" pitchFamily="34" charset="0"/>
                </a:rPr>
                <a:t>body text and source </a:t>
              </a:r>
              <a:r>
                <a:rPr lang="en-US" sz="900" baseline="0" noProof="0" dirty="0">
                  <a:solidFill>
                    <a:schemeClr val="tx1">
                      <a:lumMod val="65000"/>
                      <a:lumOff val="35000"/>
                    </a:schemeClr>
                  </a:solidFill>
                  <a:latin typeface="+mn-lt"/>
                  <a:cs typeface="Arial" panose="020B0604020202020204" pitchFamily="34" charset="0"/>
                </a:rPr>
                <a:t>or to </a:t>
              </a:r>
              <a:r>
                <a:rPr lang="en-US" sz="900" b="1" baseline="0" noProof="0" dirty="0">
                  <a:solidFill>
                    <a:schemeClr val="tx1">
                      <a:lumMod val="65000"/>
                      <a:lumOff val="35000"/>
                    </a:schemeClr>
                  </a:solidFill>
                  <a:latin typeface="+mn-lt"/>
                  <a:cs typeface="Arial" panose="020B0604020202020204" pitchFamily="34" charset="0"/>
                </a:rPr>
                <a:t>use bullets</a:t>
              </a:r>
              <a:r>
                <a:rPr lang="en-US" sz="900" baseline="0" noProof="0" dirty="0">
                  <a:solidFill>
                    <a:schemeClr val="tx1">
                      <a:lumMod val="65000"/>
                      <a:lumOff val="35000"/>
                    </a:schemeClr>
                  </a:solidFill>
                  <a:latin typeface="+mn-lt"/>
                  <a:cs typeface="Arial" panose="020B0604020202020204" pitchFamily="34" charset="0"/>
                </a:rPr>
                <a:t>, press </a:t>
              </a:r>
              <a:r>
                <a:rPr lang="en-US" sz="900" b="1" baseline="0" noProof="0" dirty="0">
                  <a:solidFill>
                    <a:schemeClr val="tx1">
                      <a:lumMod val="65000"/>
                      <a:lumOff val="35000"/>
                    </a:schemeClr>
                  </a:solidFill>
                  <a:latin typeface="+mn-lt"/>
                  <a:cs typeface="Arial" panose="020B0604020202020204" pitchFamily="34" charset="0"/>
                </a:rPr>
                <a:t>enter/return </a:t>
              </a:r>
              <a:r>
                <a:rPr lang="en-US" sz="900" baseline="0" noProof="0" dirty="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dirty="0">
                <a:solidFill>
                  <a:schemeClr val="tx1">
                    <a:lumMod val="65000"/>
                    <a:lumOff val="35000"/>
                  </a:schemeClr>
                </a:solidFill>
                <a:latin typeface="+mn-lt"/>
                <a:cs typeface="Arial" panose="020B0604020202020204" pitchFamily="34" charset="0"/>
              </a:endParaRPr>
            </a:p>
            <a:p>
              <a:pPr algn="ctr"/>
              <a:endParaRPr lang="en-US" sz="900" baseline="0" noProof="0" dirty="0">
                <a:solidFill>
                  <a:schemeClr val="tx1">
                    <a:lumMod val="65000"/>
                    <a:lumOff val="35000"/>
                  </a:schemeClr>
                </a:solidFill>
                <a:latin typeface="+mn-lt"/>
                <a:cs typeface="Arial" panose="020B0604020202020204" pitchFamily="34" charset="0"/>
              </a:endParaRPr>
            </a:p>
            <a:p>
              <a:pPr algn="ctr"/>
              <a:endParaRPr lang="en-US" sz="900" baseline="0" noProof="0" dirty="0">
                <a:solidFill>
                  <a:schemeClr val="tx1">
                    <a:lumMod val="65000"/>
                    <a:lumOff val="35000"/>
                  </a:schemeClr>
                </a:solidFill>
                <a:latin typeface="+mn-lt"/>
                <a:cs typeface="Arial" panose="020B0604020202020204" pitchFamily="34" charset="0"/>
              </a:endParaRPr>
            </a:p>
            <a:p>
              <a:pPr algn="ctr"/>
              <a:endParaRPr lang="en-US" sz="900" baseline="0" noProof="0" dirty="0">
                <a:solidFill>
                  <a:schemeClr val="tx1">
                    <a:lumMod val="65000"/>
                    <a:lumOff val="35000"/>
                  </a:schemeClr>
                </a:solidFill>
                <a:latin typeface="+mn-lt"/>
                <a:cs typeface="Arial" panose="020B0604020202020204" pitchFamily="34" charset="0"/>
              </a:endParaRPr>
            </a:p>
            <a:p>
              <a:pPr algn="ctr"/>
              <a:endParaRPr lang="en-US" sz="900" baseline="0" noProof="0" dirty="0">
                <a:solidFill>
                  <a:schemeClr val="tx1">
                    <a:lumMod val="65000"/>
                    <a:lumOff val="35000"/>
                  </a:schemeClr>
                </a:solidFill>
                <a:latin typeface="+mn-lt"/>
                <a:cs typeface="Arial" panose="020B0604020202020204" pitchFamily="34" charset="0"/>
              </a:endParaRPr>
            </a:p>
            <a:p>
              <a:pPr algn="ctr"/>
              <a:endParaRPr lang="en-US" sz="900" baseline="0" noProof="0" dirty="0">
                <a:solidFill>
                  <a:schemeClr val="tx1">
                    <a:lumMod val="65000"/>
                    <a:lumOff val="35000"/>
                  </a:schemeClr>
                </a:solidFill>
                <a:latin typeface="+mn-lt"/>
                <a:cs typeface="Arial" panose="020B0604020202020204" pitchFamily="34" charset="0"/>
              </a:endParaRPr>
            </a:p>
            <a:p>
              <a:pPr algn="ctr"/>
              <a:endParaRPr lang="en-US" sz="900" baseline="0" noProof="0" dirty="0">
                <a:solidFill>
                  <a:schemeClr val="tx1">
                    <a:lumMod val="65000"/>
                    <a:lumOff val="35000"/>
                  </a:schemeClr>
                </a:solidFill>
                <a:latin typeface="+mn-lt"/>
                <a:cs typeface="Arial" panose="020B0604020202020204" pitchFamily="34" charset="0"/>
              </a:endParaRPr>
            </a:p>
          </p:txBody>
        </p:sp>
        <p:pic>
          <p:nvPicPr>
            <p:cNvPr id="10" name="Picture 9">
              <a:extLst>
                <a:ext uri="{FF2B5EF4-FFF2-40B4-BE49-F238E27FC236}">
                  <a16:creationId xmlns:a16="http://schemas.microsoft.com/office/drawing/2014/main" id="{25684C5F-330F-B890-0B41-2A12C6A698B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12" name="Oval 4">
              <a:extLst>
                <a:ext uri="{FF2B5EF4-FFF2-40B4-BE49-F238E27FC236}">
                  <a16:creationId xmlns:a16="http://schemas.microsoft.com/office/drawing/2014/main" id="{AA3B6F98-E07F-F94A-26DA-A94ECF924CCD}"/>
                </a:ext>
              </a:extLst>
            </p:cNvPr>
            <p:cNvSpPr/>
            <p:nvPr userDrawn="1"/>
          </p:nvSpPr>
          <p:spPr>
            <a:xfrm>
              <a:off x="13194299" y="52819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13" name="Connector: Elbow 131">
              <a:extLst>
                <a:ext uri="{FF2B5EF4-FFF2-40B4-BE49-F238E27FC236}">
                  <a16:creationId xmlns:a16="http://schemas.microsoft.com/office/drawing/2014/main" id="{3C1FEF68-DD57-8BB2-1409-B46DA1104A0C}"/>
                </a:ext>
              </a:extLst>
            </p:cNvPr>
            <p:cNvCxnSpPr>
              <a:cxnSpLocks/>
              <a:endCxn id="12" idx="0"/>
            </p:cNvCxnSpPr>
            <p:nvPr userDrawn="1"/>
          </p:nvCxnSpPr>
          <p:spPr>
            <a:xfrm rot="5400000">
              <a:off x="13324711" y="50100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Text Placeholder 14">
            <a:extLst>
              <a:ext uri="{FF2B5EF4-FFF2-40B4-BE49-F238E27FC236}">
                <a16:creationId xmlns:a16="http://schemas.microsoft.com/office/drawing/2014/main" id="{2414B362-EE07-DCFA-B782-2ED0499F4422}"/>
              </a:ext>
            </a:extLst>
          </p:cNvPr>
          <p:cNvSpPr>
            <a:spLocks noGrp="1"/>
          </p:cNvSpPr>
          <p:nvPr>
            <p:ph type="body" sz="quarter" idx="28" hasCustomPrompt="1"/>
          </p:nvPr>
        </p:nvSpPr>
        <p:spPr>
          <a:xfrm>
            <a:off x="8634806" y="4319588"/>
            <a:ext cx="3064388" cy="1809750"/>
          </a:xfrm>
        </p:spPr>
        <p:txBody>
          <a:bodyPr/>
          <a:lstStyle>
            <a:lvl1pPr marL="6350" indent="0" algn="ctr">
              <a:buNone/>
              <a:defRPr sz="9000">
                <a:solidFill>
                  <a:schemeClr val="bg1"/>
                </a:solidFill>
              </a:defRPr>
            </a:lvl1pPr>
            <a:lvl2pPr marL="9525" indent="0" algn="ctr">
              <a:spcBef>
                <a:spcPts val="0"/>
              </a:spcBef>
              <a:buNone/>
              <a:tabLst/>
              <a:defRPr>
                <a:solidFill>
                  <a:schemeClr val="bg1"/>
                </a:solidFill>
              </a:defRPr>
            </a:lvl2pPr>
          </a:lstStyle>
          <a:p>
            <a:pPr lvl="0"/>
            <a:r>
              <a:rPr lang="en-US" dirty="0"/>
              <a:t>XX%</a:t>
            </a:r>
          </a:p>
          <a:p>
            <a:pPr lvl="1"/>
            <a:r>
              <a:rPr lang="en-US" dirty="0"/>
              <a:t>Andre </a:t>
            </a:r>
            <a:r>
              <a:rPr lang="en-US" dirty="0" err="1"/>
              <a:t>nivå</a:t>
            </a:r>
            <a:endParaRPr lang="en-US" dirty="0"/>
          </a:p>
        </p:txBody>
      </p:sp>
      <p:sp>
        <p:nvSpPr>
          <p:cNvPr id="14" name="Text Placeholder 7">
            <a:extLst>
              <a:ext uri="{FF2B5EF4-FFF2-40B4-BE49-F238E27FC236}">
                <a16:creationId xmlns:a16="http://schemas.microsoft.com/office/drawing/2014/main" id="{EED52E9A-D52D-B9CD-61A1-9D5C82B3ACD3}"/>
              </a:ext>
            </a:extLst>
          </p:cNvPr>
          <p:cNvSpPr>
            <a:spLocks noGrp="1"/>
          </p:cNvSpPr>
          <p:nvPr>
            <p:ph type="body" sz="quarter" idx="29" hasCustomPrompt="1"/>
          </p:nvPr>
        </p:nvSpPr>
        <p:spPr>
          <a:xfrm>
            <a:off x="576262" y="291600"/>
            <a:ext cx="5180400" cy="180000"/>
          </a:xfrm>
        </p:spPr>
        <p:txBody>
          <a:bodyPr/>
          <a:lstStyle>
            <a:lvl1pPr marL="6350" indent="0">
              <a:buNone/>
              <a:defRPr sz="1200"/>
            </a:lvl1pPr>
          </a:lstStyle>
          <a:p>
            <a:pPr lvl="0"/>
            <a:r>
              <a:rPr lang="nb-NO" dirty="0"/>
              <a:t>Klikk for å legge til kapittel</a:t>
            </a:r>
            <a:endParaRPr lang="en-US" dirty="0"/>
          </a:p>
        </p:txBody>
      </p:sp>
    </p:spTree>
    <p:extLst>
      <p:ext uri="{BB962C8B-B14F-4D97-AF65-F5344CB8AC3E}">
        <p14:creationId xmlns:p14="http://schemas.microsoft.com/office/powerpoint/2010/main" val="25811959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 introduksjon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2D4C4-9336-F5BA-7293-A93F34A07034}"/>
              </a:ext>
            </a:extLst>
          </p:cNvPr>
          <p:cNvSpPr>
            <a:spLocks noGrp="1"/>
          </p:cNvSpPr>
          <p:nvPr>
            <p:ph type="title" hasCustomPrompt="1"/>
          </p:nvPr>
        </p:nvSpPr>
        <p:spPr>
          <a:xfrm>
            <a:off x="576000" y="730800"/>
            <a:ext cx="11021062" cy="421200"/>
          </a:xfrm>
        </p:spPr>
        <p:txBody>
          <a:bodyPr/>
          <a:lstStyle/>
          <a:p>
            <a:r>
              <a:rPr lang="nb-NO" dirty="0"/>
              <a:t>Klikk for å legge til en overskrift på maksimalt én linje</a:t>
            </a:r>
            <a:endParaRPr lang="en-US" dirty="0"/>
          </a:p>
        </p:txBody>
      </p:sp>
      <p:sp>
        <p:nvSpPr>
          <p:cNvPr id="7" name="Text Placeholder 6">
            <a:extLst>
              <a:ext uri="{FF2B5EF4-FFF2-40B4-BE49-F238E27FC236}">
                <a16:creationId xmlns:a16="http://schemas.microsoft.com/office/drawing/2014/main" id="{B5D33D17-CD5B-91AB-5ADF-ABAFEEF9D73E}"/>
              </a:ext>
            </a:extLst>
          </p:cNvPr>
          <p:cNvSpPr>
            <a:spLocks noGrp="1"/>
          </p:cNvSpPr>
          <p:nvPr>
            <p:ph type="body" sz="quarter" idx="13" hasCustomPrompt="1"/>
          </p:nvPr>
        </p:nvSpPr>
        <p:spPr>
          <a:xfrm>
            <a:off x="576000" y="3092453"/>
            <a:ext cx="1454400" cy="1454400"/>
          </a:xfrm>
          <a:solidFill>
            <a:schemeClr val="tx2"/>
          </a:solidFill>
        </p:spPr>
        <p:txBody>
          <a:bodyPr lIns="144000" tIns="216000" rIns="144000" bIns="144000"/>
          <a:lstStyle>
            <a:lvl1pPr marL="6350" indent="0">
              <a:spcAft>
                <a:spcPts val="600"/>
              </a:spcAft>
              <a:buNone/>
              <a:defRPr sz="1100" b="1">
                <a:solidFill>
                  <a:schemeClr val="bg1"/>
                </a:solidFill>
              </a:defRPr>
            </a:lvl1pPr>
            <a:lvl2pPr marL="9525" indent="0">
              <a:buNone/>
              <a:tabLst/>
              <a:defRPr sz="1100">
                <a:solidFill>
                  <a:schemeClr val="bg1"/>
                </a:solidFill>
              </a:defRPr>
            </a:lvl2pPr>
          </a:lstStyle>
          <a:p>
            <a:pPr lvl="0"/>
            <a:r>
              <a:rPr lang="en-US" dirty="0" err="1"/>
              <a:t>Navn</a:t>
            </a:r>
            <a:endParaRPr lang="en-US" dirty="0"/>
          </a:p>
          <a:p>
            <a:pPr lvl="1"/>
            <a:r>
              <a:rPr lang="en-US" dirty="0" err="1"/>
              <a:t>Informasjon</a:t>
            </a:r>
            <a:endParaRPr lang="en-US" dirty="0"/>
          </a:p>
        </p:txBody>
      </p:sp>
      <p:sp>
        <p:nvSpPr>
          <p:cNvPr id="9" name="Picture Placeholder 8">
            <a:extLst>
              <a:ext uri="{FF2B5EF4-FFF2-40B4-BE49-F238E27FC236}">
                <a16:creationId xmlns:a16="http://schemas.microsoft.com/office/drawing/2014/main" id="{D9A2A1CF-EE92-BE83-95CC-131EBBB24271}"/>
              </a:ext>
            </a:extLst>
          </p:cNvPr>
          <p:cNvSpPr>
            <a:spLocks noGrp="1"/>
          </p:cNvSpPr>
          <p:nvPr>
            <p:ph type="pic" sz="quarter" idx="14"/>
          </p:nvPr>
        </p:nvSpPr>
        <p:spPr>
          <a:xfrm>
            <a:off x="576000" y="1502224"/>
            <a:ext cx="1454400" cy="1454400"/>
          </a:xfrm>
        </p:spPr>
        <p:txBody>
          <a:bodyPr/>
          <a:lstStyle>
            <a:lvl1pPr marL="6350" indent="0">
              <a:buNone/>
              <a:defRPr sz="1200"/>
            </a:lvl1pPr>
          </a:lstStyle>
          <a:p>
            <a:r>
              <a:rPr lang="nb-NO" noProof="0"/>
              <a:t>Klikk på ikonet for å legge til et bilde</a:t>
            </a:r>
            <a:endParaRPr lang="en-US" noProof="0" dirty="0"/>
          </a:p>
        </p:txBody>
      </p:sp>
      <p:sp>
        <p:nvSpPr>
          <p:cNvPr id="10" name="Picture Placeholder 8">
            <a:extLst>
              <a:ext uri="{FF2B5EF4-FFF2-40B4-BE49-F238E27FC236}">
                <a16:creationId xmlns:a16="http://schemas.microsoft.com/office/drawing/2014/main" id="{948F295D-FA29-E7B6-FA34-6A2FC53848DE}"/>
              </a:ext>
            </a:extLst>
          </p:cNvPr>
          <p:cNvSpPr>
            <a:spLocks noGrp="1"/>
          </p:cNvSpPr>
          <p:nvPr>
            <p:ph type="pic" sz="quarter" idx="15"/>
          </p:nvPr>
        </p:nvSpPr>
        <p:spPr>
          <a:xfrm>
            <a:off x="576000" y="4682682"/>
            <a:ext cx="1454400" cy="1454400"/>
          </a:xfrm>
        </p:spPr>
        <p:txBody>
          <a:bodyPr/>
          <a:lstStyle>
            <a:lvl1pPr marL="6350" indent="0">
              <a:buNone/>
              <a:defRPr sz="1200"/>
            </a:lvl1pPr>
          </a:lstStyle>
          <a:p>
            <a:r>
              <a:rPr lang="nb-NO" noProof="0"/>
              <a:t>Klikk på ikonet for å legge til et bilde</a:t>
            </a:r>
            <a:endParaRPr lang="en-US" noProof="0" dirty="0"/>
          </a:p>
        </p:txBody>
      </p:sp>
      <p:sp>
        <p:nvSpPr>
          <p:cNvPr id="11" name="Text Placeholder 6">
            <a:extLst>
              <a:ext uri="{FF2B5EF4-FFF2-40B4-BE49-F238E27FC236}">
                <a16:creationId xmlns:a16="http://schemas.microsoft.com/office/drawing/2014/main" id="{9A4779E3-67FF-9202-8A5C-BCF6EB0052C6}"/>
              </a:ext>
            </a:extLst>
          </p:cNvPr>
          <p:cNvSpPr>
            <a:spLocks noGrp="1"/>
          </p:cNvSpPr>
          <p:nvPr>
            <p:ph type="body" sz="quarter" idx="16" hasCustomPrompt="1"/>
          </p:nvPr>
        </p:nvSpPr>
        <p:spPr>
          <a:xfrm>
            <a:off x="2172583" y="1506096"/>
            <a:ext cx="1454400" cy="1454400"/>
          </a:xfrm>
          <a:solidFill>
            <a:schemeClr val="tx2"/>
          </a:solidFill>
        </p:spPr>
        <p:txBody>
          <a:bodyPr lIns="144000" tIns="216000" rIns="144000" bIns="144000"/>
          <a:lstStyle>
            <a:lvl1pPr marL="6350" indent="0">
              <a:spcAft>
                <a:spcPts val="600"/>
              </a:spcAft>
              <a:buNone/>
              <a:defRPr sz="1100" b="1">
                <a:solidFill>
                  <a:schemeClr val="bg1"/>
                </a:solidFill>
              </a:defRPr>
            </a:lvl1pPr>
            <a:lvl2pPr marL="9525" indent="0">
              <a:buNone/>
              <a:tabLst/>
              <a:defRPr sz="1100">
                <a:solidFill>
                  <a:schemeClr val="bg1"/>
                </a:solidFill>
              </a:defRPr>
            </a:lvl2pPr>
          </a:lstStyle>
          <a:p>
            <a:pPr lvl="0"/>
            <a:r>
              <a:rPr lang="en-US" dirty="0" err="1"/>
              <a:t>Navn</a:t>
            </a:r>
            <a:endParaRPr lang="en-US" dirty="0"/>
          </a:p>
          <a:p>
            <a:pPr lvl="1"/>
            <a:r>
              <a:rPr lang="en-US" dirty="0" err="1"/>
              <a:t>Informasjon</a:t>
            </a:r>
            <a:endParaRPr lang="en-US" dirty="0"/>
          </a:p>
        </p:txBody>
      </p:sp>
      <p:sp>
        <p:nvSpPr>
          <p:cNvPr id="12" name="Picture Placeholder 8">
            <a:extLst>
              <a:ext uri="{FF2B5EF4-FFF2-40B4-BE49-F238E27FC236}">
                <a16:creationId xmlns:a16="http://schemas.microsoft.com/office/drawing/2014/main" id="{C38CBD75-41EC-D6F9-03E2-B6E42C942892}"/>
              </a:ext>
            </a:extLst>
          </p:cNvPr>
          <p:cNvSpPr>
            <a:spLocks noGrp="1"/>
          </p:cNvSpPr>
          <p:nvPr>
            <p:ph type="pic" sz="quarter" idx="17"/>
          </p:nvPr>
        </p:nvSpPr>
        <p:spPr>
          <a:xfrm>
            <a:off x="2172583" y="3092453"/>
            <a:ext cx="1454400" cy="1454400"/>
          </a:xfrm>
        </p:spPr>
        <p:txBody>
          <a:bodyPr/>
          <a:lstStyle>
            <a:lvl1pPr marL="6350" indent="0">
              <a:buNone/>
              <a:defRPr sz="1200"/>
            </a:lvl1pPr>
          </a:lstStyle>
          <a:p>
            <a:r>
              <a:rPr lang="nb-NO" noProof="0"/>
              <a:t>Klikk på ikonet for å legge til et bilde</a:t>
            </a:r>
            <a:endParaRPr lang="en-US" noProof="0" dirty="0"/>
          </a:p>
        </p:txBody>
      </p:sp>
      <p:sp>
        <p:nvSpPr>
          <p:cNvPr id="17" name="Text Placeholder 6">
            <a:extLst>
              <a:ext uri="{FF2B5EF4-FFF2-40B4-BE49-F238E27FC236}">
                <a16:creationId xmlns:a16="http://schemas.microsoft.com/office/drawing/2014/main" id="{BD756DE8-1690-5DF1-1795-A7873A7F6EA2}"/>
              </a:ext>
            </a:extLst>
          </p:cNvPr>
          <p:cNvSpPr>
            <a:spLocks noGrp="1"/>
          </p:cNvSpPr>
          <p:nvPr>
            <p:ph type="body" sz="quarter" idx="22" hasCustomPrompt="1"/>
          </p:nvPr>
        </p:nvSpPr>
        <p:spPr>
          <a:xfrm>
            <a:off x="2172583" y="4682682"/>
            <a:ext cx="1454400" cy="1454400"/>
          </a:xfrm>
          <a:solidFill>
            <a:schemeClr val="tx2"/>
          </a:solidFill>
        </p:spPr>
        <p:txBody>
          <a:bodyPr lIns="144000" tIns="216000" rIns="144000" bIns="144000"/>
          <a:lstStyle>
            <a:lvl1pPr marL="6350" indent="0">
              <a:spcAft>
                <a:spcPts val="600"/>
              </a:spcAft>
              <a:buNone/>
              <a:defRPr sz="1100" b="1">
                <a:solidFill>
                  <a:schemeClr val="bg1"/>
                </a:solidFill>
              </a:defRPr>
            </a:lvl1pPr>
            <a:lvl2pPr marL="9525" indent="0">
              <a:buNone/>
              <a:tabLst/>
              <a:defRPr sz="1100">
                <a:solidFill>
                  <a:schemeClr val="bg1"/>
                </a:solidFill>
              </a:defRPr>
            </a:lvl2pPr>
          </a:lstStyle>
          <a:p>
            <a:pPr lvl="0"/>
            <a:r>
              <a:rPr lang="en-US" dirty="0" err="1"/>
              <a:t>Navn</a:t>
            </a:r>
            <a:endParaRPr lang="en-US" dirty="0"/>
          </a:p>
          <a:p>
            <a:pPr lvl="1"/>
            <a:r>
              <a:rPr lang="en-US" dirty="0" err="1"/>
              <a:t>Informasjon</a:t>
            </a:r>
            <a:endParaRPr lang="en-US" dirty="0"/>
          </a:p>
        </p:txBody>
      </p:sp>
      <p:sp>
        <p:nvSpPr>
          <p:cNvPr id="18" name="Text Placeholder 6">
            <a:extLst>
              <a:ext uri="{FF2B5EF4-FFF2-40B4-BE49-F238E27FC236}">
                <a16:creationId xmlns:a16="http://schemas.microsoft.com/office/drawing/2014/main" id="{5DCA5568-E127-7BE2-2926-85591BE9EA8E}"/>
              </a:ext>
            </a:extLst>
          </p:cNvPr>
          <p:cNvSpPr>
            <a:spLocks noGrp="1"/>
          </p:cNvSpPr>
          <p:nvPr>
            <p:ph type="body" sz="quarter" idx="23" hasCustomPrompt="1"/>
          </p:nvPr>
        </p:nvSpPr>
        <p:spPr>
          <a:xfrm>
            <a:off x="5365749" y="1506096"/>
            <a:ext cx="1454400" cy="1454400"/>
          </a:xfrm>
          <a:solidFill>
            <a:schemeClr val="tx2"/>
          </a:solidFill>
        </p:spPr>
        <p:txBody>
          <a:bodyPr lIns="144000" tIns="216000" rIns="144000" bIns="144000"/>
          <a:lstStyle>
            <a:lvl1pPr marL="6350" indent="0">
              <a:spcAft>
                <a:spcPts val="600"/>
              </a:spcAft>
              <a:buNone/>
              <a:defRPr sz="1100" b="1">
                <a:solidFill>
                  <a:schemeClr val="bg1"/>
                </a:solidFill>
              </a:defRPr>
            </a:lvl1pPr>
            <a:lvl2pPr marL="9525" indent="0">
              <a:buNone/>
              <a:tabLst/>
              <a:defRPr sz="1100">
                <a:solidFill>
                  <a:schemeClr val="bg1"/>
                </a:solidFill>
              </a:defRPr>
            </a:lvl2pPr>
          </a:lstStyle>
          <a:p>
            <a:pPr lvl="0"/>
            <a:r>
              <a:rPr lang="en-US" dirty="0"/>
              <a:t>Name</a:t>
            </a:r>
          </a:p>
          <a:p>
            <a:pPr lvl="1"/>
            <a:r>
              <a:rPr lang="en-US" dirty="0"/>
              <a:t>Information</a:t>
            </a:r>
          </a:p>
        </p:txBody>
      </p:sp>
      <p:sp>
        <p:nvSpPr>
          <p:cNvPr id="19" name="Picture Placeholder 8">
            <a:extLst>
              <a:ext uri="{FF2B5EF4-FFF2-40B4-BE49-F238E27FC236}">
                <a16:creationId xmlns:a16="http://schemas.microsoft.com/office/drawing/2014/main" id="{614C8623-E5FB-98B7-6681-A74A7614FAA8}"/>
              </a:ext>
            </a:extLst>
          </p:cNvPr>
          <p:cNvSpPr>
            <a:spLocks noGrp="1"/>
          </p:cNvSpPr>
          <p:nvPr>
            <p:ph type="pic" sz="quarter" idx="24"/>
          </p:nvPr>
        </p:nvSpPr>
        <p:spPr>
          <a:xfrm>
            <a:off x="5365749" y="3092453"/>
            <a:ext cx="1454400" cy="1454400"/>
          </a:xfrm>
        </p:spPr>
        <p:txBody>
          <a:bodyPr/>
          <a:lstStyle>
            <a:lvl1pPr marL="6350" indent="0">
              <a:buNone/>
              <a:defRPr sz="1200"/>
            </a:lvl1pPr>
          </a:lstStyle>
          <a:p>
            <a:r>
              <a:rPr lang="nb-NO" noProof="0"/>
              <a:t>Klikk på ikonet for å legge til et bilde</a:t>
            </a:r>
            <a:endParaRPr lang="en-US" noProof="0" dirty="0"/>
          </a:p>
        </p:txBody>
      </p:sp>
      <p:sp>
        <p:nvSpPr>
          <p:cNvPr id="20" name="Text Placeholder 6">
            <a:extLst>
              <a:ext uri="{FF2B5EF4-FFF2-40B4-BE49-F238E27FC236}">
                <a16:creationId xmlns:a16="http://schemas.microsoft.com/office/drawing/2014/main" id="{C6214FA7-25C7-E788-5A90-2E09ACC640BA}"/>
              </a:ext>
            </a:extLst>
          </p:cNvPr>
          <p:cNvSpPr>
            <a:spLocks noGrp="1"/>
          </p:cNvSpPr>
          <p:nvPr>
            <p:ph type="body" sz="quarter" idx="25" hasCustomPrompt="1"/>
          </p:nvPr>
        </p:nvSpPr>
        <p:spPr>
          <a:xfrm>
            <a:off x="5365749" y="4682682"/>
            <a:ext cx="1454400" cy="1454400"/>
          </a:xfrm>
          <a:solidFill>
            <a:schemeClr val="tx2"/>
          </a:solidFill>
        </p:spPr>
        <p:txBody>
          <a:bodyPr lIns="144000" tIns="216000" rIns="144000" bIns="144000"/>
          <a:lstStyle>
            <a:lvl1pPr marL="6350" indent="0">
              <a:spcAft>
                <a:spcPts val="600"/>
              </a:spcAft>
              <a:buNone/>
              <a:defRPr sz="1100" b="1">
                <a:solidFill>
                  <a:schemeClr val="bg1"/>
                </a:solidFill>
              </a:defRPr>
            </a:lvl1pPr>
            <a:lvl2pPr marL="9525" indent="0">
              <a:buNone/>
              <a:tabLst/>
              <a:defRPr sz="1100">
                <a:solidFill>
                  <a:schemeClr val="bg1"/>
                </a:solidFill>
              </a:defRPr>
            </a:lvl2pPr>
          </a:lstStyle>
          <a:p>
            <a:pPr lvl="0"/>
            <a:r>
              <a:rPr lang="en-US" dirty="0" err="1"/>
              <a:t>Navn</a:t>
            </a:r>
            <a:endParaRPr lang="en-US" dirty="0"/>
          </a:p>
          <a:p>
            <a:pPr lvl="1"/>
            <a:r>
              <a:rPr lang="en-US" dirty="0" err="1"/>
              <a:t>Informasjon</a:t>
            </a:r>
            <a:endParaRPr lang="en-US" dirty="0"/>
          </a:p>
        </p:txBody>
      </p:sp>
      <p:sp>
        <p:nvSpPr>
          <p:cNvPr id="21" name="Text Placeholder 6">
            <a:extLst>
              <a:ext uri="{FF2B5EF4-FFF2-40B4-BE49-F238E27FC236}">
                <a16:creationId xmlns:a16="http://schemas.microsoft.com/office/drawing/2014/main" id="{CA0785F2-E900-7953-2C8E-D9EC2488C736}"/>
              </a:ext>
            </a:extLst>
          </p:cNvPr>
          <p:cNvSpPr>
            <a:spLocks noGrp="1"/>
          </p:cNvSpPr>
          <p:nvPr>
            <p:ph type="body" sz="quarter" idx="26" hasCustomPrompt="1"/>
          </p:nvPr>
        </p:nvSpPr>
        <p:spPr>
          <a:xfrm>
            <a:off x="3769166" y="3092453"/>
            <a:ext cx="1454400" cy="1454400"/>
          </a:xfrm>
          <a:solidFill>
            <a:schemeClr val="tx2"/>
          </a:solidFill>
        </p:spPr>
        <p:txBody>
          <a:bodyPr lIns="144000" tIns="216000" rIns="144000" bIns="144000"/>
          <a:lstStyle>
            <a:lvl1pPr marL="6350" indent="0">
              <a:spcAft>
                <a:spcPts val="600"/>
              </a:spcAft>
              <a:buNone/>
              <a:defRPr sz="1100" b="1">
                <a:solidFill>
                  <a:schemeClr val="bg1"/>
                </a:solidFill>
              </a:defRPr>
            </a:lvl1pPr>
            <a:lvl2pPr marL="9525" indent="0">
              <a:buNone/>
              <a:tabLst/>
              <a:defRPr sz="1100">
                <a:solidFill>
                  <a:schemeClr val="bg1"/>
                </a:solidFill>
              </a:defRPr>
            </a:lvl2pPr>
          </a:lstStyle>
          <a:p>
            <a:pPr lvl="0"/>
            <a:r>
              <a:rPr lang="en-US" dirty="0" err="1"/>
              <a:t>Navn</a:t>
            </a:r>
            <a:endParaRPr lang="en-US" dirty="0"/>
          </a:p>
          <a:p>
            <a:pPr lvl="1"/>
            <a:r>
              <a:rPr lang="en-US" dirty="0" err="1"/>
              <a:t>Informasjon</a:t>
            </a:r>
            <a:endParaRPr lang="en-US" dirty="0"/>
          </a:p>
        </p:txBody>
      </p:sp>
      <p:sp>
        <p:nvSpPr>
          <p:cNvPr id="22" name="Picture Placeholder 8">
            <a:extLst>
              <a:ext uri="{FF2B5EF4-FFF2-40B4-BE49-F238E27FC236}">
                <a16:creationId xmlns:a16="http://schemas.microsoft.com/office/drawing/2014/main" id="{19DE8E1C-968E-9239-2803-FE300CA3C3B7}"/>
              </a:ext>
            </a:extLst>
          </p:cNvPr>
          <p:cNvSpPr>
            <a:spLocks noGrp="1"/>
          </p:cNvSpPr>
          <p:nvPr>
            <p:ph type="pic" sz="quarter" idx="27"/>
          </p:nvPr>
        </p:nvSpPr>
        <p:spPr>
          <a:xfrm>
            <a:off x="3769166" y="1502224"/>
            <a:ext cx="1454400" cy="1454400"/>
          </a:xfrm>
        </p:spPr>
        <p:txBody>
          <a:bodyPr/>
          <a:lstStyle>
            <a:lvl1pPr marL="6350" indent="0">
              <a:buNone/>
              <a:defRPr sz="1200"/>
            </a:lvl1pPr>
          </a:lstStyle>
          <a:p>
            <a:r>
              <a:rPr lang="nb-NO" noProof="0"/>
              <a:t>Klikk på ikonet for å legge til et bilde</a:t>
            </a:r>
            <a:endParaRPr lang="en-US" noProof="0" dirty="0"/>
          </a:p>
        </p:txBody>
      </p:sp>
      <p:sp>
        <p:nvSpPr>
          <p:cNvPr id="23" name="Picture Placeholder 8">
            <a:extLst>
              <a:ext uri="{FF2B5EF4-FFF2-40B4-BE49-F238E27FC236}">
                <a16:creationId xmlns:a16="http://schemas.microsoft.com/office/drawing/2014/main" id="{857069A8-C89E-1169-3005-DED75FE0A53E}"/>
              </a:ext>
            </a:extLst>
          </p:cNvPr>
          <p:cNvSpPr>
            <a:spLocks noGrp="1"/>
          </p:cNvSpPr>
          <p:nvPr>
            <p:ph type="pic" sz="quarter" idx="28"/>
          </p:nvPr>
        </p:nvSpPr>
        <p:spPr>
          <a:xfrm>
            <a:off x="3769166" y="4682682"/>
            <a:ext cx="1454400" cy="1454400"/>
          </a:xfrm>
        </p:spPr>
        <p:txBody>
          <a:bodyPr/>
          <a:lstStyle>
            <a:lvl1pPr marL="6350" indent="0">
              <a:buNone/>
              <a:defRPr sz="1200"/>
            </a:lvl1pPr>
          </a:lstStyle>
          <a:p>
            <a:r>
              <a:rPr lang="nb-NO" noProof="0"/>
              <a:t>Klikk på ikonet for å legge til et bilde</a:t>
            </a:r>
            <a:endParaRPr lang="en-US" noProof="0" dirty="0"/>
          </a:p>
        </p:txBody>
      </p:sp>
      <p:sp>
        <p:nvSpPr>
          <p:cNvPr id="24" name="Text Placeholder 6">
            <a:extLst>
              <a:ext uri="{FF2B5EF4-FFF2-40B4-BE49-F238E27FC236}">
                <a16:creationId xmlns:a16="http://schemas.microsoft.com/office/drawing/2014/main" id="{407C0497-E40E-7BD5-9A2D-C4A289DD3840}"/>
              </a:ext>
            </a:extLst>
          </p:cNvPr>
          <p:cNvSpPr>
            <a:spLocks noGrp="1"/>
          </p:cNvSpPr>
          <p:nvPr>
            <p:ph type="body" sz="quarter" idx="29" hasCustomPrompt="1"/>
          </p:nvPr>
        </p:nvSpPr>
        <p:spPr>
          <a:xfrm>
            <a:off x="6962332" y="3092453"/>
            <a:ext cx="1454400" cy="1454400"/>
          </a:xfrm>
          <a:solidFill>
            <a:schemeClr val="tx2"/>
          </a:solidFill>
        </p:spPr>
        <p:txBody>
          <a:bodyPr lIns="144000" tIns="216000" rIns="144000" bIns="144000"/>
          <a:lstStyle>
            <a:lvl1pPr marL="6350" indent="0">
              <a:spcAft>
                <a:spcPts val="600"/>
              </a:spcAft>
              <a:buNone/>
              <a:defRPr sz="1200" b="1">
                <a:solidFill>
                  <a:schemeClr val="bg1"/>
                </a:solidFill>
              </a:defRPr>
            </a:lvl1pPr>
            <a:lvl2pPr marL="9525" indent="0">
              <a:buNone/>
              <a:tabLst/>
              <a:defRPr sz="1200">
                <a:solidFill>
                  <a:schemeClr val="bg1"/>
                </a:solidFill>
              </a:defRPr>
            </a:lvl2pPr>
          </a:lstStyle>
          <a:p>
            <a:pPr lvl="0"/>
            <a:r>
              <a:rPr lang="en-US" dirty="0" err="1"/>
              <a:t>Navn</a:t>
            </a:r>
            <a:endParaRPr lang="en-US" dirty="0"/>
          </a:p>
          <a:p>
            <a:pPr lvl="1"/>
            <a:r>
              <a:rPr lang="en-US" dirty="0" err="1"/>
              <a:t>Informasjon</a:t>
            </a:r>
            <a:endParaRPr lang="en-US" dirty="0"/>
          </a:p>
        </p:txBody>
      </p:sp>
      <p:sp>
        <p:nvSpPr>
          <p:cNvPr id="25" name="Picture Placeholder 8">
            <a:extLst>
              <a:ext uri="{FF2B5EF4-FFF2-40B4-BE49-F238E27FC236}">
                <a16:creationId xmlns:a16="http://schemas.microsoft.com/office/drawing/2014/main" id="{11D19B55-B4E5-F338-5317-13AC81B24853}"/>
              </a:ext>
            </a:extLst>
          </p:cNvPr>
          <p:cNvSpPr>
            <a:spLocks noGrp="1"/>
          </p:cNvSpPr>
          <p:nvPr>
            <p:ph type="pic" sz="quarter" idx="30" hasCustomPrompt="1"/>
          </p:nvPr>
        </p:nvSpPr>
        <p:spPr>
          <a:xfrm>
            <a:off x="6962332" y="1502224"/>
            <a:ext cx="1454400" cy="1454400"/>
          </a:xfrm>
        </p:spPr>
        <p:txBody>
          <a:bodyPr/>
          <a:lstStyle>
            <a:lvl1pPr marL="6350" indent="0">
              <a:buNone/>
              <a:defRPr sz="1200"/>
            </a:lvl1pPr>
          </a:lstStyle>
          <a:p>
            <a:r>
              <a:rPr lang="nb-NO" noProof="0" dirty="0"/>
              <a:t>Klikk på ikonet for å legge til et bilde</a:t>
            </a:r>
            <a:endParaRPr lang="en-US" noProof="0" dirty="0"/>
          </a:p>
        </p:txBody>
      </p:sp>
      <p:sp>
        <p:nvSpPr>
          <p:cNvPr id="26" name="Picture Placeholder 8">
            <a:extLst>
              <a:ext uri="{FF2B5EF4-FFF2-40B4-BE49-F238E27FC236}">
                <a16:creationId xmlns:a16="http://schemas.microsoft.com/office/drawing/2014/main" id="{18A7F1B4-D06A-5170-0E27-3EAE0C727614}"/>
              </a:ext>
            </a:extLst>
          </p:cNvPr>
          <p:cNvSpPr>
            <a:spLocks noGrp="1"/>
          </p:cNvSpPr>
          <p:nvPr>
            <p:ph type="pic" sz="quarter" idx="31"/>
          </p:nvPr>
        </p:nvSpPr>
        <p:spPr>
          <a:xfrm>
            <a:off x="6962332" y="4682682"/>
            <a:ext cx="1454400" cy="1454400"/>
          </a:xfrm>
        </p:spPr>
        <p:txBody>
          <a:bodyPr/>
          <a:lstStyle>
            <a:lvl1pPr marL="6350" indent="0">
              <a:buNone/>
              <a:defRPr sz="1200"/>
            </a:lvl1pPr>
          </a:lstStyle>
          <a:p>
            <a:r>
              <a:rPr lang="nb-NO" noProof="0"/>
              <a:t>Klikk på ikonet for å legge til et bilde</a:t>
            </a:r>
            <a:endParaRPr lang="en-US" noProof="0" dirty="0"/>
          </a:p>
        </p:txBody>
      </p:sp>
      <p:sp>
        <p:nvSpPr>
          <p:cNvPr id="27" name="Text Placeholder 6">
            <a:extLst>
              <a:ext uri="{FF2B5EF4-FFF2-40B4-BE49-F238E27FC236}">
                <a16:creationId xmlns:a16="http://schemas.microsoft.com/office/drawing/2014/main" id="{599D105E-38DD-7EEE-E94C-9989352CE937}"/>
              </a:ext>
            </a:extLst>
          </p:cNvPr>
          <p:cNvSpPr>
            <a:spLocks noGrp="1"/>
          </p:cNvSpPr>
          <p:nvPr>
            <p:ph type="body" sz="quarter" idx="32" hasCustomPrompt="1"/>
          </p:nvPr>
        </p:nvSpPr>
        <p:spPr>
          <a:xfrm>
            <a:off x="8558915" y="1506096"/>
            <a:ext cx="1454400" cy="1454400"/>
          </a:xfrm>
          <a:solidFill>
            <a:schemeClr val="tx2"/>
          </a:solidFill>
        </p:spPr>
        <p:txBody>
          <a:bodyPr lIns="144000" tIns="216000" rIns="144000" bIns="144000"/>
          <a:lstStyle>
            <a:lvl1pPr marL="6350" indent="0">
              <a:spcAft>
                <a:spcPts val="600"/>
              </a:spcAft>
              <a:buNone/>
              <a:defRPr sz="1100" b="1">
                <a:solidFill>
                  <a:schemeClr val="bg1"/>
                </a:solidFill>
              </a:defRPr>
            </a:lvl1pPr>
            <a:lvl2pPr marL="9525" indent="0">
              <a:buNone/>
              <a:tabLst/>
              <a:defRPr sz="1100">
                <a:solidFill>
                  <a:schemeClr val="bg1"/>
                </a:solidFill>
              </a:defRPr>
            </a:lvl2pPr>
          </a:lstStyle>
          <a:p>
            <a:pPr lvl="0"/>
            <a:r>
              <a:rPr lang="en-US" dirty="0" err="1"/>
              <a:t>Navn</a:t>
            </a:r>
            <a:endParaRPr lang="en-US" dirty="0"/>
          </a:p>
          <a:p>
            <a:pPr lvl="1"/>
            <a:r>
              <a:rPr lang="en-US" dirty="0" err="1"/>
              <a:t>Informasjon</a:t>
            </a:r>
            <a:endParaRPr lang="en-US" dirty="0"/>
          </a:p>
        </p:txBody>
      </p:sp>
      <p:sp>
        <p:nvSpPr>
          <p:cNvPr id="28" name="Picture Placeholder 8">
            <a:extLst>
              <a:ext uri="{FF2B5EF4-FFF2-40B4-BE49-F238E27FC236}">
                <a16:creationId xmlns:a16="http://schemas.microsoft.com/office/drawing/2014/main" id="{FEB0B5A2-63D1-3BEB-CC4E-973BCD0DBD4A}"/>
              </a:ext>
            </a:extLst>
          </p:cNvPr>
          <p:cNvSpPr>
            <a:spLocks noGrp="1"/>
          </p:cNvSpPr>
          <p:nvPr>
            <p:ph type="pic" sz="quarter" idx="33" hasCustomPrompt="1"/>
          </p:nvPr>
        </p:nvSpPr>
        <p:spPr>
          <a:xfrm>
            <a:off x="8558915" y="3092453"/>
            <a:ext cx="1454400" cy="1454400"/>
          </a:xfrm>
        </p:spPr>
        <p:txBody>
          <a:bodyPr/>
          <a:lstStyle>
            <a:lvl1pPr marL="6350" indent="0">
              <a:buNone/>
              <a:defRPr sz="1200"/>
            </a:lvl1pPr>
          </a:lstStyle>
          <a:p>
            <a:r>
              <a:rPr lang="nb-NO" noProof="0" dirty="0"/>
              <a:t>Klikk på ikonet for å legge til et bilde</a:t>
            </a:r>
            <a:endParaRPr lang="en-US" noProof="0" dirty="0"/>
          </a:p>
        </p:txBody>
      </p:sp>
      <p:sp>
        <p:nvSpPr>
          <p:cNvPr id="29" name="Text Placeholder 6">
            <a:extLst>
              <a:ext uri="{FF2B5EF4-FFF2-40B4-BE49-F238E27FC236}">
                <a16:creationId xmlns:a16="http://schemas.microsoft.com/office/drawing/2014/main" id="{7EFCC45D-44E8-C211-A741-850E7DDBAC0A}"/>
              </a:ext>
            </a:extLst>
          </p:cNvPr>
          <p:cNvSpPr>
            <a:spLocks noGrp="1"/>
          </p:cNvSpPr>
          <p:nvPr>
            <p:ph type="body" sz="quarter" idx="34" hasCustomPrompt="1"/>
          </p:nvPr>
        </p:nvSpPr>
        <p:spPr>
          <a:xfrm>
            <a:off x="8558915" y="4682682"/>
            <a:ext cx="1454400" cy="1454400"/>
          </a:xfrm>
          <a:solidFill>
            <a:schemeClr val="tx2"/>
          </a:solidFill>
        </p:spPr>
        <p:txBody>
          <a:bodyPr lIns="144000" tIns="216000" rIns="144000" bIns="144000"/>
          <a:lstStyle>
            <a:lvl1pPr marL="6350" indent="0">
              <a:spcAft>
                <a:spcPts val="600"/>
              </a:spcAft>
              <a:buNone/>
              <a:defRPr sz="1100" b="1">
                <a:solidFill>
                  <a:schemeClr val="bg1"/>
                </a:solidFill>
              </a:defRPr>
            </a:lvl1pPr>
            <a:lvl2pPr marL="9525" indent="0">
              <a:buNone/>
              <a:tabLst/>
              <a:defRPr sz="1100">
                <a:solidFill>
                  <a:schemeClr val="bg1"/>
                </a:solidFill>
              </a:defRPr>
            </a:lvl2pPr>
          </a:lstStyle>
          <a:p>
            <a:pPr lvl="0"/>
            <a:r>
              <a:rPr lang="en-US" dirty="0" err="1"/>
              <a:t>Navn</a:t>
            </a:r>
            <a:endParaRPr lang="en-US" dirty="0"/>
          </a:p>
          <a:p>
            <a:pPr lvl="1"/>
            <a:r>
              <a:rPr lang="en-US" dirty="0" err="1"/>
              <a:t>Informasjon</a:t>
            </a:r>
            <a:endParaRPr lang="en-US" dirty="0"/>
          </a:p>
        </p:txBody>
      </p:sp>
      <p:sp>
        <p:nvSpPr>
          <p:cNvPr id="31" name="Logotype">
            <a:extLst>
              <a:ext uri="{FF2B5EF4-FFF2-40B4-BE49-F238E27FC236}">
                <a16:creationId xmlns:a16="http://schemas.microsoft.com/office/drawing/2014/main" id="{46910EC6-CCB9-B567-7182-9E888315CAB0}"/>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grpSp>
        <p:nvGrpSpPr>
          <p:cNvPr id="32" name="Instructions">
            <a:extLst>
              <a:ext uri="{FF2B5EF4-FFF2-40B4-BE49-F238E27FC236}">
                <a16:creationId xmlns:a16="http://schemas.microsoft.com/office/drawing/2014/main" id="{4B5ED41B-AF2C-082B-F045-15ED5DC21882}"/>
              </a:ext>
            </a:extLst>
          </p:cNvPr>
          <p:cNvGrpSpPr/>
          <p:nvPr userDrawn="1"/>
        </p:nvGrpSpPr>
        <p:grpSpPr>
          <a:xfrm>
            <a:off x="12395260" y="4409999"/>
            <a:ext cx="1681523" cy="1754326"/>
            <a:chOff x="12395260" y="4409999"/>
            <a:chExt cx="1681523" cy="1754326"/>
          </a:xfrm>
        </p:grpSpPr>
        <p:sp>
          <p:nvSpPr>
            <p:cNvPr id="33" name="textruta 17">
              <a:extLst>
                <a:ext uri="{FF2B5EF4-FFF2-40B4-BE49-F238E27FC236}">
                  <a16:creationId xmlns:a16="http://schemas.microsoft.com/office/drawing/2014/main" id="{641F9CAC-82F2-402F-3D0D-3474BC214593}"/>
                </a:ext>
              </a:extLst>
            </p:cNvPr>
            <p:cNvSpPr txBox="1"/>
            <p:nvPr userDrawn="1"/>
          </p:nvSpPr>
          <p:spPr>
            <a:xfrm>
              <a:off x="12395260" y="4409999"/>
              <a:ext cx="1681523" cy="1754326"/>
            </a:xfrm>
            <a:prstGeom prst="rect">
              <a:avLst/>
            </a:prstGeom>
            <a:solidFill>
              <a:schemeClr val="bg1"/>
            </a:solidFill>
            <a:effectLst/>
          </p:spPr>
          <p:txBody>
            <a:bodyPr wrap="square" rtlCol="0" anchor="ctr" anchorCtr="0">
              <a:spAutoFit/>
            </a:bodyPr>
            <a:lstStyle/>
            <a:p>
              <a:pPr algn="ctr"/>
              <a:r>
                <a:rPr lang="en-US" sz="900" baseline="0" noProof="0" dirty="0">
                  <a:solidFill>
                    <a:schemeClr val="tx1">
                      <a:lumMod val="65000"/>
                      <a:lumOff val="35000"/>
                    </a:schemeClr>
                  </a:solidFill>
                  <a:latin typeface="+mn-lt"/>
                  <a:cs typeface="Arial" panose="020B0604020202020204" pitchFamily="34" charset="0"/>
                </a:rPr>
                <a:t>To change from </a:t>
              </a:r>
              <a:r>
                <a:rPr lang="en-US" sz="900" b="1" baseline="0" noProof="0" dirty="0">
                  <a:solidFill>
                    <a:schemeClr val="tx1">
                      <a:lumMod val="65000"/>
                      <a:lumOff val="35000"/>
                    </a:schemeClr>
                  </a:solidFill>
                  <a:latin typeface="+mn-lt"/>
                  <a:cs typeface="Arial" panose="020B0604020202020204" pitchFamily="34" charset="0"/>
                </a:rPr>
                <a:t>Name</a:t>
              </a:r>
              <a:r>
                <a:rPr lang="en-US" sz="900" baseline="0" noProof="0" dirty="0">
                  <a:solidFill>
                    <a:schemeClr val="tx1">
                      <a:lumMod val="65000"/>
                      <a:lumOff val="35000"/>
                    </a:schemeClr>
                  </a:solidFill>
                  <a:latin typeface="+mn-lt"/>
                  <a:cs typeface="Arial" panose="020B0604020202020204" pitchFamily="34" charset="0"/>
                </a:rPr>
                <a:t> to </a:t>
              </a:r>
              <a:r>
                <a:rPr lang="en-US" sz="900" b="1" baseline="0" noProof="0" dirty="0">
                  <a:solidFill>
                    <a:schemeClr val="tx1">
                      <a:lumMod val="65000"/>
                      <a:lumOff val="35000"/>
                    </a:schemeClr>
                  </a:solidFill>
                  <a:latin typeface="+mn-lt"/>
                  <a:cs typeface="Arial" panose="020B0604020202020204" pitchFamily="34" charset="0"/>
                </a:rPr>
                <a:t>Information</a:t>
              </a:r>
              <a:r>
                <a:rPr lang="en-US" sz="900" baseline="0" noProof="0" dirty="0">
                  <a:solidFill>
                    <a:schemeClr val="tx1">
                      <a:lumMod val="65000"/>
                      <a:lumOff val="35000"/>
                    </a:schemeClr>
                  </a:solidFill>
                  <a:latin typeface="+mn-lt"/>
                  <a:cs typeface="Arial" panose="020B0604020202020204" pitchFamily="34" charset="0"/>
                </a:rPr>
                <a:t>, press </a:t>
              </a:r>
              <a:r>
                <a:rPr lang="en-US" sz="900" b="1" baseline="0" noProof="0" dirty="0">
                  <a:solidFill>
                    <a:schemeClr val="tx1">
                      <a:lumMod val="65000"/>
                      <a:lumOff val="35000"/>
                    </a:schemeClr>
                  </a:solidFill>
                  <a:latin typeface="+mn-lt"/>
                  <a:cs typeface="Arial" panose="020B0604020202020204" pitchFamily="34" charset="0"/>
                </a:rPr>
                <a:t>enter/return </a:t>
              </a:r>
              <a:r>
                <a:rPr lang="en-US" sz="900" baseline="0" noProof="0" dirty="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dirty="0">
                <a:solidFill>
                  <a:schemeClr val="tx1">
                    <a:lumMod val="65000"/>
                    <a:lumOff val="35000"/>
                  </a:schemeClr>
                </a:solidFill>
                <a:latin typeface="+mn-lt"/>
                <a:cs typeface="Arial" panose="020B0604020202020204" pitchFamily="34" charset="0"/>
              </a:endParaRPr>
            </a:p>
            <a:p>
              <a:pPr algn="ctr"/>
              <a:endParaRPr lang="en-US" sz="900" baseline="0" noProof="0" dirty="0">
                <a:solidFill>
                  <a:schemeClr val="tx1">
                    <a:lumMod val="65000"/>
                    <a:lumOff val="35000"/>
                  </a:schemeClr>
                </a:solidFill>
                <a:latin typeface="+mn-lt"/>
                <a:cs typeface="Arial" panose="020B0604020202020204" pitchFamily="34" charset="0"/>
              </a:endParaRPr>
            </a:p>
            <a:p>
              <a:pPr algn="ctr"/>
              <a:endParaRPr lang="en-US" sz="900" baseline="0" noProof="0" dirty="0">
                <a:solidFill>
                  <a:schemeClr val="tx1">
                    <a:lumMod val="65000"/>
                    <a:lumOff val="35000"/>
                  </a:schemeClr>
                </a:solidFill>
                <a:latin typeface="+mn-lt"/>
                <a:cs typeface="Arial" panose="020B0604020202020204" pitchFamily="34" charset="0"/>
              </a:endParaRPr>
            </a:p>
            <a:p>
              <a:pPr algn="ctr"/>
              <a:endParaRPr lang="en-US" sz="900" baseline="0" noProof="0" dirty="0">
                <a:solidFill>
                  <a:schemeClr val="tx1">
                    <a:lumMod val="65000"/>
                    <a:lumOff val="35000"/>
                  </a:schemeClr>
                </a:solidFill>
                <a:latin typeface="+mn-lt"/>
                <a:cs typeface="Arial" panose="020B0604020202020204" pitchFamily="34" charset="0"/>
              </a:endParaRPr>
            </a:p>
            <a:p>
              <a:pPr algn="ctr"/>
              <a:endParaRPr lang="en-US" sz="900" baseline="0" noProof="0" dirty="0">
                <a:solidFill>
                  <a:schemeClr val="tx1">
                    <a:lumMod val="65000"/>
                    <a:lumOff val="35000"/>
                  </a:schemeClr>
                </a:solidFill>
                <a:latin typeface="+mn-lt"/>
                <a:cs typeface="Arial" panose="020B0604020202020204" pitchFamily="34" charset="0"/>
              </a:endParaRPr>
            </a:p>
            <a:p>
              <a:pPr algn="ctr"/>
              <a:endParaRPr lang="en-US" sz="900" baseline="0" noProof="0" dirty="0">
                <a:solidFill>
                  <a:schemeClr val="tx1">
                    <a:lumMod val="65000"/>
                    <a:lumOff val="35000"/>
                  </a:schemeClr>
                </a:solidFill>
                <a:latin typeface="+mn-lt"/>
                <a:cs typeface="Arial" panose="020B0604020202020204" pitchFamily="34" charset="0"/>
              </a:endParaRPr>
            </a:p>
            <a:p>
              <a:pPr algn="ctr"/>
              <a:endParaRPr lang="en-US" sz="900" baseline="0" noProof="0" dirty="0">
                <a:solidFill>
                  <a:schemeClr val="tx1">
                    <a:lumMod val="65000"/>
                    <a:lumOff val="35000"/>
                  </a:schemeClr>
                </a:solidFill>
                <a:latin typeface="+mn-lt"/>
                <a:cs typeface="Arial" panose="020B0604020202020204" pitchFamily="34" charset="0"/>
              </a:endParaRPr>
            </a:p>
          </p:txBody>
        </p:sp>
        <p:pic>
          <p:nvPicPr>
            <p:cNvPr id="34" name="Picture 9">
              <a:extLst>
                <a:ext uri="{FF2B5EF4-FFF2-40B4-BE49-F238E27FC236}">
                  <a16:creationId xmlns:a16="http://schemas.microsoft.com/office/drawing/2014/main" id="{84F6ECDD-89B8-6EE6-8084-3921ED0331D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12522649" y="5314208"/>
              <a:ext cx="1422121" cy="721417"/>
            </a:xfrm>
            <a:prstGeom prst="rect">
              <a:avLst/>
            </a:prstGeom>
            <a:ln w="9525">
              <a:solidFill>
                <a:schemeClr val="tx2"/>
              </a:solidFill>
            </a:ln>
          </p:spPr>
        </p:pic>
        <p:sp>
          <p:nvSpPr>
            <p:cNvPr id="35" name="Oval 4">
              <a:extLst>
                <a:ext uri="{FF2B5EF4-FFF2-40B4-BE49-F238E27FC236}">
                  <a16:creationId xmlns:a16="http://schemas.microsoft.com/office/drawing/2014/main" id="{834C2312-FB01-239A-6A8C-1A9F7023BBD6}"/>
                </a:ext>
              </a:extLst>
            </p:cNvPr>
            <p:cNvSpPr/>
            <p:nvPr userDrawn="1"/>
          </p:nvSpPr>
          <p:spPr>
            <a:xfrm>
              <a:off x="13194299" y="5537505"/>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36" name="Connector: Elbow 131">
              <a:extLst>
                <a:ext uri="{FF2B5EF4-FFF2-40B4-BE49-F238E27FC236}">
                  <a16:creationId xmlns:a16="http://schemas.microsoft.com/office/drawing/2014/main" id="{919507BC-A5D9-7D15-DD71-EF8C65446975}"/>
                </a:ext>
              </a:extLst>
            </p:cNvPr>
            <p:cNvCxnSpPr>
              <a:cxnSpLocks/>
              <a:endCxn id="35" idx="0"/>
            </p:cNvCxnSpPr>
            <p:nvPr userDrawn="1"/>
          </p:nvCxnSpPr>
          <p:spPr>
            <a:xfrm rot="5400000">
              <a:off x="13324711" y="5265685"/>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 name="Text Placeholder 7">
            <a:extLst>
              <a:ext uri="{FF2B5EF4-FFF2-40B4-BE49-F238E27FC236}">
                <a16:creationId xmlns:a16="http://schemas.microsoft.com/office/drawing/2014/main" id="{376BCB28-229B-CCD2-504A-3B8F9BFCEFD4}"/>
              </a:ext>
            </a:extLst>
          </p:cNvPr>
          <p:cNvSpPr>
            <a:spLocks noGrp="1"/>
          </p:cNvSpPr>
          <p:nvPr>
            <p:ph type="body" sz="quarter" idx="35" hasCustomPrompt="1"/>
          </p:nvPr>
        </p:nvSpPr>
        <p:spPr>
          <a:xfrm>
            <a:off x="576262" y="291600"/>
            <a:ext cx="5180400" cy="180000"/>
          </a:xfrm>
        </p:spPr>
        <p:txBody>
          <a:bodyPr/>
          <a:lstStyle>
            <a:lvl1pPr marL="6350" indent="0">
              <a:buNone/>
              <a:defRPr sz="1200"/>
            </a:lvl1pPr>
          </a:lstStyle>
          <a:p>
            <a:pPr lvl="0"/>
            <a:r>
              <a:rPr lang="nb-NO" dirty="0"/>
              <a:t>Klikk for å legge til kapittel</a:t>
            </a:r>
            <a:endParaRPr lang="en-US" dirty="0"/>
          </a:p>
        </p:txBody>
      </p:sp>
    </p:spTree>
    <p:extLst>
      <p:ext uri="{BB962C8B-B14F-4D97-AF65-F5344CB8AC3E}">
        <p14:creationId xmlns:p14="http://schemas.microsoft.com/office/powerpoint/2010/main" val="10174519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 Stor Tabell">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FB3D26-F197-56A5-1415-83396BB8D2CC}"/>
              </a:ext>
            </a:extLst>
          </p:cNvPr>
          <p:cNvSpPr>
            <a:spLocks noGrp="1"/>
          </p:cNvSpPr>
          <p:nvPr>
            <p:ph type="title" hasCustomPrompt="1"/>
          </p:nvPr>
        </p:nvSpPr>
        <p:spPr>
          <a:xfrm>
            <a:off x="576000" y="730800"/>
            <a:ext cx="11021062" cy="384506"/>
          </a:xfrm>
        </p:spPr>
        <p:txBody>
          <a:bodyPr/>
          <a:lstStyle/>
          <a:p>
            <a:r>
              <a:rPr lang="nb-NO" dirty="0"/>
              <a:t>Klikk for å legge til en overskrift på maksimalt én linje</a:t>
            </a:r>
            <a:endParaRPr lang="en-US" dirty="0"/>
          </a:p>
        </p:txBody>
      </p:sp>
      <p:sp>
        <p:nvSpPr>
          <p:cNvPr id="6" name="Table Placeholder 5">
            <a:extLst>
              <a:ext uri="{FF2B5EF4-FFF2-40B4-BE49-F238E27FC236}">
                <a16:creationId xmlns:a16="http://schemas.microsoft.com/office/drawing/2014/main" id="{9D72F005-92A7-3E40-AE8B-C0483ED6C406}"/>
              </a:ext>
            </a:extLst>
          </p:cNvPr>
          <p:cNvSpPr>
            <a:spLocks noGrp="1"/>
          </p:cNvSpPr>
          <p:nvPr>
            <p:ph type="tbl" sz="quarter" idx="19" hasCustomPrompt="1"/>
          </p:nvPr>
        </p:nvSpPr>
        <p:spPr>
          <a:xfrm>
            <a:off x="576263" y="2098801"/>
            <a:ext cx="11039475" cy="4037362"/>
          </a:xfrm>
        </p:spPr>
        <p:txBody>
          <a:bodyPr/>
          <a:lstStyle>
            <a:lvl1pPr marL="12700" indent="0">
              <a:buNone/>
              <a:defRPr sz="1300"/>
            </a:lvl1pPr>
          </a:lstStyle>
          <a:p>
            <a:r>
              <a:rPr lang="nb-NO" noProof="0" dirty="0"/>
              <a:t>Klikk for å legge til en tabell</a:t>
            </a:r>
            <a:endParaRPr lang="en-US" noProof="0" dirty="0"/>
          </a:p>
        </p:txBody>
      </p:sp>
      <p:sp>
        <p:nvSpPr>
          <p:cNvPr id="2" name="Logotype">
            <a:extLst>
              <a:ext uri="{FF2B5EF4-FFF2-40B4-BE49-F238E27FC236}">
                <a16:creationId xmlns:a16="http://schemas.microsoft.com/office/drawing/2014/main" id="{FB41E6DE-F820-7CB3-78CE-DB3007A52B98}"/>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8" name="Text Placeholder 7">
            <a:extLst>
              <a:ext uri="{FF2B5EF4-FFF2-40B4-BE49-F238E27FC236}">
                <a16:creationId xmlns:a16="http://schemas.microsoft.com/office/drawing/2014/main" id="{C1264611-1F32-D3F7-F98F-91D9FEA7E2C9}"/>
              </a:ext>
            </a:extLst>
          </p:cNvPr>
          <p:cNvSpPr>
            <a:spLocks noGrp="1"/>
          </p:cNvSpPr>
          <p:nvPr>
            <p:ph type="body" sz="quarter" idx="25" hasCustomPrompt="1"/>
          </p:nvPr>
        </p:nvSpPr>
        <p:spPr>
          <a:xfrm>
            <a:off x="576262" y="291600"/>
            <a:ext cx="5180400" cy="180000"/>
          </a:xfrm>
        </p:spPr>
        <p:txBody>
          <a:bodyPr/>
          <a:lstStyle>
            <a:lvl1pPr marL="6350" indent="0">
              <a:buNone/>
              <a:defRPr sz="1200"/>
            </a:lvl1pPr>
          </a:lstStyle>
          <a:p>
            <a:pPr lvl="0"/>
            <a:r>
              <a:rPr lang="nb-NO" dirty="0"/>
              <a:t>Klikk for å legge til kapittel</a:t>
            </a:r>
            <a:endParaRPr lang="en-US" dirty="0"/>
          </a:p>
        </p:txBody>
      </p:sp>
    </p:spTree>
    <p:extLst>
      <p:ext uri="{BB962C8B-B14F-4D97-AF65-F5344CB8AC3E}">
        <p14:creationId xmlns:p14="http://schemas.microsoft.com/office/powerpoint/2010/main" val="262624914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8 Fire ikoner og teks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64BB5C8-D6D6-9E45-86B2-CADD71FC5C88}"/>
              </a:ext>
            </a:extLst>
          </p:cNvPr>
          <p:cNvSpPr>
            <a:spLocks noGrp="1"/>
          </p:cNvSpPr>
          <p:nvPr>
            <p:ph type="pic" sz="quarter" idx="39" hasCustomPrompt="1"/>
          </p:nvPr>
        </p:nvSpPr>
        <p:spPr>
          <a:xfrm>
            <a:off x="858744" y="2133600"/>
            <a:ext cx="1979867" cy="1828800"/>
          </a:xfrm>
        </p:spPr>
        <p:txBody>
          <a:bodyPr/>
          <a:lstStyle>
            <a:lvl1pPr marL="12700" indent="0" algn="ctr">
              <a:buNone/>
              <a:defRPr sz="1300">
                <a:solidFill>
                  <a:schemeClr val="accent1"/>
                </a:solidFill>
              </a:defRPr>
            </a:lvl1pPr>
          </a:lstStyle>
          <a:p>
            <a:r>
              <a:rPr lang="en-US" noProof="0" dirty="0" err="1"/>
              <a:t>Klikk</a:t>
            </a:r>
            <a:r>
              <a:rPr lang="en-US" noProof="0" dirty="0"/>
              <a:t> for å </a:t>
            </a:r>
            <a:r>
              <a:rPr lang="en-US" noProof="0" dirty="0" err="1"/>
              <a:t>legge</a:t>
            </a:r>
            <a:r>
              <a:rPr lang="en-US" noProof="0" dirty="0"/>
              <a:t> </a:t>
            </a:r>
            <a:r>
              <a:rPr lang="en-US" noProof="0" dirty="0" err="1"/>
              <a:t>til</a:t>
            </a:r>
            <a:r>
              <a:rPr lang="en-US" noProof="0" dirty="0"/>
              <a:t> ikon</a:t>
            </a:r>
          </a:p>
        </p:txBody>
      </p:sp>
      <p:sp>
        <p:nvSpPr>
          <p:cNvPr id="30" name="Picture Placeholder 4">
            <a:extLst>
              <a:ext uri="{FF2B5EF4-FFF2-40B4-BE49-F238E27FC236}">
                <a16:creationId xmlns:a16="http://schemas.microsoft.com/office/drawing/2014/main" id="{21B4219E-EAF7-A840-BD4B-30965C2453D6}"/>
              </a:ext>
            </a:extLst>
          </p:cNvPr>
          <p:cNvSpPr>
            <a:spLocks noGrp="1"/>
          </p:cNvSpPr>
          <p:nvPr>
            <p:ph type="pic" sz="quarter" idx="40" hasCustomPrompt="1"/>
          </p:nvPr>
        </p:nvSpPr>
        <p:spPr>
          <a:xfrm>
            <a:off x="3692570" y="2133600"/>
            <a:ext cx="1979867" cy="1828800"/>
          </a:xfrm>
        </p:spPr>
        <p:txBody>
          <a:bodyPr/>
          <a:lstStyle>
            <a:lvl1pPr marL="12700" indent="0" algn="ctr">
              <a:buNone/>
              <a:defRPr sz="1300">
                <a:solidFill>
                  <a:schemeClr val="accent1"/>
                </a:solidFill>
              </a:defRPr>
            </a:lvl1pPr>
          </a:lstStyle>
          <a:p>
            <a:r>
              <a:rPr lang="en-US" noProof="0" dirty="0" err="1"/>
              <a:t>Klikk</a:t>
            </a:r>
            <a:r>
              <a:rPr lang="en-US" noProof="0" dirty="0"/>
              <a:t> for å </a:t>
            </a:r>
            <a:r>
              <a:rPr lang="en-US" noProof="0" dirty="0" err="1"/>
              <a:t>legge</a:t>
            </a:r>
            <a:r>
              <a:rPr lang="en-US" noProof="0" dirty="0"/>
              <a:t> </a:t>
            </a:r>
            <a:r>
              <a:rPr lang="en-US" noProof="0" dirty="0" err="1"/>
              <a:t>til</a:t>
            </a:r>
            <a:r>
              <a:rPr lang="en-US" noProof="0" dirty="0"/>
              <a:t> ikon</a:t>
            </a:r>
          </a:p>
        </p:txBody>
      </p:sp>
      <p:sp>
        <p:nvSpPr>
          <p:cNvPr id="31" name="Picture Placeholder 4">
            <a:extLst>
              <a:ext uri="{FF2B5EF4-FFF2-40B4-BE49-F238E27FC236}">
                <a16:creationId xmlns:a16="http://schemas.microsoft.com/office/drawing/2014/main" id="{3E3297E1-ECDE-7F49-9333-F2D3B667B9E2}"/>
              </a:ext>
            </a:extLst>
          </p:cNvPr>
          <p:cNvSpPr>
            <a:spLocks noGrp="1"/>
          </p:cNvSpPr>
          <p:nvPr>
            <p:ph type="pic" sz="quarter" idx="41" hasCustomPrompt="1"/>
          </p:nvPr>
        </p:nvSpPr>
        <p:spPr>
          <a:xfrm>
            <a:off x="6526396" y="2133600"/>
            <a:ext cx="1979867" cy="1828800"/>
          </a:xfrm>
        </p:spPr>
        <p:txBody>
          <a:bodyPr/>
          <a:lstStyle>
            <a:lvl1pPr marL="12700" indent="0" algn="ctr">
              <a:buNone/>
              <a:defRPr sz="1300">
                <a:solidFill>
                  <a:schemeClr val="accent1"/>
                </a:solidFill>
              </a:defRPr>
            </a:lvl1pPr>
          </a:lstStyle>
          <a:p>
            <a:r>
              <a:rPr lang="en-US" noProof="0" dirty="0" err="1"/>
              <a:t>Klikk</a:t>
            </a:r>
            <a:r>
              <a:rPr lang="en-US" noProof="0" dirty="0"/>
              <a:t> for å </a:t>
            </a:r>
            <a:r>
              <a:rPr lang="en-US" noProof="0" dirty="0" err="1"/>
              <a:t>legge</a:t>
            </a:r>
            <a:r>
              <a:rPr lang="en-US" noProof="0" dirty="0"/>
              <a:t> </a:t>
            </a:r>
            <a:r>
              <a:rPr lang="en-US" noProof="0" dirty="0" err="1"/>
              <a:t>til</a:t>
            </a:r>
            <a:r>
              <a:rPr lang="en-US" noProof="0" dirty="0"/>
              <a:t> ikon</a:t>
            </a:r>
          </a:p>
        </p:txBody>
      </p:sp>
      <p:sp>
        <p:nvSpPr>
          <p:cNvPr id="32" name="Picture Placeholder 4">
            <a:extLst>
              <a:ext uri="{FF2B5EF4-FFF2-40B4-BE49-F238E27FC236}">
                <a16:creationId xmlns:a16="http://schemas.microsoft.com/office/drawing/2014/main" id="{791D8F08-C508-FA4F-98BC-992A22771E82}"/>
              </a:ext>
            </a:extLst>
          </p:cNvPr>
          <p:cNvSpPr>
            <a:spLocks noGrp="1"/>
          </p:cNvSpPr>
          <p:nvPr>
            <p:ph type="pic" sz="quarter" idx="42" hasCustomPrompt="1"/>
          </p:nvPr>
        </p:nvSpPr>
        <p:spPr>
          <a:xfrm>
            <a:off x="9360221" y="2133600"/>
            <a:ext cx="1979867" cy="1828800"/>
          </a:xfrm>
        </p:spPr>
        <p:txBody>
          <a:bodyPr/>
          <a:lstStyle>
            <a:lvl1pPr marL="12700" indent="0" algn="ctr">
              <a:buNone/>
              <a:defRPr sz="1300">
                <a:solidFill>
                  <a:schemeClr val="accent1"/>
                </a:solidFill>
              </a:defRPr>
            </a:lvl1pPr>
          </a:lstStyle>
          <a:p>
            <a:r>
              <a:rPr lang="en-US" noProof="0" dirty="0" err="1"/>
              <a:t>Klikk</a:t>
            </a:r>
            <a:r>
              <a:rPr lang="en-US" noProof="0" dirty="0"/>
              <a:t> for å </a:t>
            </a:r>
            <a:r>
              <a:rPr lang="en-US" noProof="0" dirty="0" err="1"/>
              <a:t>legge</a:t>
            </a:r>
            <a:r>
              <a:rPr lang="en-US" noProof="0" dirty="0"/>
              <a:t> </a:t>
            </a:r>
            <a:r>
              <a:rPr lang="en-US" noProof="0" dirty="0" err="1"/>
              <a:t>til</a:t>
            </a:r>
            <a:r>
              <a:rPr lang="en-US" noProof="0" dirty="0"/>
              <a:t> ikon</a:t>
            </a:r>
          </a:p>
        </p:txBody>
      </p:sp>
      <p:sp>
        <p:nvSpPr>
          <p:cNvPr id="3" name="Title 2">
            <a:extLst>
              <a:ext uri="{FF2B5EF4-FFF2-40B4-BE49-F238E27FC236}">
                <a16:creationId xmlns:a16="http://schemas.microsoft.com/office/drawing/2014/main" id="{A5AE683B-254A-CA6E-65DA-A9E0EA60E1E7}"/>
              </a:ext>
            </a:extLst>
          </p:cNvPr>
          <p:cNvSpPr>
            <a:spLocks noGrp="1"/>
          </p:cNvSpPr>
          <p:nvPr>
            <p:ph type="title" hasCustomPrompt="1"/>
          </p:nvPr>
        </p:nvSpPr>
        <p:spPr>
          <a:xfrm>
            <a:off x="576000" y="730800"/>
            <a:ext cx="11021062" cy="384506"/>
          </a:xfrm>
        </p:spPr>
        <p:txBody>
          <a:bodyPr/>
          <a:lstStyle/>
          <a:p>
            <a:r>
              <a:rPr lang="nb-NO" dirty="0"/>
              <a:t>Klikk for å legge til en overskrift på maksimalt én linje</a:t>
            </a:r>
            <a:endParaRPr lang="en-US" dirty="0"/>
          </a:p>
        </p:txBody>
      </p:sp>
      <p:sp>
        <p:nvSpPr>
          <p:cNvPr id="15" name="Text Placeholder 7">
            <a:extLst>
              <a:ext uri="{FF2B5EF4-FFF2-40B4-BE49-F238E27FC236}">
                <a16:creationId xmlns:a16="http://schemas.microsoft.com/office/drawing/2014/main" id="{CD04EC2E-C805-E64A-BBA4-8DECB98EE820}"/>
              </a:ext>
            </a:extLst>
          </p:cNvPr>
          <p:cNvSpPr>
            <a:spLocks noGrp="1"/>
          </p:cNvSpPr>
          <p:nvPr>
            <p:ph type="body" sz="quarter" idx="38" hasCustomPrompt="1"/>
          </p:nvPr>
        </p:nvSpPr>
        <p:spPr>
          <a:xfrm>
            <a:off x="583094" y="4154400"/>
            <a:ext cx="2531167" cy="1974938"/>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dirty="0" err="1"/>
              <a:t>Klikk</a:t>
            </a:r>
            <a:r>
              <a:rPr lang="en-US" noProof="0" dirty="0"/>
              <a:t> for </a:t>
            </a:r>
            <a:r>
              <a:rPr lang="en-US" noProof="0" dirty="0" err="1"/>
              <a:t>overskrift</a:t>
            </a:r>
            <a:endParaRPr lang="en-US" noProof="0" dirty="0"/>
          </a:p>
          <a:p>
            <a:pPr lvl="1"/>
            <a:r>
              <a:rPr lang="en-US" noProof="0" dirty="0" err="1"/>
              <a:t>Tekst</a:t>
            </a:r>
            <a:r>
              <a:rPr lang="en-US" noProof="0" dirty="0"/>
              <a:t> her</a:t>
            </a:r>
          </a:p>
        </p:txBody>
      </p:sp>
      <p:sp>
        <p:nvSpPr>
          <p:cNvPr id="11" name="Text Placeholder 7">
            <a:extLst>
              <a:ext uri="{FF2B5EF4-FFF2-40B4-BE49-F238E27FC236}">
                <a16:creationId xmlns:a16="http://schemas.microsoft.com/office/drawing/2014/main" id="{1E8E1731-23EB-0B4A-A05C-05B9BCA19C9C}"/>
              </a:ext>
            </a:extLst>
          </p:cNvPr>
          <p:cNvSpPr>
            <a:spLocks noGrp="1"/>
          </p:cNvSpPr>
          <p:nvPr>
            <p:ph type="body" sz="quarter" idx="32" hasCustomPrompt="1"/>
          </p:nvPr>
        </p:nvSpPr>
        <p:spPr>
          <a:xfrm>
            <a:off x="3416920" y="4154400"/>
            <a:ext cx="2531167" cy="1974938"/>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dirty="0" err="1"/>
              <a:t>Klikk</a:t>
            </a:r>
            <a:r>
              <a:rPr lang="en-US" noProof="0" dirty="0"/>
              <a:t> for </a:t>
            </a:r>
            <a:r>
              <a:rPr lang="en-US" noProof="0" dirty="0" err="1"/>
              <a:t>overskrift</a:t>
            </a:r>
            <a:endParaRPr lang="en-US" noProof="0" dirty="0"/>
          </a:p>
          <a:p>
            <a:pPr lvl="1"/>
            <a:r>
              <a:rPr lang="en-US" noProof="0" dirty="0" err="1"/>
              <a:t>Tekst</a:t>
            </a:r>
            <a:r>
              <a:rPr lang="en-US" noProof="0" dirty="0"/>
              <a:t> her</a:t>
            </a:r>
          </a:p>
        </p:txBody>
      </p:sp>
      <p:sp>
        <p:nvSpPr>
          <p:cNvPr id="12" name="Text Placeholder 7">
            <a:extLst>
              <a:ext uri="{FF2B5EF4-FFF2-40B4-BE49-F238E27FC236}">
                <a16:creationId xmlns:a16="http://schemas.microsoft.com/office/drawing/2014/main" id="{2338588B-5749-8548-8A92-845B34954343}"/>
              </a:ext>
            </a:extLst>
          </p:cNvPr>
          <p:cNvSpPr>
            <a:spLocks noGrp="1"/>
          </p:cNvSpPr>
          <p:nvPr>
            <p:ph type="body" sz="quarter" idx="35" hasCustomPrompt="1"/>
          </p:nvPr>
        </p:nvSpPr>
        <p:spPr>
          <a:xfrm>
            <a:off x="6250746" y="4154400"/>
            <a:ext cx="2531167" cy="1974938"/>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dirty="0" err="1"/>
              <a:t>Klikk</a:t>
            </a:r>
            <a:r>
              <a:rPr lang="en-US" noProof="0" dirty="0"/>
              <a:t> for </a:t>
            </a:r>
            <a:r>
              <a:rPr lang="en-US" noProof="0" dirty="0" err="1"/>
              <a:t>overskrift</a:t>
            </a:r>
            <a:endParaRPr lang="en-US" noProof="0" dirty="0"/>
          </a:p>
          <a:p>
            <a:pPr lvl="1"/>
            <a:r>
              <a:rPr lang="en-US" noProof="0" dirty="0" err="1"/>
              <a:t>Tekst</a:t>
            </a:r>
            <a:r>
              <a:rPr lang="en-US" noProof="0" dirty="0"/>
              <a:t> her</a:t>
            </a:r>
          </a:p>
        </p:txBody>
      </p:sp>
      <p:sp>
        <p:nvSpPr>
          <p:cNvPr id="13" name="Text Placeholder 7">
            <a:extLst>
              <a:ext uri="{FF2B5EF4-FFF2-40B4-BE49-F238E27FC236}">
                <a16:creationId xmlns:a16="http://schemas.microsoft.com/office/drawing/2014/main" id="{B2D2E607-59C0-854C-9641-8FC1939742CC}"/>
              </a:ext>
            </a:extLst>
          </p:cNvPr>
          <p:cNvSpPr>
            <a:spLocks noGrp="1"/>
          </p:cNvSpPr>
          <p:nvPr>
            <p:ph type="body" sz="quarter" idx="37" hasCustomPrompt="1"/>
          </p:nvPr>
        </p:nvSpPr>
        <p:spPr>
          <a:xfrm>
            <a:off x="9084571" y="4154400"/>
            <a:ext cx="2531167" cy="1974938"/>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dirty="0" err="1"/>
              <a:t>Klikk</a:t>
            </a:r>
            <a:r>
              <a:rPr lang="en-US" noProof="0" dirty="0"/>
              <a:t> for </a:t>
            </a:r>
            <a:r>
              <a:rPr lang="en-US" noProof="0" dirty="0" err="1"/>
              <a:t>overskrift</a:t>
            </a:r>
            <a:endParaRPr lang="en-US" noProof="0" dirty="0"/>
          </a:p>
          <a:p>
            <a:pPr lvl="1"/>
            <a:r>
              <a:rPr lang="en-US" noProof="0" dirty="0" err="1"/>
              <a:t>Tekst</a:t>
            </a:r>
            <a:r>
              <a:rPr lang="en-US" noProof="0" dirty="0"/>
              <a:t> her</a:t>
            </a:r>
          </a:p>
        </p:txBody>
      </p:sp>
      <p:grpSp>
        <p:nvGrpSpPr>
          <p:cNvPr id="4" name="Instructions">
            <a:extLst>
              <a:ext uri="{FF2B5EF4-FFF2-40B4-BE49-F238E27FC236}">
                <a16:creationId xmlns:a16="http://schemas.microsoft.com/office/drawing/2014/main" id="{92A30559-C6A6-F4EB-173C-760FBEDDD155}"/>
              </a:ext>
            </a:extLst>
          </p:cNvPr>
          <p:cNvGrpSpPr/>
          <p:nvPr userDrawn="1"/>
        </p:nvGrpSpPr>
        <p:grpSpPr>
          <a:xfrm>
            <a:off x="12395260" y="4154400"/>
            <a:ext cx="1681523" cy="1754326"/>
            <a:chOff x="12395260" y="4154400"/>
            <a:chExt cx="1681523" cy="1754326"/>
          </a:xfrm>
        </p:grpSpPr>
        <p:sp>
          <p:nvSpPr>
            <p:cNvPr id="25" name="textruta 24">
              <a:extLst>
                <a:ext uri="{FF2B5EF4-FFF2-40B4-BE49-F238E27FC236}">
                  <a16:creationId xmlns:a16="http://schemas.microsoft.com/office/drawing/2014/main" id="{6FF8A552-8B94-0248-98BE-FC41CCC7238C}"/>
                </a:ext>
              </a:extLst>
            </p:cNvPr>
            <p:cNvSpPr txBox="1"/>
            <p:nvPr userDrawn="1"/>
          </p:nvSpPr>
          <p:spPr>
            <a:xfrm>
              <a:off x="12395260" y="4154400"/>
              <a:ext cx="1681523" cy="1754326"/>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mn-lt"/>
                  <a:cs typeface="Arial" panose="020B0604020202020204" pitchFamily="34" charset="0"/>
                </a:rPr>
                <a:t>To change from </a:t>
              </a:r>
              <a:r>
                <a:rPr lang="en-US" sz="900" b="1" baseline="0" noProof="0">
                  <a:solidFill>
                    <a:schemeClr val="tx1">
                      <a:lumMod val="65000"/>
                      <a:lumOff val="35000"/>
                    </a:schemeClr>
                  </a:solidFill>
                  <a:latin typeface="+mn-lt"/>
                  <a:cs typeface="Arial" panose="020B0604020202020204" pitchFamily="34" charset="0"/>
                </a:rPr>
                <a:t>headline</a:t>
              </a:r>
              <a:r>
                <a:rPr lang="en-US" sz="900" baseline="0" noProof="0">
                  <a:solidFill>
                    <a:schemeClr val="tx1">
                      <a:lumMod val="65000"/>
                      <a:lumOff val="35000"/>
                    </a:schemeClr>
                  </a:solidFill>
                  <a:latin typeface="+mn-lt"/>
                  <a:cs typeface="Arial" panose="020B0604020202020204" pitchFamily="34" charset="0"/>
                </a:rPr>
                <a:t> to </a:t>
              </a:r>
              <a:r>
                <a:rPr lang="en-US" sz="900" b="1" baseline="0" noProof="0">
                  <a:solidFill>
                    <a:schemeClr val="tx1">
                      <a:lumMod val="65000"/>
                      <a:lumOff val="35000"/>
                    </a:schemeClr>
                  </a:solidFill>
                  <a:latin typeface="+mn-lt"/>
                  <a:cs typeface="Arial" panose="020B0604020202020204" pitchFamily="34" charset="0"/>
                </a:rPr>
                <a:t>body text </a:t>
              </a:r>
              <a:r>
                <a:rPr lang="en-US" sz="900" baseline="0" noProof="0">
                  <a:solidFill>
                    <a:schemeClr val="tx1">
                      <a:lumMod val="65000"/>
                      <a:lumOff val="35000"/>
                    </a:schemeClr>
                  </a:solidFill>
                  <a:latin typeface="+mn-lt"/>
                  <a:cs typeface="Arial" panose="020B0604020202020204" pitchFamily="34" charset="0"/>
                </a:rPr>
                <a:t>or to </a:t>
              </a:r>
              <a:r>
                <a:rPr lang="en-US" sz="900" b="1" baseline="0" noProof="0">
                  <a:solidFill>
                    <a:schemeClr val="tx1">
                      <a:lumMod val="65000"/>
                      <a:lumOff val="35000"/>
                    </a:schemeClr>
                  </a:solidFill>
                  <a:latin typeface="+mn-lt"/>
                  <a:cs typeface="Arial" panose="020B0604020202020204" pitchFamily="34" charset="0"/>
                </a:rPr>
                <a:t>use bullets</a:t>
              </a:r>
              <a:r>
                <a:rPr lang="en-US" sz="900" baseline="0" noProof="0">
                  <a:solidFill>
                    <a:schemeClr val="tx1">
                      <a:lumMod val="65000"/>
                      <a:lumOff val="35000"/>
                    </a:schemeClr>
                  </a:solidFill>
                  <a:latin typeface="+mn-lt"/>
                  <a:cs typeface="Arial" panose="020B0604020202020204" pitchFamily="34" charset="0"/>
                </a:rPr>
                <a:t>, press </a:t>
              </a:r>
              <a:r>
                <a:rPr lang="en-US" sz="900" b="1" baseline="0" noProof="0">
                  <a:solidFill>
                    <a:schemeClr val="tx1">
                      <a:lumMod val="65000"/>
                      <a:lumOff val="35000"/>
                    </a:schemeClr>
                  </a:solidFill>
                  <a:latin typeface="+mn-lt"/>
                  <a:cs typeface="Arial" panose="020B0604020202020204" pitchFamily="34" charset="0"/>
                </a:rPr>
                <a:t>enter/return </a:t>
              </a:r>
              <a:r>
                <a:rPr lang="en-US" sz="900" baseline="0" noProof="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p:txBody>
        </p:sp>
        <p:pic>
          <p:nvPicPr>
            <p:cNvPr id="26" name="Picture 9">
              <a:extLst>
                <a:ext uri="{FF2B5EF4-FFF2-40B4-BE49-F238E27FC236}">
                  <a16:creationId xmlns:a16="http://schemas.microsoft.com/office/drawing/2014/main" id="{93794F68-FA77-DA48-9A1A-E02A2FFA0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27" name="Oval 4">
              <a:extLst>
                <a:ext uri="{FF2B5EF4-FFF2-40B4-BE49-F238E27FC236}">
                  <a16:creationId xmlns:a16="http://schemas.microsoft.com/office/drawing/2014/main" id="{5241205B-C4DB-DD49-956F-BF07FDFE2B88}"/>
                </a:ext>
              </a:extLst>
            </p:cNvPr>
            <p:cNvSpPr/>
            <p:nvPr userDrawn="1"/>
          </p:nvSpPr>
          <p:spPr>
            <a:xfrm>
              <a:off x="13194299" y="52819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28" name="Connector: Elbow 131">
              <a:extLst>
                <a:ext uri="{FF2B5EF4-FFF2-40B4-BE49-F238E27FC236}">
                  <a16:creationId xmlns:a16="http://schemas.microsoft.com/office/drawing/2014/main" id="{51B26D0D-F6C6-4746-9A73-F3230C78CC13}"/>
                </a:ext>
              </a:extLst>
            </p:cNvPr>
            <p:cNvCxnSpPr>
              <a:cxnSpLocks/>
              <a:endCxn id="27" idx="0"/>
            </p:cNvCxnSpPr>
            <p:nvPr userDrawn="1"/>
          </p:nvCxnSpPr>
          <p:spPr>
            <a:xfrm rot="5400000">
              <a:off x="13324711" y="50100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Logotype">
            <a:extLst>
              <a:ext uri="{FF2B5EF4-FFF2-40B4-BE49-F238E27FC236}">
                <a16:creationId xmlns:a16="http://schemas.microsoft.com/office/drawing/2014/main" id="{02704BA6-C98E-2AE1-82A8-5D1432AD6D38}"/>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9" name="Text Placeholder 7">
            <a:extLst>
              <a:ext uri="{FF2B5EF4-FFF2-40B4-BE49-F238E27FC236}">
                <a16:creationId xmlns:a16="http://schemas.microsoft.com/office/drawing/2014/main" id="{52EA7109-F3C7-9D2A-2FDB-B9DA9F54E506}"/>
              </a:ext>
            </a:extLst>
          </p:cNvPr>
          <p:cNvSpPr>
            <a:spLocks noGrp="1"/>
          </p:cNvSpPr>
          <p:nvPr>
            <p:ph type="body" sz="quarter" idx="25" hasCustomPrompt="1"/>
          </p:nvPr>
        </p:nvSpPr>
        <p:spPr>
          <a:xfrm>
            <a:off x="576262" y="291600"/>
            <a:ext cx="5180400" cy="180000"/>
          </a:xfrm>
        </p:spPr>
        <p:txBody>
          <a:bodyPr/>
          <a:lstStyle>
            <a:lvl1pPr marL="6350" indent="0">
              <a:buNone/>
              <a:defRPr sz="1200"/>
            </a:lvl1pPr>
          </a:lstStyle>
          <a:p>
            <a:pPr lvl="0"/>
            <a:r>
              <a:rPr lang="nb-NO" dirty="0"/>
              <a:t>Klikk for å legge til kapittel</a:t>
            </a:r>
            <a:endParaRPr lang="en-US" dirty="0"/>
          </a:p>
        </p:txBody>
      </p:sp>
    </p:spTree>
    <p:extLst>
      <p:ext uri="{BB962C8B-B14F-4D97-AF65-F5344CB8AC3E}">
        <p14:creationId xmlns:p14="http://schemas.microsoft.com/office/powerpoint/2010/main" val="21953503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8 Fem ikoner og teks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64BB5C8-D6D6-9E45-86B2-CADD71FC5C88}"/>
              </a:ext>
            </a:extLst>
          </p:cNvPr>
          <p:cNvSpPr>
            <a:spLocks noGrp="1"/>
          </p:cNvSpPr>
          <p:nvPr>
            <p:ph type="pic" sz="quarter" idx="39" hasCustomPrompt="1"/>
          </p:nvPr>
        </p:nvSpPr>
        <p:spPr>
          <a:xfrm>
            <a:off x="583094" y="2133600"/>
            <a:ext cx="1979867" cy="1828800"/>
          </a:xfrm>
        </p:spPr>
        <p:txBody>
          <a:bodyPr/>
          <a:lstStyle>
            <a:lvl1pPr marL="12700" indent="0" algn="ctr">
              <a:buNone/>
              <a:defRPr sz="1300">
                <a:solidFill>
                  <a:schemeClr val="accent1"/>
                </a:solidFill>
              </a:defRPr>
            </a:lvl1pPr>
          </a:lstStyle>
          <a:p>
            <a:r>
              <a:rPr lang="en-US" noProof="0" dirty="0" err="1"/>
              <a:t>Klikk</a:t>
            </a:r>
            <a:r>
              <a:rPr lang="en-US" noProof="0" dirty="0"/>
              <a:t> for å </a:t>
            </a:r>
            <a:r>
              <a:rPr lang="en-US" noProof="0" dirty="0" err="1"/>
              <a:t>legge</a:t>
            </a:r>
            <a:r>
              <a:rPr lang="en-US" noProof="0" dirty="0"/>
              <a:t> </a:t>
            </a:r>
            <a:r>
              <a:rPr lang="en-US" noProof="0" dirty="0" err="1"/>
              <a:t>til</a:t>
            </a:r>
            <a:r>
              <a:rPr lang="en-US" noProof="0" dirty="0"/>
              <a:t> ikon</a:t>
            </a:r>
          </a:p>
        </p:txBody>
      </p:sp>
      <p:sp>
        <p:nvSpPr>
          <p:cNvPr id="30" name="Picture Placeholder 4">
            <a:extLst>
              <a:ext uri="{FF2B5EF4-FFF2-40B4-BE49-F238E27FC236}">
                <a16:creationId xmlns:a16="http://schemas.microsoft.com/office/drawing/2014/main" id="{21B4219E-EAF7-A840-BD4B-30965C2453D6}"/>
              </a:ext>
            </a:extLst>
          </p:cNvPr>
          <p:cNvSpPr>
            <a:spLocks noGrp="1"/>
          </p:cNvSpPr>
          <p:nvPr>
            <p:ph type="pic" sz="quarter" idx="40" hasCustomPrompt="1"/>
          </p:nvPr>
        </p:nvSpPr>
        <p:spPr>
          <a:xfrm>
            <a:off x="2843351" y="2133600"/>
            <a:ext cx="1979867" cy="1828800"/>
          </a:xfrm>
        </p:spPr>
        <p:txBody>
          <a:bodyPr/>
          <a:lstStyle>
            <a:lvl1pPr marL="12700" indent="0" algn="ctr">
              <a:buNone/>
              <a:defRPr sz="1300">
                <a:solidFill>
                  <a:schemeClr val="accent1"/>
                </a:solidFill>
              </a:defRPr>
            </a:lvl1pPr>
          </a:lstStyle>
          <a:p>
            <a:r>
              <a:rPr lang="en-US" noProof="0" dirty="0" err="1"/>
              <a:t>Klikk</a:t>
            </a:r>
            <a:r>
              <a:rPr lang="en-US" noProof="0" dirty="0"/>
              <a:t> for å </a:t>
            </a:r>
            <a:r>
              <a:rPr lang="en-US" noProof="0" dirty="0" err="1"/>
              <a:t>legge</a:t>
            </a:r>
            <a:r>
              <a:rPr lang="en-US" noProof="0" dirty="0"/>
              <a:t> </a:t>
            </a:r>
            <a:r>
              <a:rPr lang="en-US" noProof="0" dirty="0" err="1"/>
              <a:t>til</a:t>
            </a:r>
            <a:r>
              <a:rPr lang="en-US" noProof="0" dirty="0"/>
              <a:t> ikon</a:t>
            </a:r>
          </a:p>
        </p:txBody>
      </p:sp>
      <p:sp>
        <p:nvSpPr>
          <p:cNvPr id="31" name="Picture Placeholder 4">
            <a:extLst>
              <a:ext uri="{FF2B5EF4-FFF2-40B4-BE49-F238E27FC236}">
                <a16:creationId xmlns:a16="http://schemas.microsoft.com/office/drawing/2014/main" id="{3E3297E1-ECDE-7F49-9333-F2D3B667B9E2}"/>
              </a:ext>
            </a:extLst>
          </p:cNvPr>
          <p:cNvSpPr>
            <a:spLocks noGrp="1"/>
          </p:cNvSpPr>
          <p:nvPr>
            <p:ph type="pic" sz="quarter" idx="41" hasCustomPrompt="1"/>
          </p:nvPr>
        </p:nvSpPr>
        <p:spPr>
          <a:xfrm>
            <a:off x="5103608" y="2133600"/>
            <a:ext cx="1979867" cy="1828800"/>
          </a:xfrm>
        </p:spPr>
        <p:txBody>
          <a:bodyPr/>
          <a:lstStyle>
            <a:lvl1pPr marL="12700" indent="0" algn="ctr">
              <a:buNone/>
              <a:defRPr sz="1300">
                <a:solidFill>
                  <a:schemeClr val="accent1"/>
                </a:solidFill>
              </a:defRPr>
            </a:lvl1pPr>
          </a:lstStyle>
          <a:p>
            <a:r>
              <a:rPr lang="en-US" noProof="0" dirty="0" err="1"/>
              <a:t>Klikk</a:t>
            </a:r>
            <a:r>
              <a:rPr lang="en-US" noProof="0" dirty="0"/>
              <a:t> for å </a:t>
            </a:r>
            <a:r>
              <a:rPr lang="en-US" noProof="0" dirty="0" err="1"/>
              <a:t>legge</a:t>
            </a:r>
            <a:r>
              <a:rPr lang="en-US" noProof="0" dirty="0"/>
              <a:t> </a:t>
            </a:r>
            <a:r>
              <a:rPr lang="en-US" noProof="0" dirty="0" err="1"/>
              <a:t>til</a:t>
            </a:r>
            <a:r>
              <a:rPr lang="en-US" noProof="0" dirty="0"/>
              <a:t> ikon</a:t>
            </a:r>
          </a:p>
        </p:txBody>
      </p:sp>
      <p:sp>
        <p:nvSpPr>
          <p:cNvPr id="32" name="Picture Placeholder 4">
            <a:extLst>
              <a:ext uri="{FF2B5EF4-FFF2-40B4-BE49-F238E27FC236}">
                <a16:creationId xmlns:a16="http://schemas.microsoft.com/office/drawing/2014/main" id="{791D8F08-C508-FA4F-98BC-992A22771E82}"/>
              </a:ext>
            </a:extLst>
          </p:cNvPr>
          <p:cNvSpPr>
            <a:spLocks noGrp="1"/>
          </p:cNvSpPr>
          <p:nvPr>
            <p:ph type="pic" sz="quarter" idx="42" hasCustomPrompt="1"/>
          </p:nvPr>
        </p:nvSpPr>
        <p:spPr>
          <a:xfrm>
            <a:off x="7363865" y="2133600"/>
            <a:ext cx="1979867" cy="1828800"/>
          </a:xfrm>
        </p:spPr>
        <p:txBody>
          <a:bodyPr/>
          <a:lstStyle>
            <a:lvl1pPr marL="12700" indent="0" algn="ctr">
              <a:buNone/>
              <a:defRPr sz="1300">
                <a:solidFill>
                  <a:schemeClr val="accent1"/>
                </a:solidFill>
              </a:defRPr>
            </a:lvl1pPr>
          </a:lstStyle>
          <a:p>
            <a:r>
              <a:rPr lang="en-US" noProof="0" dirty="0" err="1"/>
              <a:t>Klikk</a:t>
            </a:r>
            <a:r>
              <a:rPr lang="en-US" noProof="0" dirty="0"/>
              <a:t> for å </a:t>
            </a:r>
            <a:r>
              <a:rPr lang="en-US" noProof="0" dirty="0" err="1"/>
              <a:t>legge</a:t>
            </a:r>
            <a:r>
              <a:rPr lang="en-US" noProof="0" dirty="0"/>
              <a:t> </a:t>
            </a:r>
            <a:r>
              <a:rPr lang="en-US" noProof="0" dirty="0" err="1"/>
              <a:t>til</a:t>
            </a:r>
            <a:r>
              <a:rPr lang="en-US" noProof="0" dirty="0"/>
              <a:t> ikon</a:t>
            </a:r>
          </a:p>
        </p:txBody>
      </p:sp>
      <p:sp>
        <p:nvSpPr>
          <p:cNvPr id="9" name="Picture Placeholder 4">
            <a:extLst>
              <a:ext uri="{FF2B5EF4-FFF2-40B4-BE49-F238E27FC236}">
                <a16:creationId xmlns:a16="http://schemas.microsoft.com/office/drawing/2014/main" id="{92CD06EE-FBDA-808E-0527-B4BAFF7D070A}"/>
              </a:ext>
            </a:extLst>
          </p:cNvPr>
          <p:cNvSpPr>
            <a:spLocks noGrp="1"/>
          </p:cNvSpPr>
          <p:nvPr>
            <p:ph type="pic" sz="quarter" idx="46" hasCustomPrompt="1"/>
          </p:nvPr>
        </p:nvSpPr>
        <p:spPr>
          <a:xfrm>
            <a:off x="9624124" y="2133600"/>
            <a:ext cx="1979867" cy="1828800"/>
          </a:xfrm>
        </p:spPr>
        <p:txBody>
          <a:bodyPr/>
          <a:lstStyle>
            <a:lvl1pPr marL="12700" indent="0" algn="ctr">
              <a:buNone/>
              <a:defRPr sz="1300">
                <a:solidFill>
                  <a:schemeClr val="accent1"/>
                </a:solidFill>
              </a:defRPr>
            </a:lvl1pPr>
          </a:lstStyle>
          <a:p>
            <a:r>
              <a:rPr lang="en-US" noProof="0" dirty="0" err="1"/>
              <a:t>Klikk</a:t>
            </a:r>
            <a:r>
              <a:rPr lang="en-US" noProof="0" dirty="0"/>
              <a:t> for å </a:t>
            </a:r>
            <a:r>
              <a:rPr lang="en-US" noProof="0" dirty="0" err="1"/>
              <a:t>legge</a:t>
            </a:r>
            <a:r>
              <a:rPr lang="en-US" noProof="0" dirty="0"/>
              <a:t> </a:t>
            </a:r>
            <a:r>
              <a:rPr lang="en-US" noProof="0" dirty="0" err="1"/>
              <a:t>til</a:t>
            </a:r>
            <a:r>
              <a:rPr lang="en-US" noProof="0" dirty="0"/>
              <a:t> ikon</a:t>
            </a:r>
          </a:p>
        </p:txBody>
      </p:sp>
      <p:sp>
        <p:nvSpPr>
          <p:cNvPr id="3" name="Title 2">
            <a:extLst>
              <a:ext uri="{FF2B5EF4-FFF2-40B4-BE49-F238E27FC236}">
                <a16:creationId xmlns:a16="http://schemas.microsoft.com/office/drawing/2014/main" id="{A5AE683B-254A-CA6E-65DA-A9E0EA60E1E7}"/>
              </a:ext>
            </a:extLst>
          </p:cNvPr>
          <p:cNvSpPr>
            <a:spLocks noGrp="1"/>
          </p:cNvSpPr>
          <p:nvPr>
            <p:ph type="title" hasCustomPrompt="1"/>
          </p:nvPr>
        </p:nvSpPr>
        <p:spPr>
          <a:xfrm>
            <a:off x="576000" y="730800"/>
            <a:ext cx="11021062" cy="384506"/>
          </a:xfrm>
        </p:spPr>
        <p:txBody>
          <a:bodyPr/>
          <a:lstStyle/>
          <a:p>
            <a:r>
              <a:rPr lang="nb-NO" dirty="0"/>
              <a:t>Klikk for å legge til en overskrift på maksimalt én linje</a:t>
            </a:r>
            <a:endParaRPr lang="en-US" dirty="0"/>
          </a:p>
        </p:txBody>
      </p:sp>
      <p:sp>
        <p:nvSpPr>
          <p:cNvPr id="15" name="Text Placeholder 7">
            <a:extLst>
              <a:ext uri="{FF2B5EF4-FFF2-40B4-BE49-F238E27FC236}">
                <a16:creationId xmlns:a16="http://schemas.microsoft.com/office/drawing/2014/main" id="{CD04EC2E-C805-E64A-BBA4-8DECB98EE820}"/>
              </a:ext>
            </a:extLst>
          </p:cNvPr>
          <p:cNvSpPr>
            <a:spLocks noGrp="1"/>
          </p:cNvSpPr>
          <p:nvPr>
            <p:ph type="body" sz="quarter" idx="38" hasCustomPrompt="1"/>
          </p:nvPr>
        </p:nvSpPr>
        <p:spPr>
          <a:xfrm>
            <a:off x="583094" y="4154400"/>
            <a:ext cx="1979867" cy="1974938"/>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dirty="0" err="1"/>
              <a:t>Klikk</a:t>
            </a:r>
            <a:r>
              <a:rPr lang="en-US" noProof="0" dirty="0"/>
              <a:t> for </a:t>
            </a:r>
            <a:r>
              <a:rPr lang="en-US" noProof="0" dirty="0" err="1"/>
              <a:t>overskrift</a:t>
            </a:r>
            <a:endParaRPr lang="en-US" noProof="0" dirty="0"/>
          </a:p>
          <a:p>
            <a:pPr lvl="1"/>
            <a:r>
              <a:rPr lang="en-US" noProof="0" dirty="0" err="1"/>
              <a:t>Tekst</a:t>
            </a:r>
            <a:r>
              <a:rPr lang="en-US" noProof="0" dirty="0"/>
              <a:t> her</a:t>
            </a:r>
          </a:p>
        </p:txBody>
      </p:sp>
      <p:sp>
        <p:nvSpPr>
          <p:cNvPr id="11" name="Text Placeholder 7">
            <a:extLst>
              <a:ext uri="{FF2B5EF4-FFF2-40B4-BE49-F238E27FC236}">
                <a16:creationId xmlns:a16="http://schemas.microsoft.com/office/drawing/2014/main" id="{1E8E1731-23EB-0B4A-A05C-05B9BCA19C9C}"/>
              </a:ext>
            </a:extLst>
          </p:cNvPr>
          <p:cNvSpPr>
            <a:spLocks noGrp="1"/>
          </p:cNvSpPr>
          <p:nvPr>
            <p:ph type="body" sz="quarter" idx="32" hasCustomPrompt="1"/>
          </p:nvPr>
        </p:nvSpPr>
        <p:spPr>
          <a:xfrm>
            <a:off x="2843351" y="4154400"/>
            <a:ext cx="1979867" cy="1974938"/>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dirty="0" err="1"/>
              <a:t>Klikk</a:t>
            </a:r>
            <a:r>
              <a:rPr lang="en-US" noProof="0" dirty="0"/>
              <a:t> for </a:t>
            </a:r>
            <a:r>
              <a:rPr lang="en-US" noProof="0" dirty="0" err="1"/>
              <a:t>overskrift</a:t>
            </a:r>
            <a:endParaRPr lang="en-US" noProof="0" dirty="0"/>
          </a:p>
          <a:p>
            <a:pPr lvl="1"/>
            <a:r>
              <a:rPr lang="en-US" noProof="0" dirty="0" err="1"/>
              <a:t>Tekst</a:t>
            </a:r>
            <a:r>
              <a:rPr lang="en-US" noProof="0" dirty="0"/>
              <a:t> her</a:t>
            </a:r>
          </a:p>
        </p:txBody>
      </p:sp>
      <p:sp>
        <p:nvSpPr>
          <p:cNvPr id="12" name="Text Placeholder 7">
            <a:extLst>
              <a:ext uri="{FF2B5EF4-FFF2-40B4-BE49-F238E27FC236}">
                <a16:creationId xmlns:a16="http://schemas.microsoft.com/office/drawing/2014/main" id="{2338588B-5749-8548-8A92-845B34954343}"/>
              </a:ext>
            </a:extLst>
          </p:cNvPr>
          <p:cNvSpPr>
            <a:spLocks noGrp="1"/>
          </p:cNvSpPr>
          <p:nvPr>
            <p:ph type="body" sz="quarter" idx="35" hasCustomPrompt="1"/>
          </p:nvPr>
        </p:nvSpPr>
        <p:spPr>
          <a:xfrm>
            <a:off x="5103608" y="4154400"/>
            <a:ext cx="1979867" cy="1974938"/>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dirty="0" err="1"/>
              <a:t>Klikk</a:t>
            </a:r>
            <a:r>
              <a:rPr lang="en-US" noProof="0" dirty="0"/>
              <a:t> for </a:t>
            </a:r>
            <a:r>
              <a:rPr lang="en-US" noProof="0" dirty="0" err="1"/>
              <a:t>overskrift</a:t>
            </a:r>
            <a:endParaRPr lang="en-US" noProof="0" dirty="0"/>
          </a:p>
          <a:p>
            <a:pPr lvl="1"/>
            <a:r>
              <a:rPr lang="en-US" noProof="0" dirty="0" err="1"/>
              <a:t>Tekst</a:t>
            </a:r>
            <a:r>
              <a:rPr lang="en-US" noProof="0" dirty="0"/>
              <a:t> her</a:t>
            </a:r>
          </a:p>
        </p:txBody>
      </p:sp>
      <p:sp>
        <p:nvSpPr>
          <p:cNvPr id="10" name="Text Placeholder 7">
            <a:extLst>
              <a:ext uri="{FF2B5EF4-FFF2-40B4-BE49-F238E27FC236}">
                <a16:creationId xmlns:a16="http://schemas.microsoft.com/office/drawing/2014/main" id="{5529437F-1CE6-957D-981E-276BDD1EE199}"/>
              </a:ext>
            </a:extLst>
          </p:cNvPr>
          <p:cNvSpPr>
            <a:spLocks noGrp="1"/>
          </p:cNvSpPr>
          <p:nvPr>
            <p:ph type="body" sz="quarter" idx="47" hasCustomPrompt="1"/>
          </p:nvPr>
        </p:nvSpPr>
        <p:spPr>
          <a:xfrm>
            <a:off x="9624124" y="4154400"/>
            <a:ext cx="1979867" cy="1974938"/>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dirty="0" err="1"/>
              <a:t>Klikk</a:t>
            </a:r>
            <a:r>
              <a:rPr lang="en-US" noProof="0" dirty="0"/>
              <a:t> for </a:t>
            </a:r>
            <a:r>
              <a:rPr lang="en-US" noProof="0" dirty="0" err="1"/>
              <a:t>overskrift</a:t>
            </a:r>
            <a:endParaRPr lang="en-US" noProof="0" dirty="0"/>
          </a:p>
          <a:p>
            <a:pPr lvl="1"/>
            <a:r>
              <a:rPr lang="en-US" noProof="0" dirty="0" err="1"/>
              <a:t>Tekst</a:t>
            </a:r>
            <a:r>
              <a:rPr lang="en-US" noProof="0" dirty="0"/>
              <a:t> her</a:t>
            </a:r>
          </a:p>
        </p:txBody>
      </p:sp>
      <p:sp>
        <p:nvSpPr>
          <p:cNvPr id="13" name="Text Placeholder 7">
            <a:extLst>
              <a:ext uri="{FF2B5EF4-FFF2-40B4-BE49-F238E27FC236}">
                <a16:creationId xmlns:a16="http://schemas.microsoft.com/office/drawing/2014/main" id="{B2D2E607-59C0-854C-9641-8FC1939742CC}"/>
              </a:ext>
            </a:extLst>
          </p:cNvPr>
          <p:cNvSpPr>
            <a:spLocks noGrp="1"/>
          </p:cNvSpPr>
          <p:nvPr>
            <p:ph type="body" sz="quarter" idx="37" hasCustomPrompt="1"/>
          </p:nvPr>
        </p:nvSpPr>
        <p:spPr>
          <a:xfrm>
            <a:off x="7363865" y="4154400"/>
            <a:ext cx="1979867" cy="1974938"/>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dirty="0" err="1"/>
              <a:t>Klikk</a:t>
            </a:r>
            <a:r>
              <a:rPr lang="en-US" noProof="0" dirty="0"/>
              <a:t> for </a:t>
            </a:r>
            <a:r>
              <a:rPr lang="en-US" noProof="0" dirty="0" err="1"/>
              <a:t>overskrift</a:t>
            </a:r>
            <a:endParaRPr lang="en-US" noProof="0" dirty="0"/>
          </a:p>
          <a:p>
            <a:pPr lvl="1"/>
            <a:r>
              <a:rPr lang="en-US" noProof="0" dirty="0" err="1"/>
              <a:t>Tekst</a:t>
            </a:r>
            <a:r>
              <a:rPr lang="en-US" noProof="0" dirty="0"/>
              <a:t> her</a:t>
            </a:r>
          </a:p>
        </p:txBody>
      </p:sp>
      <p:grpSp>
        <p:nvGrpSpPr>
          <p:cNvPr id="4" name="Instructions">
            <a:extLst>
              <a:ext uri="{FF2B5EF4-FFF2-40B4-BE49-F238E27FC236}">
                <a16:creationId xmlns:a16="http://schemas.microsoft.com/office/drawing/2014/main" id="{92A30559-C6A6-F4EB-173C-760FBEDDD155}"/>
              </a:ext>
            </a:extLst>
          </p:cNvPr>
          <p:cNvGrpSpPr/>
          <p:nvPr userDrawn="1"/>
        </p:nvGrpSpPr>
        <p:grpSpPr>
          <a:xfrm>
            <a:off x="12395260" y="4154400"/>
            <a:ext cx="1681523" cy="1754326"/>
            <a:chOff x="12395260" y="4154400"/>
            <a:chExt cx="1681523" cy="1754326"/>
          </a:xfrm>
        </p:grpSpPr>
        <p:sp>
          <p:nvSpPr>
            <p:cNvPr id="25" name="textruta 24">
              <a:extLst>
                <a:ext uri="{FF2B5EF4-FFF2-40B4-BE49-F238E27FC236}">
                  <a16:creationId xmlns:a16="http://schemas.microsoft.com/office/drawing/2014/main" id="{6FF8A552-8B94-0248-98BE-FC41CCC7238C}"/>
                </a:ext>
              </a:extLst>
            </p:cNvPr>
            <p:cNvSpPr txBox="1"/>
            <p:nvPr userDrawn="1"/>
          </p:nvSpPr>
          <p:spPr>
            <a:xfrm>
              <a:off x="12395260" y="4154400"/>
              <a:ext cx="1681523" cy="1754326"/>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mn-lt"/>
                  <a:cs typeface="Arial" panose="020B0604020202020204" pitchFamily="34" charset="0"/>
                </a:rPr>
                <a:t>To change from </a:t>
              </a:r>
              <a:r>
                <a:rPr lang="en-US" sz="900" b="1" baseline="0" noProof="0">
                  <a:solidFill>
                    <a:schemeClr val="tx1">
                      <a:lumMod val="65000"/>
                      <a:lumOff val="35000"/>
                    </a:schemeClr>
                  </a:solidFill>
                  <a:latin typeface="+mn-lt"/>
                  <a:cs typeface="Arial" panose="020B0604020202020204" pitchFamily="34" charset="0"/>
                </a:rPr>
                <a:t>headline</a:t>
              </a:r>
              <a:r>
                <a:rPr lang="en-US" sz="900" baseline="0" noProof="0">
                  <a:solidFill>
                    <a:schemeClr val="tx1">
                      <a:lumMod val="65000"/>
                      <a:lumOff val="35000"/>
                    </a:schemeClr>
                  </a:solidFill>
                  <a:latin typeface="+mn-lt"/>
                  <a:cs typeface="Arial" panose="020B0604020202020204" pitchFamily="34" charset="0"/>
                </a:rPr>
                <a:t> to </a:t>
              </a:r>
              <a:r>
                <a:rPr lang="en-US" sz="900" b="1" baseline="0" noProof="0">
                  <a:solidFill>
                    <a:schemeClr val="tx1">
                      <a:lumMod val="65000"/>
                      <a:lumOff val="35000"/>
                    </a:schemeClr>
                  </a:solidFill>
                  <a:latin typeface="+mn-lt"/>
                  <a:cs typeface="Arial" panose="020B0604020202020204" pitchFamily="34" charset="0"/>
                </a:rPr>
                <a:t>body text </a:t>
              </a:r>
              <a:r>
                <a:rPr lang="en-US" sz="900" baseline="0" noProof="0">
                  <a:solidFill>
                    <a:schemeClr val="tx1">
                      <a:lumMod val="65000"/>
                      <a:lumOff val="35000"/>
                    </a:schemeClr>
                  </a:solidFill>
                  <a:latin typeface="+mn-lt"/>
                  <a:cs typeface="Arial" panose="020B0604020202020204" pitchFamily="34" charset="0"/>
                </a:rPr>
                <a:t>or to </a:t>
              </a:r>
              <a:r>
                <a:rPr lang="en-US" sz="900" b="1" baseline="0" noProof="0">
                  <a:solidFill>
                    <a:schemeClr val="tx1">
                      <a:lumMod val="65000"/>
                      <a:lumOff val="35000"/>
                    </a:schemeClr>
                  </a:solidFill>
                  <a:latin typeface="+mn-lt"/>
                  <a:cs typeface="Arial" panose="020B0604020202020204" pitchFamily="34" charset="0"/>
                </a:rPr>
                <a:t>use bullets</a:t>
              </a:r>
              <a:r>
                <a:rPr lang="en-US" sz="900" baseline="0" noProof="0">
                  <a:solidFill>
                    <a:schemeClr val="tx1">
                      <a:lumMod val="65000"/>
                      <a:lumOff val="35000"/>
                    </a:schemeClr>
                  </a:solidFill>
                  <a:latin typeface="+mn-lt"/>
                  <a:cs typeface="Arial" panose="020B0604020202020204" pitchFamily="34" charset="0"/>
                </a:rPr>
                <a:t>, press </a:t>
              </a:r>
              <a:r>
                <a:rPr lang="en-US" sz="900" b="1" baseline="0" noProof="0">
                  <a:solidFill>
                    <a:schemeClr val="tx1">
                      <a:lumMod val="65000"/>
                      <a:lumOff val="35000"/>
                    </a:schemeClr>
                  </a:solidFill>
                  <a:latin typeface="+mn-lt"/>
                  <a:cs typeface="Arial" panose="020B0604020202020204" pitchFamily="34" charset="0"/>
                </a:rPr>
                <a:t>enter/return </a:t>
              </a:r>
              <a:r>
                <a:rPr lang="en-US" sz="900" baseline="0" noProof="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p:txBody>
        </p:sp>
        <p:pic>
          <p:nvPicPr>
            <p:cNvPr id="26" name="Picture 9">
              <a:extLst>
                <a:ext uri="{FF2B5EF4-FFF2-40B4-BE49-F238E27FC236}">
                  <a16:creationId xmlns:a16="http://schemas.microsoft.com/office/drawing/2014/main" id="{93794F68-FA77-DA48-9A1A-E02A2FFA0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27" name="Oval 4">
              <a:extLst>
                <a:ext uri="{FF2B5EF4-FFF2-40B4-BE49-F238E27FC236}">
                  <a16:creationId xmlns:a16="http://schemas.microsoft.com/office/drawing/2014/main" id="{5241205B-C4DB-DD49-956F-BF07FDFE2B88}"/>
                </a:ext>
              </a:extLst>
            </p:cNvPr>
            <p:cNvSpPr/>
            <p:nvPr userDrawn="1"/>
          </p:nvSpPr>
          <p:spPr>
            <a:xfrm>
              <a:off x="13194299" y="52819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28" name="Connector: Elbow 131">
              <a:extLst>
                <a:ext uri="{FF2B5EF4-FFF2-40B4-BE49-F238E27FC236}">
                  <a16:creationId xmlns:a16="http://schemas.microsoft.com/office/drawing/2014/main" id="{51B26D0D-F6C6-4746-9A73-F3230C78CC13}"/>
                </a:ext>
              </a:extLst>
            </p:cNvPr>
            <p:cNvCxnSpPr>
              <a:cxnSpLocks/>
              <a:endCxn id="27" idx="0"/>
            </p:cNvCxnSpPr>
            <p:nvPr userDrawn="1"/>
          </p:nvCxnSpPr>
          <p:spPr>
            <a:xfrm rot="5400000">
              <a:off x="13324711" y="50100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Logotype">
            <a:extLst>
              <a:ext uri="{FF2B5EF4-FFF2-40B4-BE49-F238E27FC236}">
                <a16:creationId xmlns:a16="http://schemas.microsoft.com/office/drawing/2014/main" id="{02704BA6-C98E-2AE1-82A8-5D1432AD6D38}"/>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14" name="Text Placeholder 7">
            <a:extLst>
              <a:ext uri="{FF2B5EF4-FFF2-40B4-BE49-F238E27FC236}">
                <a16:creationId xmlns:a16="http://schemas.microsoft.com/office/drawing/2014/main" id="{80252F41-AD46-77C5-12DD-E9657C327FB4}"/>
              </a:ext>
            </a:extLst>
          </p:cNvPr>
          <p:cNvSpPr>
            <a:spLocks noGrp="1"/>
          </p:cNvSpPr>
          <p:nvPr>
            <p:ph type="body" sz="quarter" idx="25" hasCustomPrompt="1"/>
          </p:nvPr>
        </p:nvSpPr>
        <p:spPr>
          <a:xfrm>
            <a:off x="576262" y="291600"/>
            <a:ext cx="5180400" cy="180000"/>
          </a:xfrm>
        </p:spPr>
        <p:txBody>
          <a:bodyPr/>
          <a:lstStyle>
            <a:lvl1pPr marL="6350" indent="0">
              <a:buNone/>
              <a:defRPr sz="1200"/>
            </a:lvl1pPr>
          </a:lstStyle>
          <a:p>
            <a:pPr lvl="0"/>
            <a:r>
              <a:rPr lang="nb-NO" dirty="0"/>
              <a:t>Klikk for å legge til kapittel</a:t>
            </a:r>
            <a:endParaRPr lang="en-US" dirty="0"/>
          </a:p>
        </p:txBody>
      </p:sp>
    </p:spTree>
    <p:extLst>
      <p:ext uri="{BB962C8B-B14F-4D97-AF65-F5344CB8AC3E}">
        <p14:creationId xmlns:p14="http://schemas.microsoft.com/office/powerpoint/2010/main" val="208395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8 Seks ikoner og teks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64BB5C8-D6D6-9E45-86B2-CADD71FC5C88}"/>
              </a:ext>
            </a:extLst>
          </p:cNvPr>
          <p:cNvSpPr>
            <a:spLocks noGrp="1"/>
          </p:cNvSpPr>
          <p:nvPr>
            <p:ph type="pic" sz="quarter" idx="39" hasCustomPrompt="1"/>
          </p:nvPr>
        </p:nvSpPr>
        <p:spPr>
          <a:xfrm>
            <a:off x="583094" y="2133600"/>
            <a:ext cx="1584000" cy="1828800"/>
          </a:xfrm>
        </p:spPr>
        <p:txBody>
          <a:bodyPr/>
          <a:lstStyle>
            <a:lvl1pPr marL="12700" indent="0" algn="ctr">
              <a:buNone/>
              <a:defRPr sz="1300">
                <a:solidFill>
                  <a:schemeClr val="accent1"/>
                </a:solidFill>
              </a:defRPr>
            </a:lvl1pPr>
          </a:lstStyle>
          <a:p>
            <a:r>
              <a:rPr lang="en-US" noProof="0" dirty="0" err="1"/>
              <a:t>Klikk</a:t>
            </a:r>
            <a:r>
              <a:rPr lang="en-US" noProof="0" dirty="0"/>
              <a:t> for å </a:t>
            </a:r>
            <a:r>
              <a:rPr lang="en-US" noProof="0" dirty="0" err="1"/>
              <a:t>legge</a:t>
            </a:r>
            <a:r>
              <a:rPr lang="en-US" noProof="0" dirty="0"/>
              <a:t> </a:t>
            </a:r>
            <a:r>
              <a:rPr lang="en-US" noProof="0" dirty="0" err="1"/>
              <a:t>til</a:t>
            </a:r>
            <a:r>
              <a:rPr lang="en-US" noProof="0" dirty="0"/>
              <a:t> ikon</a:t>
            </a:r>
          </a:p>
        </p:txBody>
      </p:sp>
      <p:sp>
        <p:nvSpPr>
          <p:cNvPr id="30" name="Picture Placeholder 4">
            <a:extLst>
              <a:ext uri="{FF2B5EF4-FFF2-40B4-BE49-F238E27FC236}">
                <a16:creationId xmlns:a16="http://schemas.microsoft.com/office/drawing/2014/main" id="{21B4219E-EAF7-A840-BD4B-30965C2453D6}"/>
              </a:ext>
            </a:extLst>
          </p:cNvPr>
          <p:cNvSpPr>
            <a:spLocks noGrp="1"/>
          </p:cNvSpPr>
          <p:nvPr>
            <p:ph type="pic" sz="quarter" idx="40" hasCustomPrompt="1"/>
          </p:nvPr>
        </p:nvSpPr>
        <p:spPr>
          <a:xfrm>
            <a:off x="2475898" y="2133600"/>
            <a:ext cx="1584000" cy="1828800"/>
          </a:xfrm>
        </p:spPr>
        <p:txBody>
          <a:bodyPr/>
          <a:lstStyle>
            <a:lvl1pPr marL="12700" indent="0" algn="ctr">
              <a:buNone/>
              <a:defRPr sz="1300">
                <a:solidFill>
                  <a:schemeClr val="accent1"/>
                </a:solidFill>
              </a:defRPr>
            </a:lvl1pPr>
          </a:lstStyle>
          <a:p>
            <a:r>
              <a:rPr lang="en-US" noProof="0" dirty="0" err="1"/>
              <a:t>Klikk</a:t>
            </a:r>
            <a:r>
              <a:rPr lang="en-US" noProof="0" dirty="0"/>
              <a:t> for å </a:t>
            </a:r>
            <a:r>
              <a:rPr lang="en-US" noProof="0" dirty="0" err="1"/>
              <a:t>legge</a:t>
            </a:r>
            <a:r>
              <a:rPr lang="en-US" noProof="0" dirty="0"/>
              <a:t> </a:t>
            </a:r>
            <a:r>
              <a:rPr lang="en-US" noProof="0" dirty="0" err="1"/>
              <a:t>til</a:t>
            </a:r>
            <a:r>
              <a:rPr lang="en-US" noProof="0" dirty="0"/>
              <a:t> ikon</a:t>
            </a:r>
          </a:p>
        </p:txBody>
      </p:sp>
      <p:sp>
        <p:nvSpPr>
          <p:cNvPr id="31" name="Picture Placeholder 4">
            <a:extLst>
              <a:ext uri="{FF2B5EF4-FFF2-40B4-BE49-F238E27FC236}">
                <a16:creationId xmlns:a16="http://schemas.microsoft.com/office/drawing/2014/main" id="{3E3297E1-ECDE-7F49-9333-F2D3B667B9E2}"/>
              </a:ext>
            </a:extLst>
          </p:cNvPr>
          <p:cNvSpPr>
            <a:spLocks noGrp="1"/>
          </p:cNvSpPr>
          <p:nvPr>
            <p:ph type="pic" sz="quarter" idx="41" hasCustomPrompt="1"/>
          </p:nvPr>
        </p:nvSpPr>
        <p:spPr>
          <a:xfrm>
            <a:off x="4359276" y="2133600"/>
            <a:ext cx="1584000" cy="1828800"/>
          </a:xfrm>
        </p:spPr>
        <p:txBody>
          <a:bodyPr/>
          <a:lstStyle>
            <a:lvl1pPr marL="12700" indent="0" algn="ctr">
              <a:buNone/>
              <a:defRPr sz="1300">
                <a:solidFill>
                  <a:schemeClr val="accent1"/>
                </a:solidFill>
              </a:defRPr>
            </a:lvl1pPr>
          </a:lstStyle>
          <a:p>
            <a:r>
              <a:rPr lang="en-US" noProof="0" dirty="0" err="1"/>
              <a:t>Klikk</a:t>
            </a:r>
            <a:r>
              <a:rPr lang="en-US" noProof="0" dirty="0"/>
              <a:t> for å </a:t>
            </a:r>
            <a:r>
              <a:rPr lang="en-US" noProof="0" dirty="0" err="1"/>
              <a:t>legge</a:t>
            </a:r>
            <a:r>
              <a:rPr lang="en-US" noProof="0" dirty="0"/>
              <a:t> </a:t>
            </a:r>
            <a:r>
              <a:rPr lang="en-US" noProof="0" dirty="0" err="1"/>
              <a:t>til</a:t>
            </a:r>
            <a:r>
              <a:rPr lang="en-US" noProof="0" dirty="0"/>
              <a:t> ikon</a:t>
            </a:r>
          </a:p>
        </p:txBody>
      </p:sp>
      <p:sp>
        <p:nvSpPr>
          <p:cNvPr id="32" name="Picture Placeholder 4">
            <a:extLst>
              <a:ext uri="{FF2B5EF4-FFF2-40B4-BE49-F238E27FC236}">
                <a16:creationId xmlns:a16="http://schemas.microsoft.com/office/drawing/2014/main" id="{791D8F08-C508-FA4F-98BC-992A22771E82}"/>
              </a:ext>
            </a:extLst>
          </p:cNvPr>
          <p:cNvSpPr>
            <a:spLocks noGrp="1"/>
          </p:cNvSpPr>
          <p:nvPr>
            <p:ph type="pic" sz="quarter" idx="42" hasCustomPrompt="1"/>
          </p:nvPr>
        </p:nvSpPr>
        <p:spPr>
          <a:xfrm>
            <a:off x="6253242" y="2133600"/>
            <a:ext cx="1584000" cy="1828800"/>
          </a:xfrm>
        </p:spPr>
        <p:txBody>
          <a:bodyPr/>
          <a:lstStyle>
            <a:lvl1pPr marL="12700" indent="0" algn="ctr">
              <a:buNone/>
              <a:defRPr sz="1300">
                <a:solidFill>
                  <a:schemeClr val="accent1"/>
                </a:solidFill>
              </a:defRPr>
            </a:lvl1pPr>
          </a:lstStyle>
          <a:p>
            <a:r>
              <a:rPr lang="en-US" noProof="0" dirty="0" err="1"/>
              <a:t>Klikk</a:t>
            </a:r>
            <a:r>
              <a:rPr lang="en-US" noProof="0" dirty="0"/>
              <a:t> for å </a:t>
            </a:r>
            <a:r>
              <a:rPr lang="en-US" noProof="0" dirty="0" err="1"/>
              <a:t>legge</a:t>
            </a:r>
            <a:r>
              <a:rPr lang="en-US" noProof="0" dirty="0"/>
              <a:t> </a:t>
            </a:r>
            <a:r>
              <a:rPr lang="en-US" noProof="0" dirty="0" err="1"/>
              <a:t>til</a:t>
            </a:r>
            <a:r>
              <a:rPr lang="en-US" noProof="0" dirty="0"/>
              <a:t> ikon</a:t>
            </a:r>
          </a:p>
        </p:txBody>
      </p:sp>
      <p:sp>
        <p:nvSpPr>
          <p:cNvPr id="9" name="Picture Placeholder 4">
            <a:extLst>
              <a:ext uri="{FF2B5EF4-FFF2-40B4-BE49-F238E27FC236}">
                <a16:creationId xmlns:a16="http://schemas.microsoft.com/office/drawing/2014/main" id="{92CD06EE-FBDA-808E-0527-B4BAFF7D070A}"/>
              </a:ext>
            </a:extLst>
          </p:cNvPr>
          <p:cNvSpPr>
            <a:spLocks noGrp="1"/>
          </p:cNvSpPr>
          <p:nvPr>
            <p:ph type="pic" sz="quarter" idx="46" hasCustomPrompt="1"/>
          </p:nvPr>
        </p:nvSpPr>
        <p:spPr>
          <a:xfrm>
            <a:off x="8136698" y="2133600"/>
            <a:ext cx="1584000" cy="1828800"/>
          </a:xfrm>
        </p:spPr>
        <p:txBody>
          <a:bodyPr/>
          <a:lstStyle>
            <a:lvl1pPr marL="12700" indent="0" algn="ctr">
              <a:buNone/>
              <a:defRPr sz="1300">
                <a:solidFill>
                  <a:schemeClr val="accent1"/>
                </a:solidFill>
              </a:defRPr>
            </a:lvl1pPr>
          </a:lstStyle>
          <a:p>
            <a:r>
              <a:rPr lang="en-US" noProof="0" dirty="0" err="1"/>
              <a:t>Klikk</a:t>
            </a:r>
            <a:r>
              <a:rPr lang="en-US" noProof="0" dirty="0"/>
              <a:t> for å </a:t>
            </a:r>
            <a:r>
              <a:rPr lang="en-US" noProof="0" dirty="0" err="1"/>
              <a:t>legge</a:t>
            </a:r>
            <a:r>
              <a:rPr lang="en-US" noProof="0" dirty="0"/>
              <a:t> </a:t>
            </a:r>
            <a:r>
              <a:rPr lang="en-US" noProof="0" dirty="0" err="1"/>
              <a:t>til</a:t>
            </a:r>
            <a:r>
              <a:rPr lang="en-US" noProof="0" dirty="0"/>
              <a:t> ikon</a:t>
            </a:r>
          </a:p>
        </p:txBody>
      </p:sp>
      <p:sp>
        <p:nvSpPr>
          <p:cNvPr id="3" name="Title 2">
            <a:extLst>
              <a:ext uri="{FF2B5EF4-FFF2-40B4-BE49-F238E27FC236}">
                <a16:creationId xmlns:a16="http://schemas.microsoft.com/office/drawing/2014/main" id="{A5AE683B-254A-CA6E-65DA-A9E0EA60E1E7}"/>
              </a:ext>
            </a:extLst>
          </p:cNvPr>
          <p:cNvSpPr>
            <a:spLocks noGrp="1"/>
          </p:cNvSpPr>
          <p:nvPr>
            <p:ph type="title" hasCustomPrompt="1"/>
          </p:nvPr>
        </p:nvSpPr>
        <p:spPr>
          <a:xfrm>
            <a:off x="576000" y="730800"/>
            <a:ext cx="11021062" cy="384506"/>
          </a:xfrm>
        </p:spPr>
        <p:txBody>
          <a:bodyPr/>
          <a:lstStyle/>
          <a:p>
            <a:r>
              <a:rPr lang="nb-NO" dirty="0"/>
              <a:t>Klikk for å legge til en overskrift på maksimalt én linje</a:t>
            </a:r>
            <a:endParaRPr lang="en-US" dirty="0"/>
          </a:p>
        </p:txBody>
      </p:sp>
      <p:sp>
        <p:nvSpPr>
          <p:cNvPr id="15" name="Text Placeholder 7">
            <a:extLst>
              <a:ext uri="{FF2B5EF4-FFF2-40B4-BE49-F238E27FC236}">
                <a16:creationId xmlns:a16="http://schemas.microsoft.com/office/drawing/2014/main" id="{CD04EC2E-C805-E64A-BBA4-8DECB98EE820}"/>
              </a:ext>
            </a:extLst>
          </p:cNvPr>
          <p:cNvSpPr>
            <a:spLocks noGrp="1"/>
          </p:cNvSpPr>
          <p:nvPr>
            <p:ph type="body" sz="quarter" idx="38" hasCustomPrompt="1"/>
          </p:nvPr>
        </p:nvSpPr>
        <p:spPr>
          <a:xfrm>
            <a:off x="583094" y="4154400"/>
            <a:ext cx="1591781" cy="1974938"/>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dirty="0" err="1"/>
              <a:t>Klikk</a:t>
            </a:r>
            <a:r>
              <a:rPr lang="en-US" noProof="0" dirty="0"/>
              <a:t> for </a:t>
            </a:r>
            <a:r>
              <a:rPr lang="en-US" noProof="0" dirty="0" err="1"/>
              <a:t>overskrift</a:t>
            </a:r>
            <a:endParaRPr lang="en-US" noProof="0" dirty="0"/>
          </a:p>
          <a:p>
            <a:pPr lvl="1"/>
            <a:r>
              <a:rPr lang="en-US" noProof="0" dirty="0" err="1"/>
              <a:t>Tekst</a:t>
            </a:r>
            <a:r>
              <a:rPr lang="en-US" noProof="0" dirty="0"/>
              <a:t> her</a:t>
            </a:r>
          </a:p>
        </p:txBody>
      </p:sp>
      <p:sp>
        <p:nvSpPr>
          <p:cNvPr id="11" name="Text Placeholder 7">
            <a:extLst>
              <a:ext uri="{FF2B5EF4-FFF2-40B4-BE49-F238E27FC236}">
                <a16:creationId xmlns:a16="http://schemas.microsoft.com/office/drawing/2014/main" id="{1E8E1731-23EB-0B4A-A05C-05B9BCA19C9C}"/>
              </a:ext>
            </a:extLst>
          </p:cNvPr>
          <p:cNvSpPr>
            <a:spLocks noGrp="1"/>
          </p:cNvSpPr>
          <p:nvPr>
            <p:ph type="body" sz="quarter" idx="32" hasCustomPrompt="1"/>
          </p:nvPr>
        </p:nvSpPr>
        <p:spPr>
          <a:xfrm>
            <a:off x="2475899" y="4154400"/>
            <a:ext cx="1591782" cy="1974938"/>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dirty="0" err="1"/>
              <a:t>Klikk</a:t>
            </a:r>
            <a:r>
              <a:rPr lang="en-US" noProof="0" dirty="0"/>
              <a:t> for </a:t>
            </a:r>
            <a:r>
              <a:rPr lang="en-US" noProof="0" dirty="0" err="1"/>
              <a:t>overskrift</a:t>
            </a:r>
            <a:endParaRPr lang="en-US" noProof="0" dirty="0"/>
          </a:p>
          <a:p>
            <a:pPr lvl="1"/>
            <a:r>
              <a:rPr lang="en-US" noProof="0" dirty="0" err="1"/>
              <a:t>Tekst</a:t>
            </a:r>
            <a:r>
              <a:rPr lang="en-US" noProof="0" dirty="0"/>
              <a:t> her</a:t>
            </a:r>
          </a:p>
        </p:txBody>
      </p:sp>
      <p:sp>
        <p:nvSpPr>
          <p:cNvPr id="12" name="Text Placeholder 7">
            <a:extLst>
              <a:ext uri="{FF2B5EF4-FFF2-40B4-BE49-F238E27FC236}">
                <a16:creationId xmlns:a16="http://schemas.microsoft.com/office/drawing/2014/main" id="{2338588B-5749-8548-8A92-845B34954343}"/>
              </a:ext>
            </a:extLst>
          </p:cNvPr>
          <p:cNvSpPr>
            <a:spLocks noGrp="1"/>
          </p:cNvSpPr>
          <p:nvPr>
            <p:ph type="body" sz="quarter" idx="35" hasCustomPrompt="1"/>
          </p:nvPr>
        </p:nvSpPr>
        <p:spPr>
          <a:xfrm>
            <a:off x="4359277" y="4154400"/>
            <a:ext cx="1591782" cy="1974938"/>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dirty="0" err="1"/>
              <a:t>Klikk</a:t>
            </a:r>
            <a:r>
              <a:rPr lang="en-US" noProof="0" dirty="0"/>
              <a:t> for </a:t>
            </a:r>
            <a:r>
              <a:rPr lang="en-US" noProof="0" dirty="0" err="1"/>
              <a:t>overskrift</a:t>
            </a:r>
            <a:endParaRPr lang="en-US" noProof="0" dirty="0"/>
          </a:p>
          <a:p>
            <a:pPr lvl="1"/>
            <a:r>
              <a:rPr lang="en-US" noProof="0" dirty="0" err="1"/>
              <a:t>Tekst</a:t>
            </a:r>
            <a:r>
              <a:rPr lang="en-US" noProof="0" dirty="0"/>
              <a:t> her</a:t>
            </a:r>
          </a:p>
        </p:txBody>
      </p:sp>
      <p:sp>
        <p:nvSpPr>
          <p:cNvPr id="10" name="Text Placeholder 7">
            <a:extLst>
              <a:ext uri="{FF2B5EF4-FFF2-40B4-BE49-F238E27FC236}">
                <a16:creationId xmlns:a16="http://schemas.microsoft.com/office/drawing/2014/main" id="{5529437F-1CE6-957D-981E-276BDD1EE199}"/>
              </a:ext>
            </a:extLst>
          </p:cNvPr>
          <p:cNvSpPr>
            <a:spLocks noGrp="1"/>
          </p:cNvSpPr>
          <p:nvPr>
            <p:ph type="body" sz="quarter" idx="47" hasCustomPrompt="1"/>
          </p:nvPr>
        </p:nvSpPr>
        <p:spPr>
          <a:xfrm>
            <a:off x="8136699" y="4154400"/>
            <a:ext cx="1591782" cy="1974938"/>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dirty="0" err="1"/>
              <a:t>Klikk</a:t>
            </a:r>
            <a:r>
              <a:rPr lang="en-US" noProof="0" dirty="0"/>
              <a:t> for </a:t>
            </a:r>
            <a:r>
              <a:rPr lang="en-US" noProof="0" dirty="0" err="1"/>
              <a:t>overskrift</a:t>
            </a:r>
            <a:endParaRPr lang="en-US" noProof="0" dirty="0"/>
          </a:p>
          <a:p>
            <a:pPr lvl="1"/>
            <a:r>
              <a:rPr lang="en-US" noProof="0" dirty="0" err="1"/>
              <a:t>Tekst</a:t>
            </a:r>
            <a:r>
              <a:rPr lang="en-US" noProof="0" dirty="0"/>
              <a:t> her</a:t>
            </a:r>
          </a:p>
        </p:txBody>
      </p:sp>
      <p:sp>
        <p:nvSpPr>
          <p:cNvPr id="13" name="Text Placeholder 7">
            <a:extLst>
              <a:ext uri="{FF2B5EF4-FFF2-40B4-BE49-F238E27FC236}">
                <a16:creationId xmlns:a16="http://schemas.microsoft.com/office/drawing/2014/main" id="{B2D2E607-59C0-854C-9641-8FC1939742CC}"/>
              </a:ext>
            </a:extLst>
          </p:cNvPr>
          <p:cNvSpPr>
            <a:spLocks noGrp="1"/>
          </p:cNvSpPr>
          <p:nvPr>
            <p:ph type="body" sz="quarter" idx="37" hasCustomPrompt="1"/>
          </p:nvPr>
        </p:nvSpPr>
        <p:spPr>
          <a:xfrm>
            <a:off x="6253243" y="4154400"/>
            <a:ext cx="1591782" cy="1974938"/>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dirty="0" err="1"/>
              <a:t>Klikk</a:t>
            </a:r>
            <a:r>
              <a:rPr lang="en-US" noProof="0" dirty="0"/>
              <a:t> for </a:t>
            </a:r>
            <a:r>
              <a:rPr lang="en-US" noProof="0" dirty="0" err="1"/>
              <a:t>overskrift</a:t>
            </a:r>
            <a:endParaRPr lang="en-US" noProof="0" dirty="0"/>
          </a:p>
          <a:p>
            <a:pPr lvl="1"/>
            <a:r>
              <a:rPr lang="en-US" noProof="0" dirty="0" err="1"/>
              <a:t>Tekst</a:t>
            </a:r>
            <a:r>
              <a:rPr lang="en-US" noProof="0" dirty="0"/>
              <a:t> her</a:t>
            </a:r>
          </a:p>
        </p:txBody>
      </p:sp>
      <p:grpSp>
        <p:nvGrpSpPr>
          <p:cNvPr id="4" name="Instructions">
            <a:extLst>
              <a:ext uri="{FF2B5EF4-FFF2-40B4-BE49-F238E27FC236}">
                <a16:creationId xmlns:a16="http://schemas.microsoft.com/office/drawing/2014/main" id="{92A30559-C6A6-F4EB-173C-760FBEDDD155}"/>
              </a:ext>
            </a:extLst>
          </p:cNvPr>
          <p:cNvGrpSpPr/>
          <p:nvPr userDrawn="1"/>
        </p:nvGrpSpPr>
        <p:grpSpPr>
          <a:xfrm>
            <a:off x="12395260" y="4154400"/>
            <a:ext cx="1681523" cy="1754326"/>
            <a:chOff x="12395260" y="4154400"/>
            <a:chExt cx="1681523" cy="1754326"/>
          </a:xfrm>
        </p:grpSpPr>
        <p:sp>
          <p:nvSpPr>
            <p:cNvPr id="25" name="textruta 24">
              <a:extLst>
                <a:ext uri="{FF2B5EF4-FFF2-40B4-BE49-F238E27FC236}">
                  <a16:creationId xmlns:a16="http://schemas.microsoft.com/office/drawing/2014/main" id="{6FF8A552-8B94-0248-98BE-FC41CCC7238C}"/>
                </a:ext>
              </a:extLst>
            </p:cNvPr>
            <p:cNvSpPr txBox="1"/>
            <p:nvPr userDrawn="1"/>
          </p:nvSpPr>
          <p:spPr>
            <a:xfrm>
              <a:off x="12395260" y="4154400"/>
              <a:ext cx="1681523" cy="1754326"/>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mn-lt"/>
                  <a:cs typeface="Arial" panose="020B0604020202020204" pitchFamily="34" charset="0"/>
                </a:rPr>
                <a:t>To change from </a:t>
              </a:r>
              <a:r>
                <a:rPr lang="en-US" sz="900" b="1" baseline="0" noProof="0">
                  <a:solidFill>
                    <a:schemeClr val="tx1">
                      <a:lumMod val="65000"/>
                      <a:lumOff val="35000"/>
                    </a:schemeClr>
                  </a:solidFill>
                  <a:latin typeface="+mn-lt"/>
                  <a:cs typeface="Arial" panose="020B0604020202020204" pitchFamily="34" charset="0"/>
                </a:rPr>
                <a:t>headline</a:t>
              </a:r>
              <a:r>
                <a:rPr lang="en-US" sz="900" baseline="0" noProof="0">
                  <a:solidFill>
                    <a:schemeClr val="tx1">
                      <a:lumMod val="65000"/>
                      <a:lumOff val="35000"/>
                    </a:schemeClr>
                  </a:solidFill>
                  <a:latin typeface="+mn-lt"/>
                  <a:cs typeface="Arial" panose="020B0604020202020204" pitchFamily="34" charset="0"/>
                </a:rPr>
                <a:t> to </a:t>
              </a:r>
              <a:r>
                <a:rPr lang="en-US" sz="900" b="1" baseline="0" noProof="0">
                  <a:solidFill>
                    <a:schemeClr val="tx1">
                      <a:lumMod val="65000"/>
                      <a:lumOff val="35000"/>
                    </a:schemeClr>
                  </a:solidFill>
                  <a:latin typeface="+mn-lt"/>
                  <a:cs typeface="Arial" panose="020B0604020202020204" pitchFamily="34" charset="0"/>
                </a:rPr>
                <a:t>body text </a:t>
              </a:r>
              <a:r>
                <a:rPr lang="en-US" sz="900" baseline="0" noProof="0">
                  <a:solidFill>
                    <a:schemeClr val="tx1">
                      <a:lumMod val="65000"/>
                      <a:lumOff val="35000"/>
                    </a:schemeClr>
                  </a:solidFill>
                  <a:latin typeface="+mn-lt"/>
                  <a:cs typeface="Arial" panose="020B0604020202020204" pitchFamily="34" charset="0"/>
                </a:rPr>
                <a:t>or to </a:t>
              </a:r>
              <a:r>
                <a:rPr lang="en-US" sz="900" b="1" baseline="0" noProof="0">
                  <a:solidFill>
                    <a:schemeClr val="tx1">
                      <a:lumMod val="65000"/>
                      <a:lumOff val="35000"/>
                    </a:schemeClr>
                  </a:solidFill>
                  <a:latin typeface="+mn-lt"/>
                  <a:cs typeface="Arial" panose="020B0604020202020204" pitchFamily="34" charset="0"/>
                </a:rPr>
                <a:t>use bullets</a:t>
              </a:r>
              <a:r>
                <a:rPr lang="en-US" sz="900" baseline="0" noProof="0">
                  <a:solidFill>
                    <a:schemeClr val="tx1">
                      <a:lumMod val="65000"/>
                      <a:lumOff val="35000"/>
                    </a:schemeClr>
                  </a:solidFill>
                  <a:latin typeface="+mn-lt"/>
                  <a:cs typeface="Arial" panose="020B0604020202020204" pitchFamily="34" charset="0"/>
                </a:rPr>
                <a:t>, press </a:t>
              </a:r>
              <a:r>
                <a:rPr lang="en-US" sz="900" b="1" baseline="0" noProof="0">
                  <a:solidFill>
                    <a:schemeClr val="tx1">
                      <a:lumMod val="65000"/>
                      <a:lumOff val="35000"/>
                    </a:schemeClr>
                  </a:solidFill>
                  <a:latin typeface="+mn-lt"/>
                  <a:cs typeface="Arial" panose="020B0604020202020204" pitchFamily="34" charset="0"/>
                </a:rPr>
                <a:t>enter/return </a:t>
              </a:r>
              <a:r>
                <a:rPr lang="en-US" sz="900" baseline="0" noProof="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p:txBody>
        </p:sp>
        <p:pic>
          <p:nvPicPr>
            <p:cNvPr id="26" name="Picture 9">
              <a:extLst>
                <a:ext uri="{FF2B5EF4-FFF2-40B4-BE49-F238E27FC236}">
                  <a16:creationId xmlns:a16="http://schemas.microsoft.com/office/drawing/2014/main" id="{93794F68-FA77-DA48-9A1A-E02A2FFA0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27" name="Oval 4">
              <a:extLst>
                <a:ext uri="{FF2B5EF4-FFF2-40B4-BE49-F238E27FC236}">
                  <a16:creationId xmlns:a16="http://schemas.microsoft.com/office/drawing/2014/main" id="{5241205B-C4DB-DD49-956F-BF07FDFE2B88}"/>
                </a:ext>
              </a:extLst>
            </p:cNvPr>
            <p:cNvSpPr/>
            <p:nvPr userDrawn="1"/>
          </p:nvSpPr>
          <p:spPr>
            <a:xfrm>
              <a:off x="13194299" y="52819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28" name="Connector: Elbow 131">
              <a:extLst>
                <a:ext uri="{FF2B5EF4-FFF2-40B4-BE49-F238E27FC236}">
                  <a16:creationId xmlns:a16="http://schemas.microsoft.com/office/drawing/2014/main" id="{51B26D0D-F6C6-4746-9A73-F3230C78CC13}"/>
                </a:ext>
              </a:extLst>
            </p:cNvPr>
            <p:cNvCxnSpPr>
              <a:cxnSpLocks/>
              <a:endCxn id="27" idx="0"/>
            </p:cNvCxnSpPr>
            <p:nvPr userDrawn="1"/>
          </p:nvCxnSpPr>
          <p:spPr>
            <a:xfrm rot="5400000">
              <a:off x="13324711" y="50100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Logotype">
            <a:extLst>
              <a:ext uri="{FF2B5EF4-FFF2-40B4-BE49-F238E27FC236}">
                <a16:creationId xmlns:a16="http://schemas.microsoft.com/office/drawing/2014/main" id="{02704BA6-C98E-2AE1-82A8-5D1432AD6D38}"/>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14" name="Picture Placeholder 4">
            <a:extLst>
              <a:ext uri="{FF2B5EF4-FFF2-40B4-BE49-F238E27FC236}">
                <a16:creationId xmlns:a16="http://schemas.microsoft.com/office/drawing/2014/main" id="{26C2AF57-1822-1CF3-7F44-B9F42B68D057}"/>
              </a:ext>
            </a:extLst>
          </p:cNvPr>
          <p:cNvSpPr>
            <a:spLocks noGrp="1"/>
          </p:cNvSpPr>
          <p:nvPr>
            <p:ph type="pic" sz="quarter" idx="48" hasCustomPrompt="1"/>
          </p:nvPr>
        </p:nvSpPr>
        <p:spPr>
          <a:xfrm>
            <a:off x="10021228" y="2133600"/>
            <a:ext cx="1584000" cy="1828800"/>
          </a:xfrm>
        </p:spPr>
        <p:txBody>
          <a:bodyPr/>
          <a:lstStyle>
            <a:lvl1pPr marL="12700" indent="0" algn="ctr">
              <a:buNone/>
              <a:defRPr sz="1300">
                <a:solidFill>
                  <a:schemeClr val="accent1"/>
                </a:solidFill>
              </a:defRPr>
            </a:lvl1pPr>
          </a:lstStyle>
          <a:p>
            <a:r>
              <a:rPr lang="en-US" noProof="0" dirty="0" err="1"/>
              <a:t>Klikk</a:t>
            </a:r>
            <a:r>
              <a:rPr lang="en-US" noProof="0" dirty="0"/>
              <a:t> for å </a:t>
            </a:r>
            <a:r>
              <a:rPr lang="en-US" noProof="0" dirty="0" err="1"/>
              <a:t>legge</a:t>
            </a:r>
            <a:r>
              <a:rPr lang="en-US" noProof="0" dirty="0"/>
              <a:t> </a:t>
            </a:r>
            <a:r>
              <a:rPr lang="en-US" noProof="0" dirty="0" err="1"/>
              <a:t>til</a:t>
            </a:r>
            <a:r>
              <a:rPr lang="en-US" noProof="0" dirty="0"/>
              <a:t> ikon</a:t>
            </a:r>
          </a:p>
        </p:txBody>
      </p:sp>
      <p:sp>
        <p:nvSpPr>
          <p:cNvPr id="23" name="Text Placeholder 7">
            <a:extLst>
              <a:ext uri="{FF2B5EF4-FFF2-40B4-BE49-F238E27FC236}">
                <a16:creationId xmlns:a16="http://schemas.microsoft.com/office/drawing/2014/main" id="{AB53C4DF-429D-4BB0-4EB0-F2AEF337A8DA}"/>
              </a:ext>
            </a:extLst>
          </p:cNvPr>
          <p:cNvSpPr>
            <a:spLocks noGrp="1"/>
          </p:cNvSpPr>
          <p:nvPr>
            <p:ph type="body" sz="quarter" idx="49" hasCustomPrompt="1"/>
          </p:nvPr>
        </p:nvSpPr>
        <p:spPr>
          <a:xfrm>
            <a:off x="10021228" y="4154400"/>
            <a:ext cx="1591782" cy="1974938"/>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dirty="0" err="1"/>
              <a:t>Klikk</a:t>
            </a:r>
            <a:r>
              <a:rPr lang="en-US" noProof="0" dirty="0"/>
              <a:t> for </a:t>
            </a:r>
            <a:r>
              <a:rPr lang="en-US" noProof="0" dirty="0" err="1"/>
              <a:t>overskrift</a:t>
            </a:r>
            <a:endParaRPr lang="en-US" noProof="0" dirty="0"/>
          </a:p>
          <a:p>
            <a:pPr lvl="1"/>
            <a:r>
              <a:rPr lang="en-US" noProof="0" dirty="0" err="1"/>
              <a:t>Tekst</a:t>
            </a:r>
            <a:r>
              <a:rPr lang="en-US" noProof="0" dirty="0"/>
              <a:t> her</a:t>
            </a:r>
          </a:p>
        </p:txBody>
      </p:sp>
      <p:sp>
        <p:nvSpPr>
          <p:cNvPr id="16" name="Text Placeholder 7">
            <a:extLst>
              <a:ext uri="{FF2B5EF4-FFF2-40B4-BE49-F238E27FC236}">
                <a16:creationId xmlns:a16="http://schemas.microsoft.com/office/drawing/2014/main" id="{4B9AA0EF-F2AE-8365-4C4B-8AF5AE899A55}"/>
              </a:ext>
            </a:extLst>
          </p:cNvPr>
          <p:cNvSpPr>
            <a:spLocks noGrp="1"/>
          </p:cNvSpPr>
          <p:nvPr>
            <p:ph type="body" sz="quarter" idx="25" hasCustomPrompt="1"/>
          </p:nvPr>
        </p:nvSpPr>
        <p:spPr>
          <a:xfrm>
            <a:off x="576262" y="291600"/>
            <a:ext cx="5180400" cy="180000"/>
          </a:xfrm>
        </p:spPr>
        <p:txBody>
          <a:bodyPr/>
          <a:lstStyle>
            <a:lvl1pPr marL="6350" indent="0">
              <a:buNone/>
              <a:defRPr sz="1200"/>
            </a:lvl1pPr>
          </a:lstStyle>
          <a:p>
            <a:pPr lvl="0"/>
            <a:r>
              <a:rPr lang="nb-NO" dirty="0"/>
              <a:t>Klikk for å legge til kapittel</a:t>
            </a:r>
            <a:endParaRPr lang="en-US" dirty="0"/>
          </a:p>
        </p:txBody>
      </p:sp>
    </p:spTree>
    <p:extLst>
      <p:ext uri="{BB962C8B-B14F-4D97-AF65-F5344CB8AC3E}">
        <p14:creationId xmlns:p14="http://schemas.microsoft.com/office/powerpoint/2010/main" val="336243832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9 Phone Mockup">
    <p:bg>
      <p:bgPr>
        <a:solidFill>
          <a:schemeClr val="bg2"/>
        </a:solidFill>
        <a:effectLst/>
      </p:bgPr>
    </p:bg>
    <p:spTree>
      <p:nvGrpSpPr>
        <p:cNvPr id="1" name=""/>
        <p:cNvGrpSpPr/>
        <p:nvPr/>
      </p:nvGrpSpPr>
      <p:grpSpPr>
        <a:xfrm>
          <a:off x="0" y="0"/>
          <a:ext cx="0" cy="0"/>
          <a:chOff x="0" y="0"/>
          <a:chExt cx="0" cy="0"/>
        </a:xfrm>
      </p:grpSpPr>
      <p:pic>
        <p:nvPicPr>
          <p:cNvPr id="25" name="iPhone">
            <a:extLst>
              <a:ext uri="{FF2B5EF4-FFF2-40B4-BE49-F238E27FC236}">
                <a16:creationId xmlns:a16="http://schemas.microsoft.com/office/drawing/2014/main" id="{13ED98E9-C731-A94B-BFD5-2ECE623D380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443227" y="571905"/>
            <a:ext cx="2979174" cy="5704803"/>
          </a:xfrm>
          <a:prstGeom prst="rect">
            <a:avLst/>
          </a:prstGeom>
        </p:spPr>
      </p:pic>
      <p:sp>
        <p:nvSpPr>
          <p:cNvPr id="29" name="Picture Placeholder 28">
            <a:extLst>
              <a:ext uri="{FF2B5EF4-FFF2-40B4-BE49-F238E27FC236}">
                <a16:creationId xmlns:a16="http://schemas.microsoft.com/office/drawing/2014/main" id="{A08EABB5-1663-9D44-9EDB-6442B31EC5D9}"/>
              </a:ext>
            </a:extLst>
          </p:cNvPr>
          <p:cNvSpPr>
            <a:spLocks noGrp="1"/>
          </p:cNvSpPr>
          <p:nvPr>
            <p:ph type="pic" sz="quarter" idx="20" hasCustomPrompt="1"/>
          </p:nvPr>
        </p:nvSpPr>
        <p:spPr>
          <a:xfrm>
            <a:off x="7686262" y="874644"/>
            <a:ext cx="2451652" cy="5155096"/>
          </a:xfrm>
          <a:custGeom>
            <a:avLst/>
            <a:gdLst>
              <a:gd name="connsiteX0" fmla="*/ 246293 w 2451652"/>
              <a:gd name="connsiteY0" fmla="*/ 0 h 5155096"/>
              <a:gd name="connsiteX1" fmla="*/ 2205359 w 2451652"/>
              <a:gd name="connsiteY1" fmla="*/ 0 h 5155096"/>
              <a:gd name="connsiteX2" fmla="*/ 2451652 w 2451652"/>
              <a:gd name="connsiteY2" fmla="*/ 246293 h 5155096"/>
              <a:gd name="connsiteX3" fmla="*/ 2451652 w 2451652"/>
              <a:gd name="connsiteY3" fmla="*/ 4908803 h 5155096"/>
              <a:gd name="connsiteX4" fmla="*/ 2205359 w 2451652"/>
              <a:gd name="connsiteY4" fmla="*/ 5155096 h 5155096"/>
              <a:gd name="connsiteX5" fmla="*/ 246293 w 2451652"/>
              <a:gd name="connsiteY5" fmla="*/ 5155096 h 5155096"/>
              <a:gd name="connsiteX6" fmla="*/ 0 w 2451652"/>
              <a:gd name="connsiteY6" fmla="*/ 4908803 h 5155096"/>
              <a:gd name="connsiteX7" fmla="*/ 0 w 2451652"/>
              <a:gd name="connsiteY7" fmla="*/ 246293 h 5155096"/>
              <a:gd name="connsiteX8" fmla="*/ 246293 w 2451652"/>
              <a:gd name="connsiteY8" fmla="*/ 0 h 5155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1652" h="5155096">
                <a:moveTo>
                  <a:pt x="246293" y="0"/>
                </a:moveTo>
                <a:lnTo>
                  <a:pt x="2205359" y="0"/>
                </a:lnTo>
                <a:cubicBezTo>
                  <a:pt x="2341383" y="0"/>
                  <a:pt x="2451652" y="110269"/>
                  <a:pt x="2451652" y="246293"/>
                </a:cubicBezTo>
                <a:lnTo>
                  <a:pt x="2451652" y="4908803"/>
                </a:lnTo>
                <a:cubicBezTo>
                  <a:pt x="2451652" y="5044827"/>
                  <a:pt x="2341383" y="5155096"/>
                  <a:pt x="2205359" y="5155096"/>
                </a:cubicBezTo>
                <a:lnTo>
                  <a:pt x="246293" y="5155096"/>
                </a:lnTo>
                <a:cubicBezTo>
                  <a:pt x="110269" y="5155096"/>
                  <a:pt x="0" y="5044827"/>
                  <a:pt x="0" y="4908803"/>
                </a:cubicBezTo>
                <a:lnTo>
                  <a:pt x="0" y="246293"/>
                </a:lnTo>
                <a:cubicBezTo>
                  <a:pt x="0" y="110269"/>
                  <a:pt x="110269" y="0"/>
                  <a:pt x="246293" y="0"/>
                </a:cubicBezTo>
                <a:close/>
              </a:path>
            </a:pathLst>
          </a:custGeom>
          <a:solidFill>
            <a:schemeClr val="bg1">
              <a:lumMod val="85000"/>
            </a:schemeClr>
          </a:solidFill>
        </p:spPr>
        <p:txBody>
          <a:bodyPr wrap="square" lIns="108000" tIns="108000" rIns="144000">
            <a:noAutofit/>
          </a:bodyPr>
          <a:lstStyle>
            <a:lvl1pPr marL="12700" indent="0" algn="ctr">
              <a:spcBef>
                <a:spcPts val="0"/>
              </a:spcBef>
              <a:buNone/>
              <a:defRPr sz="1300"/>
            </a:lvl1pPr>
          </a:lstStyle>
          <a:p>
            <a:r>
              <a:rPr lang="nb-NO" noProof="0" dirty="0"/>
              <a:t>Klikk på ikonet for å legge til et skjermbilde eller et bilde</a:t>
            </a:r>
            <a:endParaRPr lang="en-US" noProof="0" dirty="0"/>
          </a:p>
        </p:txBody>
      </p:sp>
      <p:sp>
        <p:nvSpPr>
          <p:cNvPr id="3" name="Title 1">
            <a:extLst>
              <a:ext uri="{FF2B5EF4-FFF2-40B4-BE49-F238E27FC236}">
                <a16:creationId xmlns:a16="http://schemas.microsoft.com/office/drawing/2014/main" id="{502FCDBB-BABB-C211-DE73-E246A59A68D3}"/>
              </a:ext>
            </a:extLst>
          </p:cNvPr>
          <p:cNvSpPr>
            <a:spLocks noGrp="1"/>
          </p:cNvSpPr>
          <p:nvPr>
            <p:ph type="title" hasCustomPrompt="1"/>
          </p:nvPr>
        </p:nvSpPr>
        <p:spPr>
          <a:xfrm>
            <a:off x="576000" y="730800"/>
            <a:ext cx="5377125" cy="1365942"/>
          </a:xfrm>
        </p:spPr>
        <p:txBody>
          <a:bodyPr/>
          <a:lstStyle/>
          <a:p>
            <a:r>
              <a:rPr lang="nb-NO" dirty="0"/>
              <a:t>Klikk for å legge til en overskrift på maksimalt tre linjer</a:t>
            </a:r>
            <a:endParaRPr lang="en-US" dirty="0"/>
          </a:p>
        </p:txBody>
      </p:sp>
      <p:sp>
        <p:nvSpPr>
          <p:cNvPr id="28" name="Text Placeholder 2">
            <a:extLst>
              <a:ext uri="{FF2B5EF4-FFF2-40B4-BE49-F238E27FC236}">
                <a16:creationId xmlns:a16="http://schemas.microsoft.com/office/drawing/2014/main" id="{E31C1F6F-95FC-D448-89F4-1960D28114DB}"/>
              </a:ext>
            </a:extLst>
          </p:cNvPr>
          <p:cNvSpPr>
            <a:spLocks noGrp="1"/>
          </p:cNvSpPr>
          <p:nvPr>
            <p:ph type="body" sz="quarter" idx="21" hasCustomPrompt="1"/>
          </p:nvPr>
        </p:nvSpPr>
        <p:spPr>
          <a:xfrm>
            <a:off x="576000" y="2527200"/>
            <a:ext cx="5377125" cy="3600450"/>
          </a:xfrm>
        </p:spPr>
        <p:txBody>
          <a:bodyPr/>
          <a:lstStyle/>
          <a:p>
            <a:pPr lvl="0"/>
            <a:r>
              <a:rPr lang="nb-NO" noProof="0" dirty="0"/>
              <a:t>Klikk for å legge til brødtekst</a:t>
            </a:r>
            <a:endParaRPr lang="en-US" noProof="0" dirty="0"/>
          </a:p>
        </p:txBody>
      </p:sp>
      <p:sp>
        <p:nvSpPr>
          <p:cNvPr id="2" name="Logotype">
            <a:extLst>
              <a:ext uri="{FF2B5EF4-FFF2-40B4-BE49-F238E27FC236}">
                <a16:creationId xmlns:a16="http://schemas.microsoft.com/office/drawing/2014/main" id="{C2258066-8C53-9C06-E84A-6B42FCC512E3}"/>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7" name="Text Placeholder 7">
            <a:extLst>
              <a:ext uri="{FF2B5EF4-FFF2-40B4-BE49-F238E27FC236}">
                <a16:creationId xmlns:a16="http://schemas.microsoft.com/office/drawing/2014/main" id="{E791159C-CE35-7B1F-1C2C-4290335D1896}"/>
              </a:ext>
            </a:extLst>
          </p:cNvPr>
          <p:cNvSpPr>
            <a:spLocks noGrp="1"/>
          </p:cNvSpPr>
          <p:nvPr>
            <p:ph type="body" sz="quarter" idx="25" hasCustomPrompt="1"/>
          </p:nvPr>
        </p:nvSpPr>
        <p:spPr>
          <a:xfrm>
            <a:off x="576261" y="291600"/>
            <a:ext cx="5376863" cy="180000"/>
          </a:xfrm>
        </p:spPr>
        <p:txBody>
          <a:bodyPr/>
          <a:lstStyle>
            <a:lvl1pPr marL="6350" indent="0">
              <a:buNone/>
              <a:defRPr sz="1200"/>
            </a:lvl1pPr>
          </a:lstStyle>
          <a:p>
            <a:pPr lvl="0"/>
            <a:r>
              <a:rPr lang="nb-NO" dirty="0"/>
              <a:t>Klikk for å legge til kapittel</a:t>
            </a:r>
            <a:endParaRPr lang="en-US" dirty="0"/>
          </a:p>
        </p:txBody>
      </p:sp>
    </p:spTree>
    <p:extLst>
      <p:ext uri="{BB962C8B-B14F-4D97-AF65-F5344CB8AC3E}">
        <p14:creationId xmlns:p14="http://schemas.microsoft.com/office/powerpoint/2010/main" val="30594169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Tittel start bilde blå">
    <p:bg>
      <p:bgPr>
        <a:solidFill>
          <a:schemeClr val="tx2"/>
        </a:solidFill>
        <a:effectLst/>
      </p:bgPr>
    </p:bg>
    <p:spTree>
      <p:nvGrpSpPr>
        <p:cNvPr id="1" name=""/>
        <p:cNvGrpSpPr/>
        <p:nvPr/>
      </p:nvGrpSpPr>
      <p:grpSpPr>
        <a:xfrm>
          <a:off x="0" y="0"/>
          <a:ext cx="0" cy="0"/>
          <a:chOff x="0" y="0"/>
          <a:chExt cx="0" cy="0"/>
        </a:xfrm>
      </p:grpSpPr>
      <p:sp>
        <p:nvSpPr>
          <p:cNvPr id="16" name="Picture Placeholder 1">
            <a:extLst>
              <a:ext uri="{FF2B5EF4-FFF2-40B4-BE49-F238E27FC236}">
                <a16:creationId xmlns:a16="http://schemas.microsoft.com/office/drawing/2014/main" id="{65EEAE91-E57E-6747-89AA-18B1431204B2}"/>
              </a:ext>
            </a:extLst>
          </p:cNvPr>
          <p:cNvSpPr>
            <a:spLocks noGrp="1"/>
          </p:cNvSpPr>
          <p:nvPr>
            <p:ph type="pic" sz="quarter" idx="13" hasCustomPrompt="1"/>
          </p:nvPr>
        </p:nvSpPr>
        <p:spPr>
          <a:xfrm>
            <a:off x="3" y="3"/>
            <a:ext cx="12191998" cy="6857998"/>
          </a:xfrm>
          <a:custGeom>
            <a:avLst/>
            <a:gdLst>
              <a:gd name="connsiteX0" fmla="*/ 936965 w 12191998"/>
              <a:gd name="connsiteY0" fmla="*/ 389410 h 6857998"/>
              <a:gd name="connsiteX1" fmla="*/ 957275 w 12191998"/>
              <a:gd name="connsiteY1" fmla="*/ 449691 h 6857998"/>
              <a:gd name="connsiteX2" fmla="*/ 917304 w 12191998"/>
              <a:gd name="connsiteY2" fmla="*/ 449691 h 6857998"/>
              <a:gd name="connsiteX3" fmla="*/ 1553818 w 12191998"/>
              <a:gd name="connsiteY3" fmla="*/ 389410 h 6857998"/>
              <a:gd name="connsiteX4" fmla="*/ 1574127 w 12191998"/>
              <a:gd name="connsiteY4" fmla="*/ 449690 h 6857998"/>
              <a:gd name="connsiteX5" fmla="*/ 1534156 w 12191998"/>
              <a:gd name="connsiteY5" fmla="*/ 449690 h 6857998"/>
              <a:gd name="connsiteX6" fmla="*/ 1029007 w 12191998"/>
              <a:gd name="connsiteY6" fmla="*/ 356677 h 6857998"/>
              <a:gd name="connsiteX7" fmla="*/ 1029007 w 12191998"/>
              <a:gd name="connsiteY7" fmla="*/ 513753 h 6857998"/>
              <a:gd name="connsiteX8" fmla="*/ 1065413 w 12191998"/>
              <a:gd name="connsiteY8" fmla="*/ 513753 h 6857998"/>
              <a:gd name="connsiteX9" fmla="*/ 1065413 w 12191998"/>
              <a:gd name="connsiteY9" fmla="*/ 416850 h 6857998"/>
              <a:gd name="connsiteX10" fmla="*/ 1127963 w 12191998"/>
              <a:gd name="connsiteY10" fmla="*/ 513429 h 6857998"/>
              <a:gd name="connsiteX11" fmla="*/ 1127963 w 12191998"/>
              <a:gd name="connsiteY11" fmla="*/ 513753 h 6857998"/>
              <a:gd name="connsiteX12" fmla="*/ 1165665 w 12191998"/>
              <a:gd name="connsiteY12" fmla="*/ 513753 h 6857998"/>
              <a:gd name="connsiteX13" fmla="*/ 1165557 w 12191998"/>
              <a:gd name="connsiteY13" fmla="*/ 479831 h 6857998"/>
              <a:gd name="connsiteX14" fmla="*/ 1165341 w 12191998"/>
              <a:gd name="connsiteY14" fmla="*/ 356677 h 6857998"/>
              <a:gd name="connsiteX15" fmla="*/ 1129151 w 12191998"/>
              <a:gd name="connsiteY15" fmla="*/ 356677 h 6857998"/>
              <a:gd name="connsiteX16" fmla="*/ 1129151 w 12191998"/>
              <a:gd name="connsiteY16" fmla="*/ 455416 h 6857998"/>
              <a:gd name="connsiteX17" fmla="*/ 1066062 w 12191998"/>
              <a:gd name="connsiteY17" fmla="*/ 356677 h 6857998"/>
              <a:gd name="connsiteX18" fmla="*/ 913306 w 12191998"/>
              <a:gd name="connsiteY18" fmla="*/ 356677 h 6857998"/>
              <a:gd name="connsiteX19" fmla="*/ 858967 w 12191998"/>
              <a:gd name="connsiteY19" fmla="*/ 513753 h 6857998"/>
              <a:gd name="connsiteX20" fmla="*/ 897318 w 12191998"/>
              <a:gd name="connsiteY20" fmla="*/ 513753 h 6857998"/>
              <a:gd name="connsiteX21" fmla="*/ 907257 w 12191998"/>
              <a:gd name="connsiteY21" fmla="*/ 481668 h 6857998"/>
              <a:gd name="connsiteX22" fmla="*/ 967430 w 12191998"/>
              <a:gd name="connsiteY22" fmla="*/ 481668 h 6857998"/>
              <a:gd name="connsiteX23" fmla="*/ 977693 w 12191998"/>
              <a:gd name="connsiteY23" fmla="*/ 513753 h 6857998"/>
              <a:gd name="connsiteX24" fmla="*/ 1015503 w 12191998"/>
              <a:gd name="connsiteY24" fmla="*/ 513753 h 6857998"/>
              <a:gd name="connsiteX25" fmla="*/ 959543 w 12191998"/>
              <a:gd name="connsiteY25" fmla="*/ 356677 h 6857998"/>
              <a:gd name="connsiteX26" fmla="*/ 620219 w 12191998"/>
              <a:gd name="connsiteY26" fmla="*/ 356677 h 6857998"/>
              <a:gd name="connsiteX27" fmla="*/ 571498 w 12191998"/>
              <a:gd name="connsiteY27" fmla="*/ 404426 h 6857998"/>
              <a:gd name="connsiteX28" fmla="*/ 620219 w 12191998"/>
              <a:gd name="connsiteY28" fmla="*/ 450231 h 6857998"/>
              <a:gd name="connsiteX29" fmla="*/ 657382 w 12191998"/>
              <a:gd name="connsiteY29" fmla="*/ 450231 h 6857998"/>
              <a:gd name="connsiteX30" fmla="*/ 671534 w 12191998"/>
              <a:gd name="connsiteY30" fmla="*/ 464815 h 6857998"/>
              <a:gd name="connsiteX31" fmla="*/ 657382 w 12191998"/>
              <a:gd name="connsiteY31" fmla="*/ 479399 h 6857998"/>
              <a:gd name="connsiteX32" fmla="*/ 577764 w 12191998"/>
              <a:gd name="connsiteY32" fmla="*/ 479399 h 6857998"/>
              <a:gd name="connsiteX33" fmla="*/ 577764 w 12191998"/>
              <a:gd name="connsiteY33" fmla="*/ 513753 h 6857998"/>
              <a:gd name="connsiteX34" fmla="*/ 655977 w 12191998"/>
              <a:gd name="connsiteY34" fmla="*/ 513753 h 6857998"/>
              <a:gd name="connsiteX35" fmla="*/ 705347 w 12191998"/>
              <a:gd name="connsiteY35" fmla="*/ 464815 h 6857998"/>
              <a:gd name="connsiteX36" fmla="*/ 662999 w 12191998"/>
              <a:gd name="connsiteY36" fmla="*/ 419010 h 6857998"/>
              <a:gd name="connsiteX37" fmla="*/ 620219 w 12191998"/>
              <a:gd name="connsiteY37" fmla="*/ 419010 h 6857998"/>
              <a:gd name="connsiteX38" fmla="*/ 605419 w 12191998"/>
              <a:gd name="connsiteY38" fmla="*/ 404426 h 6857998"/>
              <a:gd name="connsiteX39" fmla="*/ 620219 w 12191998"/>
              <a:gd name="connsiteY39" fmla="*/ 389842 h 6857998"/>
              <a:gd name="connsiteX40" fmla="*/ 694436 w 12191998"/>
              <a:gd name="connsiteY40" fmla="*/ 389842 h 6857998"/>
              <a:gd name="connsiteX41" fmla="*/ 694436 w 12191998"/>
              <a:gd name="connsiteY41" fmla="*/ 356677 h 6857998"/>
              <a:gd name="connsiteX42" fmla="*/ 1530159 w 12191998"/>
              <a:gd name="connsiteY42" fmla="*/ 356676 h 6857998"/>
              <a:gd name="connsiteX43" fmla="*/ 1475928 w 12191998"/>
              <a:gd name="connsiteY43" fmla="*/ 513752 h 6857998"/>
              <a:gd name="connsiteX44" fmla="*/ 1514278 w 12191998"/>
              <a:gd name="connsiteY44" fmla="*/ 513752 h 6857998"/>
              <a:gd name="connsiteX45" fmla="*/ 1524217 w 12191998"/>
              <a:gd name="connsiteY45" fmla="*/ 481668 h 6857998"/>
              <a:gd name="connsiteX46" fmla="*/ 1584390 w 12191998"/>
              <a:gd name="connsiteY46" fmla="*/ 481668 h 6857998"/>
              <a:gd name="connsiteX47" fmla="*/ 1594653 w 12191998"/>
              <a:gd name="connsiteY47" fmla="*/ 513752 h 6857998"/>
              <a:gd name="connsiteX48" fmla="*/ 1632356 w 12191998"/>
              <a:gd name="connsiteY48" fmla="*/ 513752 h 6857998"/>
              <a:gd name="connsiteX49" fmla="*/ 1576396 w 12191998"/>
              <a:gd name="connsiteY49" fmla="*/ 356676 h 6857998"/>
              <a:gd name="connsiteX50" fmla="*/ 1236424 w 12191998"/>
              <a:gd name="connsiteY50" fmla="*/ 356676 h 6857998"/>
              <a:gd name="connsiteX51" fmla="*/ 1187702 w 12191998"/>
              <a:gd name="connsiteY51" fmla="*/ 404426 h 6857998"/>
              <a:gd name="connsiteX52" fmla="*/ 1236424 w 12191998"/>
              <a:gd name="connsiteY52" fmla="*/ 450231 h 6857998"/>
              <a:gd name="connsiteX53" fmla="*/ 1273587 w 12191998"/>
              <a:gd name="connsiteY53" fmla="*/ 450231 h 6857998"/>
              <a:gd name="connsiteX54" fmla="*/ 1287739 w 12191998"/>
              <a:gd name="connsiteY54" fmla="*/ 464815 h 6857998"/>
              <a:gd name="connsiteX55" fmla="*/ 1273587 w 12191998"/>
              <a:gd name="connsiteY55" fmla="*/ 479399 h 6857998"/>
              <a:gd name="connsiteX56" fmla="*/ 1194076 w 12191998"/>
              <a:gd name="connsiteY56" fmla="*/ 479399 h 6857998"/>
              <a:gd name="connsiteX57" fmla="*/ 1194076 w 12191998"/>
              <a:gd name="connsiteY57" fmla="*/ 513752 h 6857998"/>
              <a:gd name="connsiteX58" fmla="*/ 1272290 w 12191998"/>
              <a:gd name="connsiteY58" fmla="*/ 513752 h 6857998"/>
              <a:gd name="connsiteX59" fmla="*/ 1321660 w 12191998"/>
              <a:gd name="connsiteY59" fmla="*/ 464815 h 6857998"/>
              <a:gd name="connsiteX60" fmla="*/ 1279204 w 12191998"/>
              <a:gd name="connsiteY60" fmla="*/ 419010 h 6857998"/>
              <a:gd name="connsiteX61" fmla="*/ 1236424 w 12191998"/>
              <a:gd name="connsiteY61" fmla="*/ 419010 h 6857998"/>
              <a:gd name="connsiteX62" fmla="*/ 1221624 w 12191998"/>
              <a:gd name="connsiteY62" fmla="*/ 404426 h 6857998"/>
              <a:gd name="connsiteX63" fmla="*/ 1236424 w 12191998"/>
              <a:gd name="connsiteY63" fmla="*/ 389842 h 6857998"/>
              <a:gd name="connsiteX64" fmla="*/ 1310641 w 12191998"/>
              <a:gd name="connsiteY64" fmla="*/ 389842 h 6857998"/>
              <a:gd name="connsiteX65" fmla="*/ 1310641 w 12191998"/>
              <a:gd name="connsiteY65" fmla="*/ 356676 h 6857998"/>
              <a:gd name="connsiteX66" fmla="*/ 726522 w 12191998"/>
              <a:gd name="connsiteY66" fmla="*/ 356568 h 6857998"/>
              <a:gd name="connsiteX67" fmla="*/ 726522 w 12191998"/>
              <a:gd name="connsiteY67" fmla="*/ 513752 h 6857998"/>
              <a:gd name="connsiteX68" fmla="*/ 762712 w 12191998"/>
              <a:gd name="connsiteY68" fmla="*/ 513752 h 6857998"/>
              <a:gd name="connsiteX69" fmla="*/ 762712 w 12191998"/>
              <a:gd name="connsiteY69" fmla="*/ 447422 h 6857998"/>
              <a:gd name="connsiteX70" fmla="*/ 814351 w 12191998"/>
              <a:gd name="connsiteY70" fmla="*/ 513752 h 6857998"/>
              <a:gd name="connsiteX71" fmla="*/ 856699 w 12191998"/>
              <a:gd name="connsiteY71" fmla="*/ 513752 h 6857998"/>
              <a:gd name="connsiteX72" fmla="*/ 797174 w 12191998"/>
              <a:gd name="connsiteY72" fmla="*/ 435214 h 6857998"/>
              <a:gd name="connsiteX73" fmla="*/ 856699 w 12191998"/>
              <a:gd name="connsiteY73" fmla="*/ 356568 h 6857998"/>
              <a:gd name="connsiteX74" fmla="*/ 814351 w 12191998"/>
              <a:gd name="connsiteY74" fmla="*/ 356568 h 6857998"/>
              <a:gd name="connsiteX75" fmla="*/ 762712 w 12191998"/>
              <a:gd name="connsiteY75" fmla="*/ 422899 h 6857998"/>
              <a:gd name="connsiteX76" fmla="*/ 762712 w 12191998"/>
              <a:gd name="connsiteY76" fmla="*/ 356568 h 6857998"/>
              <a:gd name="connsiteX77" fmla="*/ 1343374 w 12191998"/>
              <a:gd name="connsiteY77" fmla="*/ 356568 h 6857998"/>
              <a:gd name="connsiteX78" fmla="*/ 1343374 w 12191998"/>
              <a:gd name="connsiteY78" fmla="*/ 513752 h 6857998"/>
              <a:gd name="connsiteX79" fmla="*/ 1379673 w 12191998"/>
              <a:gd name="connsiteY79" fmla="*/ 513752 h 6857998"/>
              <a:gd name="connsiteX80" fmla="*/ 1379673 w 12191998"/>
              <a:gd name="connsiteY80" fmla="*/ 447422 h 6857998"/>
              <a:gd name="connsiteX81" fmla="*/ 1431311 w 12191998"/>
              <a:gd name="connsiteY81" fmla="*/ 513752 h 6857998"/>
              <a:gd name="connsiteX82" fmla="*/ 1473551 w 12191998"/>
              <a:gd name="connsiteY82" fmla="*/ 513752 h 6857998"/>
              <a:gd name="connsiteX83" fmla="*/ 1414134 w 12191998"/>
              <a:gd name="connsiteY83" fmla="*/ 435214 h 6857998"/>
              <a:gd name="connsiteX84" fmla="*/ 1473551 w 12191998"/>
              <a:gd name="connsiteY84" fmla="*/ 356568 h 6857998"/>
              <a:gd name="connsiteX85" fmla="*/ 1431311 w 12191998"/>
              <a:gd name="connsiteY85" fmla="*/ 356568 h 6857998"/>
              <a:gd name="connsiteX86" fmla="*/ 1379673 w 12191998"/>
              <a:gd name="connsiteY86" fmla="*/ 422899 h 6857998"/>
              <a:gd name="connsiteX87" fmla="*/ 1379673 w 12191998"/>
              <a:gd name="connsiteY87" fmla="*/ 356568 h 6857998"/>
              <a:gd name="connsiteX88" fmla="*/ 0 w 12191998"/>
              <a:gd name="connsiteY88" fmla="*/ 0 h 6857998"/>
              <a:gd name="connsiteX89" fmla="*/ 12191998 w 12191998"/>
              <a:gd name="connsiteY89" fmla="*/ 0 h 6857998"/>
              <a:gd name="connsiteX90" fmla="*/ 12191998 w 12191998"/>
              <a:gd name="connsiteY90" fmla="*/ 6857998 h 6857998"/>
              <a:gd name="connsiteX91" fmla="*/ 0 w 12191998"/>
              <a:gd name="connsiteY91"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8" h="6857998">
                <a:moveTo>
                  <a:pt x="936965" y="389410"/>
                </a:moveTo>
                <a:lnTo>
                  <a:pt x="957275" y="449691"/>
                </a:lnTo>
                <a:lnTo>
                  <a:pt x="917304" y="449691"/>
                </a:lnTo>
                <a:close/>
                <a:moveTo>
                  <a:pt x="1553818" y="389410"/>
                </a:moveTo>
                <a:lnTo>
                  <a:pt x="1574127" y="449690"/>
                </a:lnTo>
                <a:lnTo>
                  <a:pt x="1534156" y="449690"/>
                </a:lnTo>
                <a:close/>
                <a:moveTo>
                  <a:pt x="1029007" y="356677"/>
                </a:moveTo>
                <a:lnTo>
                  <a:pt x="1029007" y="513753"/>
                </a:lnTo>
                <a:lnTo>
                  <a:pt x="1065413" y="513753"/>
                </a:lnTo>
                <a:lnTo>
                  <a:pt x="1065413" y="416850"/>
                </a:lnTo>
                <a:lnTo>
                  <a:pt x="1127963" y="513429"/>
                </a:lnTo>
                <a:lnTo>
                  <a:pt x="1127963" y="513753"/>
                </a:lnTo>
                <a:lnTo>
                  <a:pt x="1165665" y="513753"/>
                </a:lnTo>
                <a:lnTo>
                  <a:pt x="1165557" y="479831"/>
                </a:lnTo>
                <a:lnTo>
                  <a:pt x="1165341" y="356677"/>
                </a:lnTo>
                <a:lnTo>
                  <a:pt x="1129151" y="356677"/>
                </a:lnTo>
                <a:lnTo>
                  <a:pt x="1129151" y="455416"/>
                </a:lnTo>
                <a:lnTo>
                  <a:pt x="1066062" y="356677"/>
                </a:lnTo>
                <a:close/>
                <a:moveTo>
                  <a:pt x="913306" y="356677"/>
                </a:moveTo>
                <a:lnTo>
                  <a:pt x="858967" y="513753"/>
                </a:lnTo>
                <a:lnTo>
                  <a:pt x="897318" y="513753"/>
                </a:lnTo>
                <a:lnTo>
                  <a:pt x="907257" y="481668"/>
                </a:lnTo>
                <a:lnTo>
                  <a:pt x="967430" y="481668"/>
                </a:lnTo>
                <a:lnTo>
                  <a:pt x="977693" y="513753"/>
                </a:lnTo>
                <a:lnTo>
                  <a:pt x="1015503" y="513753"/>
                </a:lnTo>
                <a:lnTo>
                  <a:pt x="959543" y="356677"/>
                </a:lnTo>
                <a:close/>
                <a:moveTo>
                  <a:pt x="620219" y="356677"/>
                </a:moveTo>
                <a:cubicBezTo>
                  <a:pt x="589863" y="356677"/>
                  <a:pt x="571498" y="374393"/>
                  <a:pt x="571498" y="404426"/>
                </a:cubicBezTo>
                <a:cubicBezTo>
                  <a:pt x="571498" y="434458"/>
                  <a:pt x="592780" y="450231"/>
                  <a:pt x="620219" y="450231"/>
                </a:cubicBezTo>
                <a:lnTo>
                  <a:pt x="657382" y="450231"/>
                </a:lnTo>
                <a:cubicBezTo>
                  <a:pt x="666780" y="450231"/>
                  <a:pt x="671534" y="457361"/>
                  <a:pt x="671534" y="464815"/>
                </a:cubicBezTo>
                <a:cubicBezTo>
                  <a:pt x="671534" y="472485"/>
                  <a:pt x="666780" y="479399"/>
                  <a:pt x="657382" y="479399"/>
                </a:cubicBezTo>
                <a:lnTo>
                  <a:pt x="577764" y="479399"/>
                </a:lnTo>
                <a:lnTo>
                  <a:pt x="577764" y="513753"/>
                </a:lnTo>
                <a:lnTo>
                  <a:pt x="655977" y="513753"/>
                </a:lnTo>
                <a:cubicBezTo>
                  <a:pt x="686982" y="513753"/>
                  <a:pt x="705347" y="496684"/>
                  <a:pt x="705347" y="464815"/>
                </a:cubicBezTo>
                <a:cubicBezTo>
                  <a:pt x="705347" y="436079"/>
                  <a:pt x="686982" y="419010"/>
                  <a:pt x="662999" y="419010"/>
                </a:cubicBezTo>
                <a:lnTo>
                  <a:pt x="620219" y="419010"/>
                </a:lnTo>
                <a:cubicBezTo>
                  <a:pt x="610173" y="419010"/>
                  <a:pt x="605419" y="412096"/>
                  <a:pt x="605419" y="404426"/>
                </a:cubicBezTo>
                <a:cubicBezTo>
                  <a:pt x="605419" y="396756"/>
                  <a:pt x="610173" y="389842"/>
                  <a:pt x="620219" y="389842"/>
                </a:cubicBezTo>
                <a:lnTo>
                  <a:pt x="694436" y="389842"/>
                </a:lnTo>
                <a:lnTo>
                  <a:pt x="694436" y="356677"/>
                </a:lnTo>
                <a:close/>
                <a:moveTo>
                  <a:pt x="1530159" y="356676"/>
                </a:moveTo>
                <a:lnTo>
                  <a:pt x="1475928" y="513752"/>
                </a:lnTo>
                <a:lnTo>
                  <a:pt x="1514278" y="513752"/>
                </a:lnTo>
                <a:lnTo>
                  <a:pt x="1524217" y="481668"/>
                </a:lnTo>
                <a:lnTo>
                  <a:pt x="1584390" y="481668"/>
                </a:lnTo>
                <a:lnTo>
                  <a:pt x="1594653" y="513752"/>
                </a:lnTo>
                <a:lnTo>
                  <a:pt x="1632356" y="513752"/>
                </a:lnTo>
                <a:lnTo>
                  <a:pt x="1576396" y="356676"/>
                </a:lnTo>
                <a:close/>
                <a:moveTo>
                  <a:pt x="1236424" y="356676"/>
                </a:moveTo>
                <a:cubicBezTo>
                  <a:pt x="1206176" y="356676"/>
                  <a:pt x="1187702" y="374393"/>
                  <a:pt x="1187702" y="404426"/>
                </a:cubicBezTo>
                <a:cubicBezTo>
                  <a:pt x="1187702" y="434458"/>
                  <a:pt x="1208984" y="450231"/>
                  <a:pt x="1236424" y="450231"/>
                </a:cubicBezTo>
                <a:lnTo>
                  <a:pt x="1273587" y="450231"/>
                </a:lnTo>
                <a:cubicBezTo>
                  <a:pt x="1282985" y="450231"/>
                  <a:pt x="1287739" y="457360"/>
                  <a:pt x="1287739" y="464815"/>
                </a:cubicBezTo>
                <a:cubicBezTo>
                  <a:pt x="1287739" y="472485"/>
                  <a:pt x="1282985" y="479399"/>
                  <a:pt x="1273587" y="479399"/>
                </a:cubicBezTo>
                <a:lnTo>
                  <a:pt x="1194076" y="479399"/>
                </a:lnTo>
                <a:lnTo>
                  <a:pt x="1194076" y="513752"/>
                </a:lnTo>
                <a:lnTo>
                  <a:pt x="1272290" y="513752"/>
                </a:lnTo>
                <a:cubicBezTo>
                  <a:pt x="1303295" y="513752"/>
                  <a:pt x="1321660" y="496684"/>
                  <a:pt x="1321660" y="464815"/>
                </a:cubicBezTo>
                <a:cubicBezTo>
                  <a:pt x="1321660" y="436079"/>
                  <a:pt x="1303187" y="419010"/>
                  <a:pt x="1279204" y="419010"/>
                </a:cubicBezTo>
                <a:lnTo>
                  <a:pt x="1236424" y="419010"/>
                </a:lnTo>
                <a:cubicBezTo>
                  <a:pt x="1226377" y="419010"/>
                  <a:pt x="1221624" y="412096"/>
                  <a:pt x="1221624" y="404426"/>
                </a:cubicBezTo>
                <a:cubicBezTo>
                  <a:pt x="1221624" y="396756"/>
                  <a:pt x="1226377" y="389842"/>
                  <a:pt x="1236424" y="389842"/>
                </a:cubicBezTo>
                <a:lnTo>
                  <a:pt x="1310641" y="389842"/>
                </a:lnTo>
                <a:lnTo>
                  <a:pt x="1310641" y="356676"/>
                </a:lnTo>
                <a:close/>
                <a:moveTo>
                  <a:pt x="726522" y="356568"/>
                </a:moveTo>
                <a:lnTo>
                  <a:pt x="726522" y="513752"/>
                </a:lnTo>
                <a:lnTo>
                  <a:pt x="762712" y="513752"/>
                </a:lnTo>
                <a:lnTo>
                  <a:pt x="762712" y="447422"/>
                </a:lnTo>
                <a:lnTo>
                  <a:pt x="814351" y="513752"/>
                </a:lnTo>
                <a:lnTo>
                  <a:pt x="856699" y="513752"/>
                </a:lnTo>
                <a:lnTo>
                  <a:pt x="797174" y="435214"/>
                </a:lnTo>
                <a:lnTo>
                  <a:pt x="856699" y="356568"/>
                </a:lnTo>
                <a:lnTo>
                  <a:pt x="814351" y="356568"/>
                </a:lnTo>
                <a:lnTo>
                  <a:pt x="762712" y="422899"/>
                </a:lnTo>
                <a:lnTo>
                  <a:pt x="762712" y="356568"/>
                </a:lnTo>
                <a:close/>
                <a:moveTo>
                  <a:pt x="1343374" y="356568"/>
                </a:moveTo>
                <a:lnTo>
                  <a:pt x="1343374" y="513752"/>
                </a:lnTo>
                <a:lnTo>
                  <a:pt x="1379673" y="513752"/>
                </a:lnTo>
                <a:lnTo>
                  <a:pt x="1379673" y="447422"/>
                </a:lnTo>
                <a:lnTo>
                  <a:pt x="1431311" y="513752"/>
                </a:lnTo>
                <a:lnTo>
                  <a:pt x="1473551" y="513752"/>
                </a:lnTo>
                <a:lnTo>
                  <a:pt x="1414134" y="435214"/>
                </a:lnTo>
                <a:lnTo>
                  <a:pt x="1473551" y="356568"/>
                </a:lnTo>
                <a:lnTo>
                  <a:pt x="1431311" y="356568"/>
                </a:lnTo>
                <a:lnTo>
                  <a:pt x="1379673" y="422899"/>
                </a:lnTo>
                <a:lnTo>
                  <a:pt x="1379673" y="356568"/>
                </a:lnTo>
                <a:close/>
                <a:moveTo>
                  <a:pt x="0" y="0"/>
                </a:moveTo>
                <a:lnTo>
                  <a:pt x="12191998" y="0"/>
                </a:lnTo>
                <a:lnTo>
                  <a:pt x="12191998" y="6857998"/>
                </a:lnTo>
                <a:lnTo>
                  <a:pt x="0" y="6857998"/>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nb-NO" noProof="0" dirty="0"/>
              <a:t>Hvis bildeplassholderikonet er under tekstboksen, velger du den grå plassholderboksen og går deretter til «sett inn» i toppmenyen og legger til bilde. IKKE flytt tekstboksen!</a:t>
            </a:r>
            <a:endParaRPr lang="en-US" noProof="0" dirty="0"/>
          </a:p>
        </p:txBody>
      </p:sp>
      <p:sp>
        <p:nvSpPr>
          <p:cNvPr id="2" name="Title 2">
            <a:extLst>
              <a:ext uri="{FF2B5EF4-FFF2-40B4-BE49-F238E27FC236}">
                <a16:creationId xmlns:a16="http://schemas.microsoft.com/office/drawing/2014/main" id="{92B5FD61-E952-CCF3-3382-4A3B604094A1}"/>
              </a:ext>
            </a:extLst>
          </p:cNvPr>
          <p:cNvSpPr>
            <a:spLocks noGrp="1"/>
          </p:cNvSpPr>
          <p:nvPr>
            <p:ph type="title" hasCustomPrompt="1"/>
          </p:nvPr>
        </p:nvSpPr>
        <p:spPr>
          <a:xfrm>
            <a:off x="576000" y="1845591"/>
            <a:ext cx="7073308" cy="1903912"/>
          </a:xfrm>
        </p:spPr>
        <p:txBody>
          <a:bodyPr anchor="b"/>
          <a:lstStyle>
            <a:lvl1pPr>
              <a:lnSpc>
                <a:spcPct val="85000"/>
              </a:lnSpc>
              <a:defRPr sz="4200" spc="40" baseline="0">
                <a:solidFill>
                  <a:schemeClr val="tx2"/>
                </a:solidFill>
              </a:defRPr>
            </a:lvl1pPr>
          </a:lstStyle>
          <a:p>
            <a:r>
              <a:rPr lang="nb-NO" dirty="0"/>
              <a:t>Klikk for å legge til en overskrift på maksimalt to linjer</a:t>
            </a:r>
            <a:endParaRPr lang="en-US" dirty="0"/>
          </a:p>
        </p:txBody>
      </p:sp>
      <p:sp>
        <p:nvSpPr>
          <p:cNvPr id="3" name="Text Placeholder 3">
            <a:extLst>
              <a:ext uri="{FF2B5EF4-FFF2-40B4-BE49-F238E27FC236}">
                <a16:creationId xmlns:a16="http://schemas.microsoft.com/office/drawing/2014/main" id="{87B148F5-DCEB-ED5A-BE5C-2ADCC70967D8}"/>
              </a:ext>
            </a:extLst>
          </p:cNvPr>
          <p:cNvSpPr>
            <a:spLocks noGrp="1"/>
          </p:cNvSpPr>
          <p:nvPr>
            <p:ph type="body" sz="quarter" idx="15" hasCustomPrompt="1"/>
          </p:nvPr>
        </p:nvSpPr>
        <p:spPr>
          <a:xfrm>
            <a:off x="576000" y="3915585"/>
            <a:ext cx="3773171" cy="646331"/>
          </a:xfrm>
          <a:prstGeom prst="rect">
            <a:avLst/>
          </a:prstGeom>
        </p:spPr>
        <p:txBody>
          <a:bodyPr anchor="t">
            <a:noAutofit/>
          </a:bodyPr>
          <a:lstStyle>
            <a:lvl1pPr marL="0" indent="0">
              <a:lnSpc>
                <a:spcPct val="100000"/>
              </a:lnSpc>
              <a:spcBef>
                <a:spcPts val="0"/>
              </a:spcBef>
              <a:buNone/>
              <a:defRPr sz="1400" spc="70" baseline="0">
                <a:solidFill>
                  <a:schemeClr val="tx2"/>
                </a:solidFill>
              </a:defRPr>
            </a:lvl1pPr>
          </a:lstStyle>
          <a:p>
            <a:pPr lvl="0"/>
            <a:r>
              <a:rPr lang="nb-NO" dirty="0"/>
              <a:t>Klikk for å legge til navn, tittel, Forretningsenhet og dato</a:t>
            </a:r>
            <a:endParaRPr lang="en-GB" dirty="0"/>
          </a:p>
        </p:txBody>
      </p:sp>
      <p:sp>
        <p:nvSpPr>
          <p:cNvPr id="19" name="Project Text Placeholder 4">
            <a:extLst>
              <a:ext uri="{FF2B5EF4-FFF2-40B4-BE49-F238E27FC236}">
                <a16:creationId xmlns:a16="http://schemas.microsoft.com/office/drawing/2014/main" id="{28A0355F-8BDD-3A43-8AD2-176096A4C919}"/>
              </a:ext>
            </a:extLst>
          </p:cNvPr>
          <p:cNvSpPr>
            <a:spLocks noGrp="1"/>
          </p:cNvSpPr>
          <p:nvPr>
            <p:ph type="body" sz="quarter" idx="16" hasCustomPrompt="1"/>
          </p:nvPr>
        </p:nvSpPr>
        <p:spPr>
          <a:xfrm rot="5400000">
            <a:off x="9788686" y="1916687"/>
            <a:ext cx="4320000"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grpSp>
        <p:nvGrpSpPr>
          <p:cNvPr id="4" name="Instructions">
            <a:extLst>
              <a:ext uri="{FF2B5EF4-FFF2-40B4-BE49-F238E27FC236}">
                <a16:creationId xmlns:a16="http://schemas.microsoft.com/office/drawing/2014/main" id="{83243AC8-289A-FA11-0FEB-24883482BD98}"/>
              </a:ext>
            </a:extLst>
          </p:cNvPr>
          <p:cNvGrpSpPr/>
          <p:nvPr userDrawn="1"/>
        </p:nvGrpSpPr>
        <p:grpSpPr>
          <a:xfrm>
            <a:off x="12395260" y="-12189"/>
            <a:ext cx="1681523" cy="2112003"/>
            <a:chOff x="12395260" y="-12189"/>
            <a:chExt cx="1681523" cy="2112003"/>
          </a:xfrm>
        </p:grpSpPr>
        <p:sp>
          <p:nvSpPr>
            <p:cNvPr id="8" name="textruta 5">
              <a:extLst>
                <a:ext uri="{FF2B5EF4-FFF2-40B4-BE49-F238E27FC236}">
                  <a16:creationId xmlns:a16="http://schemas.microsoft.com/office/drawing/2014/main" id="{753B49A9-6373-BE4F-ABC3-64C5AB184A78}"/>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04E0EF0D-7851-6B40-A1EB-F8EEC09B316C}"/>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A0AE1B99-39ED-B84C-B91C-49AAA1356FB8}"/>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76FFDE6E-E3A0-B64F-B635-EC4F5335CBB1}"/>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Tree>
    <p:extLst>
      <p:ext uri="{BB962C8B-B14F-4D97-AF65-F5344CB8AC3E}">
        <p14:creationId xmlns:p14="http://schemas.microsoft.com/office/powerpoint/2010/main" val="26339424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9 Tablet Mockup">
    <p:spTree>
      <p:nvGrpSpPr>
        <p:cNvPr id="1" name=""/>
        <p:cNvGrpSpPr/>
        <p:nvPr/>
      </p:nvGrpSpPr>
      <p:grpSpPr>
        <a:xfrm>
          <a:off x="0" y="0"/>
          <a:ext cx="0" cy="0"/>
          <a:chOff x="0" y="0"/>
          <a:chExt cx="0" cy="0"/>
        </a:xfrm>
      </p:grpSpPr>
      <p:pic>
        <p:nvPicPr>
          <p:cNvPr id="30" name="iPad">
            <a:extLst>
              <a:ext uri="{FF2B5EF4-FFF2-40B4-BE49-F238E27FC236}">
                <a16:creationId xmlns:a16="http://schemas.microsoft.com/office/drawing/2014/main" id="{99BEB798-BAD7-994E-B336-1BA64B6632D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689177" y="613726"/>
            <a:ext cx="4325139" cy="5646397"/>
          </a:xfrm>
          <a:prstGeom prst="rect">
            <a:avLst/>
          </a:prstGeom>
        </p:spPr>
      </p:pic>
      <p:sp>
        <p:nvSpPr>
          <p:cNvPr id="32" name="Picture Placeholder 31">
            <a:extLst>
              <a:ext uri="{FF2B5EF4-FFF2-40B4-BE49-F238E27FC236}">
                <a16:creationId xmlns:a16="http://schemas.microsoft.com/office/drawing/2014/main" id="{44B08C3B-79C1-2849-BF8E-3F68C34C99EB}"/>
              </a:ext>
            </a:extLst>
          </p:cNvPr>
          <p:cNvSpPr>
            <a:spLocks noGrp="1"/>
          </p:cNvSpPr>
          <p:nvPr>
            <p:ph type="pic" sz="quarter" idx="20" hasCustomPrompt="1"/>
          </p:nvPr>
        </p:nvSpPr>
        <p:spPr>
          <a:xfrm>
            <a:off x="6936658" y="875071"/>
            <a:ext cx="3854245" cy="5132439"/>
          </a:xfrm>
          <a:custGeom>
            <a:avLst/>
            <a:gdLst>
              <a:gd name="connsiteX0" fmla="*/ 112814 w 3854245"/>
              <a:gd name="connsiteY0" fmla="*/ 0 h 5132439"/>
              <a:gd name="connsiteX1" fmla="*/ 3741431 w 3854245"/>
              <a:gd name="connsiteY1" fmla="*/ 0 h 5132439"/>
              <a:gd name="connsiteX2" fmla="*/ 3854245 w 3854245"/>
              <a:gd name="connsiteY2" fmla="*/ 112814 h 5132439"/>
              <a:gd name="connsiteX3" fmla="*/ 3854245 w 3854245"/>
              <a:gd name="connsiteY3" fmla="*/ 5019625 h 5132439"/>
              <a:gd name="connsiteX4" fmla="*/ 3741431 w 3854245"/>
              <a:gd name="connsiteY4" fmla="*/ 5132439 h 5132439"/>
              <a:gd name="connsiteX5" fmla="*/ 112814 w 3854245"/>
              <a:gd name="connsiteY5" fmla="*/ 5132439 h 5132439"/>
              <a:gd name="connsiteX6" fmla="*/ 0 w 3854245"/>
              <a:gd name="connsiteY6" fmla="*/ 5019625 h 5132439"/>
              <a:gd name="connsiteX7" fmla="*/ 0 w 3854245"/>
              <a:gd name="connsiteY7" fmla="*/ 112814 h 5132439"/>
              <a:gd name="connsiteX8" fmla="*/ 112814 w 3854245"/>
              <a:gd name="connsiteY8" fmla="*/ 0 h 513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54245" h="5132439">
                <a:moveTo>
                  <a:pt x="112814" y="0"/>
                </a:moveTo>
                <a:lnTo>
                  <a:pt x="3741431" y="0"/>
                </a:lnTo>
                <a:cubicBezTo>
                  <a:pt x="3803736" y="0"/>
                  <a:pt x="3854245" y="50509"/>
                  <a:pt x="3854245" y="112814"/>
                </a:cubicBezTo>
                <a:lnTo>
                  <a:pt x="3854245" y="5019625"/>
                </a:lnTo>
                <a:cubicBezTo>
                  <a:pt x="3854245" y="5081930"/>
                  <a:pt x="3803736" y="5132439"/>
                  <a:pt x="3741431" y="5132439"/>
                </a:cubicBezTo>
                <a:lnTo>
                  <a:pt x="112814" y="5132439"/>
                </a:lnTo>
                <a:cubicBezTo>
                  <a:pt x="50509" y="5132439"/>
                  <a:pt x="0" y="5081930"/>
                  <a:pt x="0" y="5019625"/>
                </a:cubicBezTo>
                <a:lnTo>
                  <a:pt x="0" y="112814"/>
                </a:lnTo>
                <a:cubicBezTo>
                  <a:pt x="0" y="50509"/>
                  <a:pt x="50509" y="0"/>
                  <a:pt x="112814" y="0"/>
                </a:cubicBezTo>
                <a:close/>
              </a:path>
            </a:pathLst>
          </a:custGeom>
          <a:solidFill>
            <a:schemeClr val="bg1">
              <a:lumMod val="85000"/>
            </a:schemeClr>
          </a:solidFill>
        </p:spPr>
        <p:txBody>
          <a:bodyPr wrap="square" lIns="108000" tIns="108000" rIns="144000">
            <a:noAutofit/>
          </a:bodyPr>
          <a:lstStyle>
            <a:lvl1pPr marL="12700" indent="0" algn="ctr" fontAlgn="ctr">
              <a:spcBef>
                <a:spcPts val="0"/>
              </a:spcBef>
              <a:buNone/>
              <a:defRPr sz="1300"/>
            </a:lvl1pPr>
          </a:lstStyle>
          <a:p>
            <a:r>
              <a:rPr lang="nb-NO" noProof="0" dirty="0"/>
              <a:t>Klikk på ikonet for å legge til et skjermbilde eller et bilde</a:t>
            </a:r>
            <a:endParaRPr lang="en-US" noProof="0" dirty="0"/>
          </a:p>
        </p:txBody>
      </p:sp>
      <p:sp>
        <p:nvSpPr>
          <p:cNvPr id="3" name="Title 1">
            <a:extLst>
              <a:ext uri="{FF2B5EF4-FFF2-40B4-BE49-F238E27FC236}">
                <a16:creationId xmlns:a16="http://schemas.microsoft.com/office/drawing/2014/main" id="{D99C1091-1FB8-02A9-C568-4359122C6147}"/>
              </a:ext>
            </a:extLst>
          </p:cNvPr>
          <p:cNvSpPr>
            <a:spLocks noGrp="1"/>
          </p:cNvSpPr>
          <p:nvPr>
            <p:ph type="title" hasCustomPrompt="1"/>
          </p:nvPr>
        </p:nvSpPr>
        <p:spPr>
          <a:xfrm>
            <a:off x="576000" y="730800"/>
            <a:ext cx="5377125" cy="1365942"/>
          </a:xfrm>
        </p:spPr>
        <p:txBody>
          <a:bodyPr/>
          <a:lstStyle/>
          <a:p>
            <a:r>
              <a:rPr lang="nb-NO" dirty="0"/>
              <a:t>Klikk for å legge til en overskrift på maksimalt tre linjer</a:t>
            </a:r>
            <a:endParaRPr lang="en-US" dirty="0"/>
          </a:p>
        </p:txBody>
      </p:sp>
      <p:sp>
        <p:nvSpPr>
          <p:cNvPr id="25" name="Text Placeholder 2">
            <a:extLst>
              <a:ext uri="{FF2B5EF4-FFF2-40B4-BE49-F238E27FC236}">
                <a16:creationId xmlns:a16="http://schemas.microsoft.com/office/drawing/2014/main" id="{15044A8B-EC3C-AC48-809D-139C48BB0CB9}"/>
              </a:ext>
            </a:extLst>
          </p:cNvPr>
          <p:cNvSpPr>
            <a:spLocks noGrp="1"/>
          </p:cNvSpPr>
          <p:nvPr>
            <p:ph type="body" sz="quarter" idx="21" hasCustomPrompt="1"/>
          </p:nvPr>
        </p:nvSpPr>
        <p:spPr>
          <a:xfrm>
            <a:off x="576000" y="2527200"/>
            <a:ext cx="5377125" cy="3600450"/>
          </a:xfrm>
        </p:spPr>
        <p:txBody>
          <a:bodyPr/>
          <a:lstStyle/>
          <a:p>
            <a:pPr lvl="0"/>
            <a:r>
              <a:rPr lang="nb-NO" noProof="0" dirty="0"/>
              <a:t>Klikk for å legge til brødtekst</a:t>
            </a:r>
            <a:endParaRPr lang="en-US" noProof="0" dirty="0"/>
          </a:p>
        </p:txBody>
      </p:sp>
      <p:sp>
        <p:nvSpPr>
          <p:cNvPr id="2" name="Logotype">
            <a:extLst>
              <a:ext uri="{FF2B5EF4-FFF2-40B4-BE49-F238E27FC236}">
                <a16:creationId xmlns:a16="http://schemas.microsoft.com/office/drawing/2014/main" id="{9328040C-954A-9181-9950-F81E77765EE5}"/>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7" name="Text Placeholder 7">
            <a:extLst>
              <a:ext uri="{FF2B5EF4-FFF2-40B4-BE49-F238E27FC236}">
                <a16:creationId xmlns:a16="http://schemas.microsoft.com/office/drawing/2014/main" id="{5117A8B5-E508-75A0-ABB8-40C47271EB06}"/>
              </a:ext>
            </a:extLst>
          </p:cNvPr>
          <p:cNvSpPr>
            <a:spLocks noGrp="1"/>
          </p:cNvSpPr>
          <p:nvPr>
            <p:ph type="body" sz="quarter" idx="25" hasCustomPrompt="1"/>
          </p:nvPr>
        </p:nvSpPr>
        <p:spPr>
          <a:xfrm>
            <a:off x="576261" y="291600"/>
            <a:ext cx="5376863" cy="180000"/>
          </a:xfrm>
        </p:spPr>
        <p:txBody>
          <a:bodyPr/>
          <a:lstStyle>
            <a:lvl1pPr marL="6350" indent="0">
              <a:buNone/>
              <a:defRPr sz="1200"/>
            </a:lvl1pPr>
          </a:lstStyle>
          <a:p>
            <a:pPr lvl="0"/>
            <a:r>
              <a:rPr lang="nb-NO" dirty="0"/>
              <a:t>Klikk for å legge til kapittel</a:t>
            </a:r>
            <a:endParaRPr lang="en-US" dirty="0"/>
          </a:p>
        </p:txBody>
      </p:sp>
    </p:spTree>
    <p:extLst>
      <p:ext uri="{BB962C8B-B14F-4D97-AF65-F5344CB8AC3E}">
        <p14:creationId xmlns:p14="http://schemas.microsoft.com/office/powerpoint/2010/main" val="306011418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Tablet Mockup liggende">
    <p:spTree>
      <p:nvGrpSpPr>
        <p:cNvPr id="1" name=""/>
        <p:cNvGrpSpPr/>
        <p:nvPr/>
      </p:nvGrpSpPr>
      <p:grpSpPr>
        <a:xfrm>
          <a:off x="0" y="0"/>
          <a:ext cx="0" cy="0"/>
          <a:chOff x="0" y="0"/>
          <a:chExt cx="0" cy="0"/>
        </a:xfrm>
      </p:grpSpPr>
      <p:pic>
        <p:nvPicPr>
          <p:cNvPr id="30" name="iPad">
            <a:extLst>
              <a:ext uri="{FF2B5EF4-FFF2-40B4-BE49-F238E27FC236}">
                <a16:creationId xmlns:a16="http://schemas.microsoft.com/office/drawing/2014/main" id="{99BEB798-BAD7-994E-B336-1BA64B6632D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5400000">
            <a:off x="5289989" y="-256003"/>
            <a:ext cx="5617539" cy="7333604"/>
          </a:xfrm>
          <a:prstGeom prst="rect">
            <a:avLst/>
          </a:prstGeom>
        </p:spPr>
      </p:pic>
      <p:sp>
        <p:nvSpPr>
          <p:cNvPr id="3" name="Title 1">
            <a:extLst>
              <a:ext uri="{FF2B5EF4-FFF2-40B4-BE49-F238E27FC236}">
                <a16:creationId xmlns:a16="http://schemas.microsoft.com/office/drawing/2014/main" id="{D99C1091-1FB8-02A9-C568-4359122C6147}"/>
              </a:ext>
            </a:extLst>
          </p:cNvPr>
          <p:cNvSpPr>
            <a:spLocks noGrp="1"/>
          </p:cNvSpPr>
          <p:nvPr>
            <p:ph type="title" hasCustomPrompt="1"/>
          </p:nvPr>
        </p:nvSpPr>
        <p:spPr>
          <a:xfrm>
            <a:off x="576001" y="730800"/>
            <a:ext cx="3487366" cy="1365942"/>
          </a:xfrm>
        </p:spPr>
        <p:txBody>
          <a:bodyPr/>
          <a:lstStyle/>
          <a:p>
            <a:r>
              <a:rPr lang="en-US" dirty="0" err="1"/>
              <a:t>Klikk</a:t>
            </a:r>
            <a:r>
              <a:rPr lang="en-US" dirty="0"/>
              <a:t> for </a:t>
            </a:r>
            <a:r>
              <a:rPr lang="en-US" dirty="0" err="1"/>
              <a:t>en</a:t>
            </a:r>
            <a:r>
              <a:rPr lang="en-US" dirty="0"/>
              <a:t> </a:t>
            </a:r>
            <a:r>
              <a:rPr lang="en-US" dirty="0" err="1"/>
              <a:t>kort</a:t>
            </a:r>
            <a:r>
              <a:rPr lang="en-US" dirty="0"/>
              <a:t> </a:t>
            </a:r>
            <a:r>
              <a:rPr lang="en-US" dirty="0" err="1"/>
              <a:t>overskrift</a:t>
            </a:r>
            <a:r>
              <a:rPr lang="en-US" dirty="0"/>
              <a:t> </a:t>
            </a:r>
            <a:r>
              <a:rPr lang="en-US" dirty="0" err="1"/>
              <a:t>på</a:t>
            </a:r>
            <a:r>
              <a:rPr lang="en-US" dirty="0"/>
              <a:t> to </a:t>
            </a:r>
            <a:r>
              <a:rPr lang="en-US" dirty="0" err="1"/>
              <a:t>eller</a:t>
            </a:r>
            <a:r>
              <a:rPr lang="en-US" dirty="0"/>
              <a:t> </a:t>
            </a:r>
            <a:r>
              <a:rPr lang="en-US" dirty="0" err="1"/>
              <a:t>tre</a:t>
            </a:r>
            <a:r>
              <a:rPr lang="en-US" dirty="0"/>
              <a:t> </a:t>
            </a:r>
            <a:r>
              <a:rPr lang="en-US" dirty="0" err="1"/>
              <a:t>linjer</a:t>
            </a:r>
            <a:endParaRPr lang="en-US" dirty="0"/>
          </a:p>
        </p:txBody>
      </p:sp>
      <p:sp>
        <p:nvSpPr>
          <p:cNvPr id="25" name="Text Placeholder 2">
            <a:extLst>
              <a:ext uri="{FF2B5EF4-FFF2-40B4-BE49-F238E27FC236}">
                <a16:creationId xmlns:a16="http://schemas.microsoft.com/office/drawing/2014/main" id="{15044A8B-EC3C-AC48-809D-139C48BB0CB9}"/>
              </a:ext>
            </a:extLst>
          </p:cNvPr>
          <p:cNvSpPr>
            <a:spLocks noGrp="1"/>
          </p:cNvSpPr>
          <p:nvPr>
            <p:ph type="body" sz="quarter" idx="21" hasCustomPrompt="1"/>
          </p:nvPr>
        </p:nvSpPr>
        <p:spPr>
          <a:xfrm>
            <a:off x="576001" y="2527200"/>
            <a:ext cx="3487366" cy="3600450"/>
          </a:xfrm>
        </p:spPr>
        <p:txBody>
          <a:bodyPr/>
          <a:lstStyle/>
          <a:p>
            <a:pPr lvl="0"/>
            <a:r>
              <a:rPr lang="nb-NO" noProof="0" dirty="0"/>
              <a:t>Klikk for å legge til brødtekst</a:t>
            </a:r>
            <a:endParaRPr lang="en-US" noProof="0" dirty="0"/>
          </a:p>
        </p:txBody>
      </p:sp>
      <p:sp>
        <p:nvSpPr>
          <p:cNvPr id="2" name="Logotype">
            <a:extLst>
              <a:ext uri="{FF2B5EF4-FFF2-40B4-BE49-F238E27FC236}">
                <a16:creationId xmlns:a16="http://schemas.microsoft.com/office/drawing/2014/main" id="{9328040C-954A-9181-9950-F81E77765EE5}"/>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8" name="Picture Placeholder 7">
            <a:extLst>
              <a:ext uri="{FF2B5EF4-FFF2-40B4-BE49-F238E27FC236}">
                <a16:creationId xmlns:a16="http://schemas.microsoft.com/office/drawing/2014/main" id="{2314861E-37B7-A9BA-193E-FC750724D740}"/>
              </a:ext>
            </a:extLst>
          </p:cNvPr>
          <p:cNvSpPr>
            <a:spLocks noGrp="1"/>
          </p:cNvSpPr>
          <p:nvPr>
            <p:ph type="pic" sz="quarter" idx="25" hasCustomPrompt="1"/>
          </p:nvPr>
        </p:nvSpPr>
        <p:spPr>
          <a:xfrm>
            <a:off x="4753232" y="906905"/>
            <a:ext cx="6676768" cy="5036695"/>
          </a:xfrm>
          <a:prstGeom prst="roundRect">
            <a:avLst>
              <a:gd name="adj" fmla="val 2749"/>
            </a:avLst>
          </a:prstGeom>
          <a:solidFill>
            <a:schemeClr val="bg1">
              <a:lumMod val="85000"/>
            </a:schemeClr>
          </a:solidFill>
        </p:spPr>
        <p:txBody>
          <a:bodyPr/>
          <a:lstStyle>
            <a:lvl1pPr marL="6350" indent="0" algn="ctr">
              <a:buNone/>
              <a:defRPr sz="1300"/>
            </a:lvl1pPr>
          </a:lstStyle>
          <a:p>
            <a:r>
              <a:rPr lang="nb-NO" noProof="0" dirty="0"/>
              <a:t>Klikk på ikonet for å legge til et skjermbilde eller et bilde</a:t>
            </a:r>
            <a:endParaRPr lang="en-US" noProof="0" dirty="0"/>
          </a:p>
        </p:txBody>
      </p:sp>
      <p:sp>
        <p:nvSpPr>
          <p:cNvPr id="7" name="Text Placeholder 7">
            <a:extLst>
              <a:ext uri="{FF2B5EF4-FFF2-40B4-BE49-F238E27FC236}">
                <a16:creationId xmlns:a16="http://schemas.microsoft.com/office/drawing/2014/main" id="{1A1858BA-1092-9D29-3319-16432A90DE62}"/>
              </a:ext>
            </a:extLst>
          </p:cNvPr>
          <p:cNvSpPr>
            <a:spLocks noGrp="1"/>
          </p:cNvSpPr>
          <p:nvPr>
            <p:ph type="body" sz="quarter" idx="26" hasCustomPrompt="1"/>
          </p:nvPr>
        </p:nvSpPr>
        <p:spPr>
          <a:xfrm>
            <a:off x="576262" y="291600"/>
            <a:ext cx="3487104" cy="180000"/>
          </a:xfrm>
        </p:spPr>
        <p:txBody>
          <a:bodyPr/>
          <a:lstStyle>
            <a:lvl1pPr marL="6350" indent="0">
              <a:buNone/>
              <a:defRPr sz="1200"/>
            </a:lvl1pPr>
          </a:lstStyle>
          <a:p>
            <a:pPr lvl="0"/>
            <a:r>
              <a:rPr lang="nb-NO" dirty="0"/>
              <a:t>Klikk for å legge til kapittel</a:t>
            </a:r>
            <a:endParaRPr lang="en-US" dirty="0"/>
          </a:p>
        </p:txBody>
      </p:sp>
    </p:spTree>
    <p:extLst>
      <p:ext uri="{BB962C8B-B14F-4D97-AF65-F5344CB8AC3E}">
        <p14:creationId xmlns:p14="http://schemas.microsoft.com/office/powerpoint/2010/main" val="206401318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0 Slutt/Takk for meg med bilde">
    <p:bg>
      <p:bgPr>
        <a:solidFill>
          <a:schemeClr val="tx2"/>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544DF57-7764-0643-BBD9-8E9A5BB6A5C0}"/>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accent1"/>
                </a:solidFill>
              </a:defRPr>
            </a:lvl1pPr>
          </a:lstStyle>
          <a:p>
            <a:r>
              <a:rPr lang="nb-NO" noProof="0" dirty="0"/>
              <a:t>Klikk på ikonet for å legge til et bilde</a:t>
            </a:r>
            <a:endParaRPr lang="en-US" noProof="0" dirty="0"/>
          </a:p>
        </p:txBody>
      </p:sp>
      <p:sp>
        <p:nvSpPr>
          <p:cNvPr id="25" name="Text Placeholder 7">
            <a:extLst>
              <a:ext uri="{FF2B5EF4-FFF2-40B4-BE49-F238E27FC236}">
                <a16:creationId xmlns:a16="http://schemas.microsoft.com/office/drawing/2014/main" id="{67488718-642D-1C4A-B768-5243ECAAFF54}"/>
              </a:ext>
            </a:extLst>
          </p:cNvPr>
          <p:cNvSpPr>
            <a:spLocks noGrp="1"/>
          </p:cNvSpPr>
          <p:nvPr>
            <p:ph type="body" sz="quarter" idx="38" hasCustomPrompt="1"/>
          </p:nvPr>
        </p:nvSpPr>
        <p:spPr>
          <a:xfrm>
            <a:off x="583093" y="730800"/>
            <a:ext cx="5370031" cy="2600325"/>
          </a:xfrm>
        </p:spPr>
        <p:txBody>
          <a:bodyPr/>
          <a:lstStyle>
            <a:lvl1pPr marL="0" indent="0" algn="l">
              <a:lnSpc>
                <a:spcPct val="100000"/>
              </a:lnSpc>
              <a:spcBef>
                <a:spcPts val="0"/>
              </a:spcBef>
              <a:spcAft>
                <a:spcPts val="850"/>
              </a:spcAft>
              <a:buNone/>
              <a:defRPr sz="3600" b="0" spc="40" baseline="0">
                <a:solidFill>
                  <a:schemeClr val="accent1"/>
                </a:solidFill>
              </a:defRPr>
            </a:lvl1pPr>
            <a:lvl2pPr marL="0" indent="0" algn="l">
              <a:lnSpc>
                <a:spcPct val="100000"/>
              </a:lnSpc>
              <a:spcBef>
                <a:spcPts val="0"/>
              </a:spcBef>
              <a:spcAft>
                <a:spcPts val="600"/>
              </a:spcAft>
              <a:buNone/>
              <a:defRPr sz="14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a:p>
            <a:pPr lvl="1"/>
            <a:r>
              <a:rPr lang="en-US" noProof="0" dirty="0"/>
              <a:t>Mer </a:t>
            </a:r>
            <a:r>
              <a:rPr lang="en-US" noProof="0" dirty="0" err="1"/>
              <a:t>tekst</a:t>
            </a:r>
            <a:r>
              <a:rPr lang="en-US" noProof="0" dirty="0"/>
              <a:t> her</a:t>
            </a:r>
          </a:p>
        </p:txBody>
      </p:sp>
      <p:sp>
        <p:nvSpPr>
          <p:cNvPr id="21" name="Text Placeholder 4">
            <a:extLst>
              <a:ext uri="{FF2B5EF4-FFF2-40B4-BE49-F238E27FC236}">
                <a16:creationId xmlns:a16="http://schemas.microsoft.com/office/drawing/2014/main" id="{5CE675EA-9466-B54F-B83A-BE1E916021C6}"/>
              </a:ext>
            </a:extLst>
          </p:cNvPr>
          <p:cNvSpPr>
            <a:spLocks noGrp="1"/>
          </p:cNvSpPr>
          <p:nvPr>
            <p:ph type="body" sz="quarter" idx="14" hasCustomPrompt="1"/>
          </p:nvPr>
        </p:nvSpPr>
        <p:spPr>
          <a:xfrm rot="5400000">
            <a:off x="9788686" y="1916687"/>
            <a:ext cx="4320000"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grpSp>
        <p:nvGrpSpPr>
          <p:cNvPr id="2" name="Instructions">
            <a:extLst>
              <a:ext uri="{FF2B5EF4-FFF2-40B4-BE49-F238E27FC236}">
                <a16:creationId xmlns:a16="http://schemas.microsoft.com/office/drawing/2014/main" id="{0A2E9069-27AE-C26C-14F7-891F4EA15D20}"/>
              </a:ext>
            </a:extLst>
          </p:cNvPr>
          <p:cNvGrpSpPr/>
          <p:nvPr userDrawn="1"/>
        </p:nvGrpSpPr>
        <p:grpSpPr>
          <a:xfrm>
            <a:off x="12395260" y="-12189"/>
            <a:ext cx="1681523" cy="5920915"/>
            <a:chOff x="12395260" y="-12189"/>
            <a:chExt cx="1681523" cy="5920915"/>
          </a:xfrm>
        </p:grpSpPr>
        <p:sp>
          <p:nvSpPr>
            <p:cNvPr id="8" name="textruta 5">
              <a:extLst>
                <a:ext uri="{FF2B5EF4-FFF2-40B4-BE49-F238E27FC236}">
                  <a16:creationId xmlns:a16="http://schemas.microsoft.com/office/drawing/2014/main" id="{9CA758BD-5C55-6540-BFC0-18BA5E290BA3}"/>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D6D03EBC-FF28-B246-9262-70768DB96EB3}"/>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4C4F2B59-2BF8-804B-B8CA-05F71E9FA5C2}"/>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483A10B1-05B8-D24F-9FD4-3E109436BAAF}"/>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ruta 11">
              <a:extLst>
                <a:ext uri="{FF2B5EF4-FFF2-40B4-BE49-F238E27FC236}">
                  <a16:creationId xmlns:a16="http://schemas.microsoft.com/office/drawing/2014/main" id="{567CC080-E0B4-6645-B343-8E58FF0C1643}"/>
                </a:ext>
              </a:extLst>
            </p:cNvPr>
            <p:cNvSpPr txBox="1"/>
            <p:nvPr userDrawn="1"/>
          </p:nvSpPr>
          <p:spPr>
            <a:xfrm>
              <a:off x="12395260" y="4154400"/>
              <a:ext cx="1681523" cy="1754326"/>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mn-lt"/>
                  <a:cs typeface="Arial" panose="020B0604020202020204" pitchFamily="34" charset="0"/>
                </a:rPr>
                <a:t>To change from </a:t>
              </a:r>
              <a:r>
                <a:rPr lang="en-US" sz="900" b="1" baseline="0" noProof="0">
                  <a:solidFill>
                    <a:schemeClr val="tx1">
                      <a:lumMod val="65000"/>
                      <a:lumOff val="35000"/>
                    </a:schemeClr>
                  </a:solidFill>
                  <a:latin typeface="+mn-lt"/>
                  <a:cs typeface="Arial" panose="020B0604020202020204" pitchFamily="34" charset="0"/>
                </a:rPr>
                <a:t>headline</a:t>
              </a:r>
              <a:r>
                <a:rPr lang="en-US" sz="900" baseline="0" noProof="0">
                  <a:solidFill>
                    <a:schemeClr val="tx1">
                      <a:lumMod val="65000"/>
                      <a:lumOff val="35000"/>
                    </a:schemeClr>
                  </a:solidFill>
                  <a:latin typeface="+mn-lt"/>
                  <a:cs typeface="Arial" panose="020B0604020202020204" pitchFamily="34" charset="0"/>
                </a:rPr>
                <a:t> to </a:t>
              </a:r>
              <a:r>
                <a:rPr lang="en-US" sz="900" b="1" baseline="0" noProof="0">
                  <a:solidFill>
                    <a:schemeClr val="tx1">
                      <a:lumMod val="65000"/>
                      <a:lumOff val="35000"/>
                    </a:schemeClr>
                  </a:solidFill>
                  <a:latin typeface="+mn-lt"/>
                  <a:cs typeface="Arial" panose="020B0604020202020204" pitchFamily="34" charset="0"/>
                </a:rPr>
                <a:t>body text </a:t>
              </a:r>
              <a:r>
                <a:rPr lang="en-US" sz="900" baseline="0" noProof="0">
                  <a:solidFill>
                    <a:schemeClr val="tx1">
                      <a:lumMod val="65000"/>
                      <a:lumOff val="35000"/>
                    </a:schemeClr>
                  </a:solidFill>
                  <a:latin typeface="+mn-lt"/>
                  <a:cs typeface="Arial" panose="020B0604020202020204" pitchFamily="34" charset="0"/>
                </a:rPr>
                <a:t>or to </a:t>
              </a:r>
              <a:r>
                <a:rPr lang="en-US" sz="900" b="1" baseline="0" noProof="0">
                  <a:solidFill>
                    <a:schemeClr val="tx1">
                      <a:lumMod val="65000"/>
                      <a:lumOff val="35000"/>
                    </a:schemeClr>
                  </a:solidFill>
                  <a:latin typeface="+mn-lt"/>
                  <a:cs typeface="Arial" panose="020B0604020202020204" pitchFamily="34" charset="0"/>
                </a:rPr>
                <a:t>use bullets</a:t>
              </a:r>
              <a:r>
                <a:rPr lang="en-US" sz="900" baseline="0" noProof="0">
                  <a:solidFill>
                    <a:schemeClr val="tx1">
                      <a:lumMod val="65000"/>
                      <a:lumOff val="35000"/>
                    </a:schemeClr>
                  </a:solidFill>
                  <a:latin typeface="+mn-lt"/>
                  <a:cs typeface="Arial" panose="020B0604020202020204" pitchFamily="34" charset="0"/>
                </a:rPr>
                <a:t>, press </a:t>
              </a:r>
              <a:r>
                <a:rPr lang="en-US" sz="900" b="1" baseline="0" noProof="0">
                  <a:solidFill>
                    <a:schemeClr val="tx1">
                      <a:lumMod val="65000"/>
                      <a:lumOff val="35000"/>
                    </a:schemeClr>
                  </a:solidFill>
                  <a:latin typeface="+mn-lt"/>
                  <a:cs typeface="Arial" panose="020B0604020202020204" pitchFamily="34" charset="0"/>
                </a:rPr>
                <a:t>enter/return </a:t>
              </a:r>
              <a:r>
                <a:rPr lang="en-US" sz="900" baseline="0" noProof="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p:txBody>
        </p:sp>
        <p:pic>
          <p:nvPicPr>
            <p:cNvPr id="13" name="Picture 9">
              <a:extLst>
                <a:ext uri="{FF2B5EF4-FFF2-40B4-BE49-F238E27FC236}">
                  <a16:creationId xmlns:a16="http://schemas.microsoft.com/office/drawing/2014/main" id="{359C9406-E00B-424F-B110-6C1F4D8428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14" name="Oval 4">
              <a:extLst>
                <a:ext uri="{FF2B5EF4-FFF2-40B4-BE49-F238E27FC236}">
                  <a16:creationId xmlns:a16="http://schemas.microsoft.com/office/drawing/2014/main" id="{5C256491-67DF-A248-A90E-627FCDF80B83}"/>
                </a:ext>
              </a:extLst>
            </p:cNvPr>
            <p:cNvSpPr/>
            <p:nvPr userDrawn="1"/>
          </p:nvSpPr>
          <p:spPr>
            <a:xfrm>
              <a:off x="13194299" y="52819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16" name="Connector: Elbow 131">
              <a:extLst>
                <a:ext uri="{FF2B5EF4-FFF2-40B4-BE49-F238E27FC236}">
                  <a16:creationId xmlns:a16="http://schemas.microsoft.com/office/drawing/2014/main" id="{5D4FBB2B-EA79-FE42-A088-3353E1F76FB1}"/>
                </a:ext>
              </a:extLst>
            </p:cNvPr>
            <p:cNvCxnSpPr>
              <a:cxnSpLocks/>
              <a:endCxn id="14" idx="0"/>
            </p:cNvCxnSpPr>
            <p:nvPr userDrawn="1"/>
          </p:nvCxnSpPr>
          <p:spPr>
            <a:xfrm rot="5400000">
              <a:off x="13324711" y="50100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7844897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0 Slutt/Takk for meg med bilde 2">
    <p:bg>
      <p:bgPr>
        <a:solidFill>
          <a:schemeClr val="bg1"/>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544DF57-7764-0643-BBD9-8E9A5BB6A5C0}"/>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nb-NO" noProof="0" dirty="0"/>
              <a:t>Klikk på ikonet for å legge til et bilde</a:t>
            </a:r>
            <a:endParaRPr lang="en-US" noProof="0" dirty="0"/>
          </a:p>
        </p:txBody>
      </p:sp>
      <p:sp>
        <p:nvSpPr>
          <p:cNvPr id="29" name="Text Placeholder 7">
            <a:extLst>
              <a:ext uri="{FF2B5EF4-FFF2-40B4-BE49-F238E27FC236}">
                <a16:creationId xmlns:a16="http://schemas.microsoft.com/office/drawing/2014/main" id="{0372CC69-D63F-AF4E-915B-F7E58ADA3E2E}"/>
              </a:ext>
            </a:extLst>
          </p:cNvPr>
          <p:cNvSpPr>
            <a:spLocks noGrp="1"/>
          </p:cNvSpPr>
          <p:nvPr>
            <p:ph type="body" sz="quarter" idx="39" hasCustomPrompt="1"/>
          </p:nvPr>
        </p:nvSpPr>
        <p:spPr>
          <a:xfrm>
            <a:off x="583093" y="4183201"/>
            <a:ext cx="5370031" cy="1946137"/>
          </a:xfrm>
        </p:spPr>
        <p:txBody>
          <a:bodyPr/>
          <a:lstStyle>
            <a:lvl1pPr marL="0" indent="0" algn="l">
              <a:lnSpc>
                <a:spcPct val="100000"/>
              </a:lnSpc>
              <a:spcBef>
                <a:spcPts val="0"/>
              </a:spcBef>
              <a:spcAft>
                <a:spcPts val="850"/>
              </a:spcAft>
              <a:buNone/>
              <a:defRPr sz="3600" b="0" spc="40" baseline="0">
                <a:solidFill>
                  <a:schemeClr val="bg1"/>
                </a:solidFill>
              </a:defRPr>
            </a:lvl1pPr>
            <a:lvl2pPr marL="0" indent="0" algn="l">
              <a:lnSpc>
                <a:spcPct val="100000"/>
              </a:lnSpc>
              <a:spcBef>
                <a:spcPts val="0"/>
              </a:spcBef>
              <a:spcAft>
                <a:spcPts val="600"/>
              </a:spcAft>
              <a:buNone/>
              <a:defRPr sz="1400" spc="40" baseline="0">
                <a:solidFill>
                  <a:schemeClr val="bg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a:p>
            <a:pPr lvl="1"/>
            <a:r>
              <a:rPr lang="en-US" noProof="0" dirty="0"/>
              <a:t>Mer </a:t>
            </a:r>
            <a:r>
              <a:rPr lang="en-US" noProof="0" dirty="0" err="1"/>
              <a:t>tekst</a:t>
            </a:r>
            <a:r>
              <a:rPr lang="en-US" noProof="0" dirty="0"/>
              <a:t> her</a:t>
            </a:r>
          </a:p>
        </p:txBody>
      </p:sp>
      <p:sp>
        <p:nvSpPr>
          <p:cNvPr id="21" name="Text Placeholder 4">
            <a:extLst>
              <a:ext uri="{FF2B5EF4-FFF2-40B4-BE49-F238E27FC236}">
                <a16:creationId xmlns:a16="http://schemas.microsoft.com/office/drawing/2014/main" id="{D6DA0946-B5AD-DD46-98ED-3ADBD06FF55C}"/>
              </a:ext>
            </a:extLst>
          </p:cNvPr>
          <p:cNvSpPr>
            <a:spLocks noGrp="1"/>
          </p:cNvSpPr>
          <p:nvPr>
            <p:ph type="body" sz="quarter" idx="14" hasCustomPrompt="1"/>
          </p:nvPr>
        </p:nvSpPr>
        <p:spPr>
          <a:xfrm rot="5400000">
            <a:off x="9788686" y="1916687"/>
            <a:ext cx="4320000"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grpSp>
        <p:nvGrpSpPr>
          <p:cNvPr id="5" name="Instructions">
            <a:extLst>
              <a:ext uri="{FF2B5EF4-FFF2-40B4-BE49-F238E27FC236}">
                <a16:creationId xmlns:a16="http://schemas.microsoft.com/office/drawing/2014/main" id="{DDFAD65E-C6EB-7A08-7FE2-F6B42C98F7F8}"/>
              </a:ext>
            </a:extLst>
          </p:cNvPr>
          <p:cNvGrpSpPr/>
          <p:nvPr userDrawn="1"/>
        </p:nvGrpSpPr>
        <p:grpSpPr>
          <a:xfrm>
            <a:off x="12395260" y="-12189"/>
            <a:ext cx="1681523" cy="5920915"/>
            <a:chOff x="12395260" y="-12189"/>
            <a:chExt cx="1681523" cy="5920915"/>
          </a:xfrm>
        </p:grpSpPr>
        <p:sp>
          <p:nvSpPr>
            <p:cNvPr id="8" name="textruta 5">
              <a:extLst>
                <a:ext uri="{FF2B5EF4-FFF2-40B4-BE49-F238E27FC236}">
                  <a16:creationId xmlns:a16="http://schemas.microsoft.com/office/drawing/2014/main" id="{07728FC5-8FAF-D948-82AA-B9F786AAEBB7}"/>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D18F62CC-60C1-DB42-9742-4AF366303413}"/>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73C348B4-C0EC-824B-814E-D42C562CBFA8}"/>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1C4A7DAB-0DBB-E649-8262-BE0207487BE8}"/>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ruta 11">
              <a:extLst>
                <a:ext uri="{FF2B5EF4-FFF2-40B4-BE49-F238E27FC236}">
                  <a16:creationId xmlns:a16="http://schemas.microsoft.com/office/drawing/2014/main" id="{21862494-F897-CA4F-BE27-9C206870AF17}"/>
                </a:ext>
              </a:extLst>
            </p:cNvPr>
            <p:cNvSpPr txBox="1"/>
            <p:nvPr userDrawn="1"/>
          </p:nvSpPr>
          <p:spPr>
            <a:xfrm>
              <a:off x="12395260" y="4154400"/>
              <a:ext cx="1681523" cy="1754326"/>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mn-lt"/>
                  <a:cs typeface="Arial" panose="020B0604020202020204" pitchFamily="34" charset="0"/>
                </a:rPr>
                <a:t>To change from </a:t>
              </a:r>
              <a:r>
                <a:rPr lang="en-US" sz="900" b="1" baseline="0" noProof="0">
                  <a:solidFill>
                    <a:schemeClr val="tx1">
                      <a:lumMod val="65000"/>
                      <a:lumOff val="35000"/>
                    </a:schemeClr>
                  </a:solidFill>
                  <a:latin typeface="+mn-lt"/>
                  <a:cs typeface="Arial" panose="020B0604020202020204" pitchFamily="34" charset="0"/>
                </a:rPr>
                <a:t>headline</a:t>
              </a:r>
              <a:r>
                <a:rPr lang="en-US" sz="900" baseline="0" noProof="0">
                  <a:solidFill>
                    <a:schemeClr val="tx1">
                      <a:lumMod val="65000"/>
                      <a:lumOff val="35000"/>
                    </a:schemeClr>
                  </a:solidFill>
                  <a:latin typeface="+mn-lt"/>
                  <a:cs typeface="Arial" panose="020B0604020202020204" pitchFamily="34" charset="0"/>
                </a:rPr>
                <a:t> to </a:t>
              </a:r>
              <a:r>
                <a:rPr lang="en-US" sz="900" b="1" baseline="0" noProof="0">
                  <a:solidFill>
                    <a:schemeClr val="tx1">
                      <a:lumMod val="65000"/>
                      <a:lumOff val="35000"/>
                    </a:schemeClr>
                  </a:solidFill>
                  <a:latin typeface="+mn-lt"/>
                  <a:cs typeface="Arial" panose="020B0604020202020204" pitchFamily="34" charset="0"/>
                </a:rPr>
                <a:t>body text </a:t>
              </a:r>
              <a:r>
                <a:rPr lang="en-US" sz="900" baseline="0" noProof="0">
                  <a:solidFill>
                    <a:schemeClr val="tx1">
                      <a:lumMod val="65000"/>
                      <a:lumOff val="35000"/>
                    </a:schemeClr>
                  </a:solidFill>
                  <a:latin typeface="+mn-lt"/>
                  <a:cs typeface="Arial" panose="020B0604020202020204" pitchFamily="34" charset="0"/>
                </a:rPr>
                <a:t>or to </a:t>
              </a:r>
              <a:r>
                <a:rPr lang="en-US" sz="900" b="1" baseline="0" noProof="0">
                  <a:solidFill>
                    <a:schemeClr val="tx1">
                      <a:lumMod val="65000"/>
                      <a:lumOff val="35000"/>
                    </a:schemeClr>
                  </a:solidFill>
                  <a:latin typeface="+mn-lt"/>
                  <a:cs typeface="Arial" panose="020B0604020202020204" pitchFamily="34" charset="0"/>
                </a:rPr>
                <a:t>use bullets</a:t>
              </a:r>
              <a:r>
                <a:rPr lang="en-US" sz="900" baseline="0" noProof="0">
                  <a:solidFill>
                    <a:schemeClr val="tx1">
                      <a:lumMod val="65000"/>
                      <a:lumOff val="35000"/>
                    </a:schemeClr>
                  </a:solidFill>
                  <a:latin typeface="+mn-lt"/>
                  <a:cs typeface="Arial" panose="020B0604020202020204" pitchFamily="34" charset="0"/>
                </a:rPr>
                <a:t>, press </a:t>
              </a:r>
              <a:r>
                <a:rPr lang="en-US" sz="900" b="1" baseline="0" noProof="0">
                  <a:solidFill>
                    <a:schemeClr val="tx1">
                      <a:lumMod val="65000"/>
                      <a:lumOff val="35000"/>
                    </a:schemeClr>
                  </a:solidFill>
                  <a:latin typeface="+mn-lt"/>
                  <a:cs typeface="Arial" panose="020B0604020202020204" pitchFamily="34" charset="0"/>
                </a:rPr>
                <a:t>enter/return </a:t>
              </a:r>
              <a:r>
                <a:rPr lang="en-US" sz="900" baseline="0" noProof="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p:txBody>
        </p:sp>
        <p:pic>
          <p:nvPicPr>
            <p:cNvPr id="13" name="Picture 9">
              <a:extLst>
                <a:ext uri="{FF2B5EF4-FFF2-40B4-BE49-F238E27FC236}">
                  <a16:creationId xmlns:a16="http://schemas.microsoft.com/office/drawing/2014/main" id="{81C34785-F336-8949-9792-85C82E9BAEE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14" name="Oval 4">
              <a:extLst>
                <a:ext uri="{FF2B5EF4-FFF2-40B4-BE49-F238E27FC236}">
                  <a16:creationId xmlns:a16="http://schemas.microsoft.com/office/drawing/2014/main" id="{0DE5D575-685D-4949-9BD1-08C9CCBB6765}"/>
                </a:ext>
              </a:extLst>
            </p:cNvPr>
            <p:cNvSpPr/>
            <p:nvPr userDrawn="1"/>
          </p:nvSpPr>
          <p:spPr>
            <a:xfrm>
              <a:off x="13194299" y="52819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16" name="Connector: Elbow 131">
              <a:extLst>
                <a:ext uri="{FF2B5EF4-FFF2-40B4-BE49-F238E27FC236}">
                  <a16:creationId xmlns:a16="http://schemas.microsoft.com/office/drawing/2014/main" id="{BEF77753-BA66-494E-BCE3-D85708BA6103}"/>
                </a:ext>
              </a:extLst>
            </p:cNvPr>
            <p:cNvCxnSpPr>
              <a:cxnSpLocks/>
              <a:endCxn id="14" idx="0"/>
            </p:cNvCxnSpPr>
            <p:nvPr userDrawn="1"/>
          </p:nvCxnSpPr>
          <p:spPr>
            <a:xfrm rot="5400000">
              <a:off x="13324711" y="50100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5114265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0 Slutt/Takk for meg - Blå">
    <p:bg>
      <p:bgRef idx="1001">
        <a:schemeClr val="bg2"/>
      </p:bgRef>
    </p:bg>
    <p:spTree>
      <p:nvGrpSpPr>
        <p:cNvPr id="1" name=""/>
        <p:cNvGrpSpPr/>
        <p:nvPr/>
      </p:nvGrpSpPr>
      <p:grpSpPr>
        <a:xfrm>
          <a:off x="0" y="0"/>
          <a:ext cx="0" cy="0"/>
          <a:chOff x="0" y="0"/>
          <a:chExt cx="0" cy="0"/>
        </a:xfrm>
      </p:grpSpPr>
      <p:sp>
        <p:nvSpPr>
          <p:cNvPr id="29" name="Text Placeholder 7">
            <a:extLst>
              <a:ext uri="{FF2B5EF4-FFF2-40B4-BE49-F238E27FC236}">
                <a16:creationId xmlns:a16="http://schemas.microsoft.com/office/drawing/2014/main" id="{0372CC69-D63F-AF4E-915B-F7E58ADA3E2E}"/>
              </a:ext>
            </a:extLst>
          </p:cNvPr>
          <p:cNvSpPr>
            <a:spLocks noGrp="1"/>
          </p:cNvSpPr>
          <p:nvPr>
            <p:ph type="body" sz="quarter" idx="39" hasCustomPrompt="1"/>
          </p:nvPr>
        </p:nvSpPr>
        <p:spPr>
          <a:xfrm>
            <a:off x="583093" y="4183201"/>
            <a:ext cx="5370031" cy="1946137"/>
          </a:xfrm>
        </p:spPr>
        <p:txBody>
          <a:bodyPr/>
          <a:lstStyle>
            <a:lvl1pPr marL="0" indent="0" algn="l">
              <a:lnSpc>
                <a:spcPct val="100000"/>
              </a:lnSpc>
              <a:spcBef>
                <a:spcPts val="0"/>
              </a:spcBef>
              <a:spcAft>
                <a:spcPts val="850"/>
              </a:spcAft>
              <a:buNone/>
              <a:defRPr sz="3600" b="0" spc="40" baseline="0">
                <a:solidFill>
                  <a:schemeClr val="tx2"/>
                </a:solidFill>
              </a:defRPr>
            </a:lvl1pPr>
            <a:lvl2pPr marL="0" indent="0" algn="l">
              <a:lnSpc>
                <a:spcPct val="100000"/>
              </a:lnSpc>
              <a:spcBef>
                <a:spcPts val="0"/>
              </a:spcBef>
              <a:spcAft>
                <a:spcPts val="600"/>
              </a:spcAft>
              <a:buNone/>
              <a:defRPr sz="1400" spc="40" baseline="0">
                <a:solidFill>
                  <a:schemeClr val="tx2"/>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a:p>
            <a:pPr lvl="1"/>
            <a:r>
              <a:rPr lang="en-US" noProof="0" dirty="0"/>
              <a:t>Mer </a:t>
            </a:r>
            <a:r>
              <a:rPr lang="en-US" noProof="0" dirty="0" err="1"/>
              <a:t>tekst</a:t>
            </a:r>
            <a:r>
              <a:rPr lang="en-US" noProof="0" dirty="0"/>
              <a:t> her</a:t>
            </a:r>
          </a:p>
        </p:txBody>
      </p:sp>
      <p:grpSp>
        <p:nvGrpSpPr>
          <p:cNvPr id="3" name="Instructions">
            <a:extLst>
              <a:ext uri="{FF2B5EF4-FFF2-40B4-BE49-F238E27FC236}">
                <a16:creationId xmlns:a16="http://schemas.microsoft.com/office/drawing/2014/main" id="{9D2261EF-4638-DA2C-EBD8-335FACBB7F84}"/>
              </a:ext>
            </a:extLst>
          </p:cNvPr>
          <p:cNvGrpSpPr/>
          <p:nvPr userDrawn="1"/>
        </p:nvGrpSpPr>
        <p:grpSpPr>
          <a:xfrm>
            <a:off x="12395260" y="-12189"/>
            <a:ext cx="1681523" cy="5920915"/>
            <a:chOff x="12395260" y="-12189"/>
            <a:chExt cx="1681523" cy="5920915"/>
          </a:xfrm>
        </p:grpSpPr>
        <p:sp>
          <p:nvSpPr>
            <p:cNvPr id="8" name="textruta 5">
              <a:extLst>
                <a:ext uri="{FF2B5EF4-FFF2-40B4-BE49-F238E27FC236}">
                  <a16:creationId xmlns:a16="http://schemas.microsoft.com/office/drawing/2014/main" id="{07728FC5-8FAF-D948-82AA-B9F786AAEBB7}"/>
                </a:ext>
              </a:extLst>
            </p:cNvPr>
            <p:cNvSpPr txBox="1"/>
            <p:nvPr userDrawn="1"/>
          </p:nvSpPr>
          <p:spPr>
            <a:xfrm>
              <a:off x="12395260" y="1453483"/>
              <a:ext cx="1681523" cy="646331"/>
            </a:xfrm>
            <a:prstGeom prst="rect">
              <a:avLst/>
            </a:prstGeom>
            <a:solidFill>
              <a:schemeClr val="tx1"/>
            </a:solidFill>
            <a:effectLst/>
          </p:spPr>
          <p:txBody>
            <a:bodyPr wrap="square" rtlCol="0" anchor="ctr" anchorCtr="0">
              <a:spAutoFit/>
            </a:bodyPr>
            <a:lstStyle/>
            <a:p>
              <a:pPr algn="ctr"/>
              <a:r>
                <a:rPr lang="en-US" sz="900" baseline="0" noProof="0" dirty="0">
                  <a:solidFill>
                    <a:schemeClr val="bg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dirty="0">
                  <a:solidFill>
                    <a:schemeClr val="bg1">
                      <a:lumMod val="65000"/>
                      <a:lumOff val="35000"/>
                    </a:schemeClr>
                  </a:solidFill>
                  <a:latin typeface="Arial" panose="020B0604020202020204" pitchFamily="34" charset="0"/>
                  <a:cs typeface="Arial" panose="020B0604020202020204" pitchFamily="34" charset="0"/>
                </a:rPr>
                <a:t>right click the image </a:t>
              </a:r>
              <a:r>
                <a:rPr lang="en-US" sz="900" baseline="0" noProof="0" dirty="0">
                  <a:solidFill>
                    <a:schemeClr val="bg1">
                      <a:lumMod val="65000"/>
                      <a:lumOff val="35000"/>
                    </a:schemeClr>
                  </a:solidFill>
                  <a:latin typeface="Arial" panose="020B0604020202020204" pitchFamily="34" charset="0"/>
                  <a:cs typeface="Arial" panose="020B0604020202020204" pitchFamily="34" charset="0"/>
                </a:rPr>
                <a:t>and use – </a:t>
              </a:r>
              <a:r>
                <a:rPr lang="en-US" sz="900" b="1" noProof="0" dirty="0">
                  <a:solidFill>
                    <a:schemeClr val="bg1">
                      <a:lumMod val="65000"/>
                      <a:lumOff val="35000"/>
                    </a:schemeClr>
                  </a:solidFill>
                  <a:latin typeface="Arial" panose="020B0604020202020204" pitchFamily="34" charset="0"/>
                  <a:cs typeface="Arial" panose="020B0604020202020204" pitchFamily="34" charset="0"/>
                </a:rPr>
                <a:t>S</a:t>
              </a:r>
              <a:r>
                <a:rPr lang="en-US" sz="900" b="1" baseline="0" noProof="0" dirty="0">
                  <a:solidFill>
                    <a:schemeClr val="bg1">
                      <a:lumMod val="65000"/>
                      <a:lumOff val="35000"/>
                    </a:schemeClr>
                  </a:solidFill>
                  <a:latin typeface="Arial" panose="020B0604020202020204" pitchFamily="34" charset="0"/>
                  <a:cs typeface="Arial" panose="020B0604020202020204" pitchFamily="34" charset="0"/>
                </a:rPr>
                <a:t>end to back</a:t>
              </a:r>
            </a:p>
          </p:txBody>
        </p:sp>
        <p:sp>
          <p:nvSpPr>
            <p:cNvPr id="12" name="textruta 11">
              <a:extLst>
                <a:ext uri="{FF2B5EF4-FFF2-40B4-BE49-F238E27FC236}">
                  <a16:creationId xmlns:a16="http://schemas.microsoft.com/office/drawing/2014/main" id="{21862494-F897-CA4F-BE27-9C206870AF17}"/>
                </a:ext>
              </a:extLst>
            </p:cNvPr>
            <p:cNvSpPr txBox="1"/>
            <p:nvPr userDrawn="1"/>
          </p:nvSpPr>
          <p:spPr>
            <a:xfrm>
              <a:off x="12395260" y="4154400"/>
              <a:ext cx="1681523" cy="1754326"/>
            </a:xfrm>
            <a:prstGeom prst="rect">
              <a:avLst/>
            </a:prstGeom>
            <a:solidFill>
              <a:schemeClr val="tx1"/>
            </a:solidFill>
            <a:effectLst/>
          </p:spPr>
          <p:txBody>
            <a:bodyPr wrap="square" rtlCol="0" anchor="ctr" anchorCtr="0">
              <a:spAutoFit/>
            </a:bodyPr>
            <a:lstStyle/>
            <a:p>
              <a:pPr algn="ctr"/>
              <a:r>
                <a:rPr lang="en-US" sz="900" baseline="0" noProof="0">
                  <a:solidFill>
                    <a:schemeClr val="bg1">
                      <a:lumMod val="65000"/>
                      <a:lumOff val="35000"/>
                    </a:schemeClr>
                  </a:solidFill>
                  <a:latin typeface="+mn-lt"/>
                  <a:cs typeface="Arial" panose="020B0604020202020204" pitchFamily="34" charset="0"/>
                </a:rPr>
                <a:t>To change from </a:t>
              </a:r>
              <a:r>
                <a:rPr lang="en-US" sz="900" b="1" baseline="0" noProof="0">
                  <a:solidFill>
                    <a:schemeClr val="bg1">
                      <a:lumMod val="65000"/>
                      <a:lumOff val="35000"/>
                    </a:schemeClr>
                  </a:solidFill>
                  <a:latin typeface="+mn-lt"/>
                  <a:cs typeface="Arial" panose="020B0604020202020204" pitchFamily="34" charset="0"/>
                </a:rPr>
                <a:t>headline</a:t>
              </a:r>
              <a:r>
                <a:rPr lang="en-US" sz="900" baseline="0" noProof="0">
                  <a:solidFill>
                    <a:schemeClr val="bg1">
                      <a:lumMod val="65000"/>
                      <a:lumOff val="35000"/>
                    </a:schemeClr>
                  </a:solidFill>
                  <a:latin typeface="+mn-lt"/>
                  <a:cs typeface="Arial" panose="020B0604020202020204" pitchFamily="34" charset="0"/>
                </a:rPr>
                <a:t> to </a:t>
              </a:r>
              <a:r>
                <a:rPr lang="en-US" sz="900" b="1" baseline="0" noProof="0">
                  <a:solidFill>
                    <a:schemeClr val="bg1">
                      <a:lumMod val="65000"/>
                      <a:lumOff val="35000"/>
                    </a:schemeClr>
                  </a:solidFill>
                  <a:latin typeface="+mn-lt"/>
                  <a:cs typeface="Arial" panose="020B0604020202020204" pitchFamily="34" charset="0"/>
                </a:rPr>
                <a:t>body text </a:t>
              </a:r>
              <a:r>
                <a:rPr lang="en-US" sz="900" baseline="0" noProof="0">
                  <a:solidFill>
                    <a:schemeClr val="bg1">
                      <a:lumMod val="65000"/>
                      <a:lumOff val="35000"/>
                    </a:schemeClr>
                  </a:solidFill>
                  <a:latin typeface="+mn-lt"/>
                  <a:cs typeface="Arial" panose="020B0604020202020204" pitchFamily="34" charset="0"/>
                </a:rPr>
                <a:t>or to </a:t>
              </a:r>
              <a:r>
                <a:rPr lang="en-US" sz="900" b="1" baseline="0" noProof="0">
                  <a:solidFill>
                    <a:schemeClr val="bg1">
                      <a:lumMod val="65000"/>
                      <a:lumOff val="35000"/>
                    </a:schemeClr>
                  </a:solidFill>
                  <a:latin typeface="+mn-lt"/>
                  <a:cs typeface="Arial" panose="020B0604020202020204" pitchFamily="34" charset="0"/>
                </a:rPr>
                <a:t>use bullets</a:t>
              </a:r>
              <a:r>
                <a:rPr lang="en-US" sz="900" baseline="0" noProof="0">
                  <a:solidFill>
                    <a:schemeClr val="bg1">
                      <a:lumMod val="65000"/>
                      <a:lumOff val="35000"/>
                    </a:schemeClr>
                  </a:solidFill>
                  <a:latin typeface="+mn-lt"/>
                  <a:cs typeface="Arial" panose="020B0604020202020204" pitchFamily="34" charset="0"/>
                </a:rPr>
                <a:t>, press </a:t>
              </a:r>
              <a:r>
                <a:rPr lang="en-US" sz="900" b="1" baseline="0" noProof="0">
                  <a:solidFill>
                    <a:schemeClr val="bg1">
                      <a:lumMod val="65000"/>
                      <a:lumOff val="35000"/>
                    </a:schemeClr>
                  </a:solidFill>
                  <a:latin typeface="+mn-lt"/>
                  <a:cs typeface="Arial" panose="020B0604020202020204" pitchFamily="34" charset="0"/>
                </a:rPr>
                <a:t>enter/return </a:t>
              </a:r>
              <a:r>
                <a:rPr lang="en-US" sz="900" baseline="0" noProof="0">
                  <a:solidFill>
                    <a:schemeClr val="bg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p:txBody>
        </p:sp>
        <p:pic>
          <p:nvPicPr>
            <p:cNvPr id="13" name="Picture 9">
              <a:extLst>
                <a:ext uri="{FF2B5EF4-FFF2-40B4-BE49-F238E27FC236}">
                  <a16:creationId xmlns:a16="http://schemas.microsoft.com/office/drawing/2014/main" id="{81C34785-F336-8949-9792-85C82E9BAEE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14" name="Oval 4">
              <a:extLst>
                <a:ext uri="{FF2B5EF4-FFF2-40B4-BE49-F238E27FC236}">
                  <a16:creationId xmlns:a16="http://schemas.microsoft.com/office/drawing/2014/main" id="{0DE5D575-685D-4949-9BD1-08C9CCBB6765}"/>
                </a:ext>
              </a:extLst>
            </p:cNvPr>
            <p:cNvSpPr/>
            <p:nvPr userDrawn="1"/>
          </p:nvSpPr>
          <p:spPr>
            <a:xfrm>
              <a:off x="13194299" y="5281906"/>
              <a:ext cx="282818" cy="282818"/>
            </a:xfrm>
            <a:prstGeom prst="ellipse">
              <a:avLst/>
            </a:prstGeom>
            <a:solidFill>
              <a:schemeClr val="tx1">
                <a:alpha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bg1"/>
                </a:solidFill>
                <a:latin typeface="+mn-lt"/>
              </a:endParaRPr>
            </a:p>
          </p:txBody>
        </p:sp>
        <p:cxnSp>
          <p:nvCxnSpPr>
            <p:cNvPr id="16" name="Connector: Elbow 131">
              <a:extLst>
                <a:ext uri="{FF2B5EF4-FFF2-40B4-BE49-F238E27FC236}">
                  <a16:creationId xmlns:a16="http://schemas.microsoft.com/office/drawing/2014/main" id="{BEF77753-BA66-494E-BCE3-D85708BA6103}"/>
                </a:ext>
              </a:extLst>
            </p:cNvPr>
            <p:cNvCxnSpPr>
              <a:cxnSpLocks/>
              <a:endCxn id="14" idx="0"/>
            </p:cNvCxnSpPr>
            <p:nvPr userDrawn="1"/>
          </p:nvCxnSpPr>
          <p:spPr>
            <a:xfrm rot="5400000">
              <a:off x="13324711" y="5010086"/>
              <a:ext cx="282818" cy="260823"/>
            </a:xfrm>
            <a:prstGeom prst="bentConnector3">
              <a:avLst>
                <a:gd name="adj1" fmla="val 50000"/>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ruta 8">
              <a:extLst>
                <a:ext uri="{FF2B5EF4-FFF2-40B4-BE49-F238E27FC236}">
                  <a16:creationId xmlns:a16="http://schemas.microsoft.com/office/drawing/2014/main" id="{0338DCA8-C782-6D42-9BF4-CBF52D1BCEE7}"/>
                </a:ext>
              </a:extLst>
            </p:cNvPr>
            <p:cNvSpPr txBox="1"/>
            <p:nvPr userDrawn="1"/>
          </p:nvSpPr>
          <p:spPr>
            <a:xfrm>
              <a:off x="12395260" y="-12189"/>
              <a:ext cx="1681523" cy="1338828"/>
            </a:xfrm>
            <a:prstGeom prst="rect">
              <a:avLst/>
            </a:prstGeom>
            <a:solidFill>
              <a:schemeClr val="tx1"/>
            </a:solidFill>
            <a:effectLst/>
          </p:spPr>
          <p:txBody>
            <a:bodyPr wrap="square" rtlCol="0" anchor="ctr" anchorCtr="0">
              <a:spAutoFit/>
            </a:bodyPr>
            <a:lstStyle/>
            <a:p>
              <a:pPr algn="ctr"/>
              <a:r>
                <a:rPr lang="en-US" sz="900" baseline="0" noProof="0" dirty="0">
                  <a:solidFill>
                    <a:schemeClr val="bg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dirty="0">
                  <a:solidFill>
                    <a:schemeClr val="bg1">
                      <a:lumMod val="65000"/>
                      <a:lumOff val="35000"/>
                    </a:schemeClr>
                  </a:solidFill>
                  <a:latin typeface="Arial" panose="020B0604020202020204" pitchFamily="34" charset="0"/>
                  <a:cs typeface="Arial" panose="020B0604020202020204" pitchFamily="34" charset="0"/>
                </a:rPr>
                <a:t>Format Background </a:t>
              </a:r>
              <a:r>
                <a:rPr lang="en-US" sz="900" baseline="0" noProof="0" dirty="0">
                  <a:solidFill>
                    <a:schemeClr val="bg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dirty="0">
                  <a:solidFill>
                    <a:schemeClr val="bg1">
                      <a:lumMod val="65000"/>
                      <a:lumOff val="35000"/>
                    </a:schemeClr>
                  </a:solidFill>
                  <a:latin typeface="Arial" panose="020B0604020202020204" pitchFamily="34" charset="0"/>
                  <a:cs typeface="Arial" panose="020B0604020202020204" pitchFamily="34" charset="0"/>
                </a:rPr>
                <a:t>Solid fill</a:t>
              </a:r>
              <a:r>
                <a:rPr lang="en-US" sz="900" baseline="0" noProof="0" dirty="0">
                  <a:solidFill>
                    <a:schemeClr val="bg1">
                      <a:lumMod val="65000"/>
                      <a:lumOff val="35000"/>
                    </a:schemeClr>
                  </a:solidFill>
                  <a:latin typeface="Arial" panose="020B0604020202020204" pitchFamily="34" charset="0"/>
                  <a:cs typeface="Arial" panose="020B0604020202020204" pitchFamily="34" charset="0"/>
                </a:rPr>
                <a:t> – </a:t>
              </a:r>
              <a:r>
                <a:rPr lang="en-US" sz="900" b="1" baseline="0" noProof="0" dirty="0">
                  <a:solidFill>
                    <a:schemeClr val="bg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dirty="0">
                <a:solidFill>
                  <a:schemeClr val="bg1">
                    <a:lumMod val="65000"/>
                    <a:lumOff val="35000"/>
                  </a:schemeClr>
                </a:solidFill>
                <a:latin typeface="Arial" panose="020B0604020202020204" pitchFamily="34" charset="0"/>
                <a:cs typeface="Arial" panose="020B0604020202020204" pitchFamily="34" charset="0"/>
              </a:endParaRPr>
            </a:p>
            <a:p>
              <a:pPr algn="ctr"/>
              <a:endParaRPr lang="en-US" sz="900" baseline="0" noProof="0" dirty="0">
                <a:solidFill>
                  <a:schemeClr val="bg1">
                    <a:lumMod val="65000"/>
                    <a:lumOff val="35000"/>
                  </a:schemeClr>
                </a:solidFill>
                <a:latin typeface="Arial" panose="020B0604020202020204" pitchFamily="34" charset="0"/>
                <a:cs typeface="Arial" panose="020B0604020202020204" pitchFamily="34" charset="0"/>
              </a:endParaRPr>
            </a:p>
            <a:p>
              <a:pPr algn="ctr"/>
              <a:endParaRPr lang="en-US" sz="900" baseline="0" noProof="0" dirty="0">
                <a:solidFill>
                  <a:schemeClr val="bg1">
                    <a:lumMod val="65000"/>
                    <a:lumOff val="35000"/>
                  </a:schemeClr>
                </a:solidFill>
                <a:latin typeface="Arial" panose="020B0604020202020204" pitchFamily="34" charset="0"/>
                <a:cs typeface="Arial" panose="020B0604020202020204" pitchFamily="34" charset="0"/>
              </a:endParaRPr>
            </a:p>
          </p:txBody>
        </p:sp>
        <p:sp>
          <p:nvSpPr>
            <p:cNvPr id="30" name="Rektangel 9">
              <a:extLst>
                <a:ext uri="{FF2B5EF4-FFF2-40B4-BE49-F238E27FC236}">
                  <a16:creationId xmlns:a16="http://schemas.microsoft.com/office/drawing/2014/main" id="{2A15AE09-029B-ED44-BCEC-8A8EFAF4CC2B}"/>
                </a:ext>
              </a:extLst>
            </p:cNvPr>
            <p:cNvSpPr/>
            <p:nvPr userDrawn="1"/>
          </p:nvSpPr>
          <p:spPr>
            <a:xfrm>
              <a:off x="13255337" y="926211"/>
              <a:ext cx="341194" cy="3059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1" name="Rektangel 10">
              <a:extLst>
                <a:ext uri="{FF2B5EF4-FFF2-40B4-BE49-F238E27FC236}">
                  <a16:creationId xmlns:a16="http://schemas.microsoft.com/office/drawing/2014/main" id="{2C397BC2-B2B9-4545-95E8-9BBBF581099C}"/>
                </a:ext>
              </a:extLst>
            </p:cNvPr>
            <p:cNvSpPr/>
            <p:nvPr userDrawn="1"/>
          </p:nvSpPr>
          <p:spPr>
            <a:xfrm>
              <a:off x="12833410" y="926211"/>
              <a:ext cx="341194" cy="305904"/>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2" name="Logotype">
            <a:extLst>
              <a:ext uri="{FF2B5EF4-FFF2-40B4-BE49-F238E27FC236}">
                <a16:creationId xmlns:a16="http://schemas.microsoft.com/office/drawing/2014/main" id="{85A8C561-1CF4-D9D7-4E4D-11DDE1D14112}"/>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Tree>
    <p:extLst>
      <p:ext uri="{BB962C8B-B14F-4D97-AF65-F5344CB8AC3E}">
        <p14:creationId xmlns:p14="http://schemas.microsoft.com/office/powerpoint/2010/main" val="3189908786"/>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0 Slutt/Takk for meg - bilde">
    <p:bg>
      <p:bgRef idx="1001">
        <a:schemeClr val="bg2"/>
      </p:bgRef>
    </p:bg>
    <p:spTree>
      <p:nvGrpSpPr>
        <p:cNvPr id="1" name=""/>
        <p:cNvGrpSpPr/>
        <p:nvPr/>
      </p:nvGrpSpPr>
      <p:grpSpPr>
        <a:xfrm>
          <a:off x="0" y="0"/>
          <a:ext cx="0" cy="0"/>
          <a:chOff x="0" y="0"/>
          <a:chExt cx="0" cy="0"/>
        </a:xfrm>
      </p:grpSpPr>
      <p:sp>
        <p:nvSpPr>
          <p:cNvPr id="29" name="Text Placeholder 7">
            <a:extLst>
              <a:ext uri="{FF2B5EF4-FFF2-40B4-BE49-F238E27FC236}">
                <a16:creationId xmlns:a16="http://schemas.microsoft.com/office/drawing/2014/main" id="{0372CC69-D63F-AF4E-915B-F7E58ADA3E2E}"/>
              </a:ext>
            </a:extLst>
          </p:cNvPr>
          <p:cNvSpPr>
            <a:spLocks noGrp="1"/>
          </p:cNvSpPr>
          <p:nvPr>
            <p:ph type="body" sz="quarter" idx="39" hasCustomPrompt="1"/>
          </p:nvPr>
        </p:nvSpPr>
        <p:spPr>
          <a:xfrm>
            <a:off x="583093" y="4183201"/>
            <a:ext cx="5370031" cy="1946137"/>
          </a:xfrm>
        </p:spPr>
        <p:txBody>
          <a:bodyPr/>
          <a:lstStyle>
            <a:lvl1pPr marL="0" indent="0" algn="l">
              <a:lnSpc>
                <a:spcPct val="100000"/>
              </a:lnSpc>
              <a:spcBef>
                <a:spcPts val="0"/>
              </a:spcBef>
              <a:spcAft>
                <a:spcPts val="850"/>
              </a:spcAft>
              <a:buNone/>
              <a:defRPr sz="3600" b="0" spc="40" baseline="0">
                <a:solidFill>
                  <a:schemeClr val="tx2"/>
                </a:solidFill>
              </a:defRPr>
            </a:lvl1pPr>
            <a:lvl2pPr marL="0" indent="0" algn="l">
              <a:lnSpc>
                <a:spcPct val="100000"/>
              </a:lnSpc>
              <a:spcBef>
                <a:spcPts val="0"/>
              </a:spcBef>
              <a:spcAft>
                <a:spcPts val="600"/>
              </a:spcAft>
              <a:buNone/>
              <a:defRPr sz="1400" spc="40" baseline="0">
                <a:solidFill>
                  <a:schemeClr val="tx2"/>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tekst</a:t>
            </a:r>
            <a:endParaRPr lang="en-US" noProof="0" dirty="0"/>
          </a:p>
          <a:p>
            <a:pPr lvl="1"/>
            <a:r>
              <a:rPr lang="en-US" noProof="0" dirty="0"/>
              <a:t>Mer </a:t>
            </a:r>
            <a:r>
              <a:rPr lang="en-US" noProof="0" dirty="0" err="1"/>
              <a:t>tekst</a:t>
            </a:r>
            <a:r>
              <a:rPr lang="en-US" noProof="0" dirty="0"/>
              <a:t> her</a:t>
            </a:r>
          </a:p>
        </p:txBody>
      </p:sp>
      <p:grpSp>
        <p:nvGrpSpPr>
          <p:cNvPr id="3" name="Instructions">
            <a:extLst>
              <a:ext uri="{FF2B5EF4-FFF2-40B4-BE49-F238E27FC236}">
                <a16:creationId xmlns:a16="http://schemas.microsoft.com/office/drawing/2014/main" id="{2BB5D7C3-F954-651A-45F7-5EF16C662197}"/>
              </a:ext>
            </a:extLst>
          </p:cNvPr>
          <p:cNvGrpSpPr/>
          <p:nvPr userDrawn="1"/>
        </p:nvGrpSpPr>
        <p:grpSpPr>
          <a:xfrm>
            <a:off x="12395260" y="-12189"/>
            <a:ext cx="1681523" cy="5920915"/>
            <a:chOff x="12395260" y="-12189"/>
            <a:chExt cx="1681523" cy="5920915"/>
          </a:xfrm>
        </p:grpSpPr>
        <p:sp>
          <p:nvSpPr>
            <p:cNvPr id="8" name="textruta 5">
              <a:extLst>
                <a:ext uri="{FF2B5EF4-FFF2-40B4-BE49-F238E27FC236}">
                  <a16:creationId xmlns:a16="http://schemas.microsoft.com/office/drawing/2014/main" id="{07728FC5-8FAF-D948-82AA-B9F786AAEBB7}"/>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D18F62CC-60C1-DB42-9742-4AF366303413}"/>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73C348B4-C0EC-824B-814E-D42C562CBFA8}"/>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1C4A7DAB-0DBB-E649-8262-BE0207487BE8}"/>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ruta 11">
              <a:extLst>
                <a:ext uri="{FF2B5EF4-FFF2-40B4-BE49-F238E27FC236}">
                  <a16:creationId xmlns:a16="http://schemas.microsoft.com/office/drawing/2014/main" id="{21862494-F897-CA4F-BE27-9C206870AF17}"/>
                </a:ext>
              </a:extLst>
            </p:cNvPr>
            <p:cNvSpPr txBox="1"/>
            <p:nvPr userDrawn="1"/>
          </p:nvSpPr>
          <p:spPr>
            <a:xfrm>
              <a:off x="12395260" y="4154400"/>
              <a:ext cx="1681523" cy="1754326"/>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mn-lt"/>
                  <a:cs typeface="Arial" panose="020B0604020202020204" pitchFamily="34" charset="0"/>
                </a:rPr>
                <a:t>To change from </a:t>
              </a:r>
              <a:r>
                <a:rPr lang="en-US" sz="900" b="1" baseline="0" noProof="0">
                  <a:solidFill>
                    <a:schemeClr val="tx1">
                      <a:lumMod val="65000"/>
                      <a:lumOff val="35000"/>
                    </a:schemeClr>
                  </a:solidFill>
                  <a:latin typeface="+mn-lt"/>
                  <a:cs typeface="Arial" panose="020B0604020202020204" pitchFamily="34" charset="0"/>
                </a:rPr>
                <a:t>headline</a:t>
              </a:r>
              <a:r>
                <a:rPr lang="en-US" sz="900" baseline="0" noProof="0">
                  <a:solidFill>
                    <a:schemeClr val="tx1">
                      <a:lumMod val="65000"/>
                      <a:lumOff val="35000"/>
                    </a:schemeClr>
                  </a:solidFill>
                  <a:latin typeface="+mn-lt"/>
                  <a:cs typeface="Arial" panose="020B0604020202020204" pitchFamily="34" charset="0"/>
                </a:rPr>
                <a:t> to </a:t>
              </a:r>
              <a:r>
                <a:rPr lang="en-US" sz="900" b="1" baseline="0" noProof="0">
                  <a:solidFill>
                    <a:schemeClr val="tx1">
                      <a:lumMod val="65000"/>
                      <a:lumOff val="35000"/>
                    </a:schemeClr>
                  </a:solidFill>
                  <a:latin typeface="+mn-lt"/>
                  <a:cs typeface="Arial" panose="020B0604020202020204" pitchFamily="34" charset="0"/>
                </a:rPr>
                <a:t>body text </a:t>
              </a:r>
              <a:r>
                <a:rPr lang="en-US" sz="900" baseline="0" noProof="0">
                  <a:solidFill>
                    <a:schemeClr val="tx1">
                      <a:lumMod val="65000"/>
                      <a:lumOff val="35000"/>
                    </a:schemeClr>
                  </a:solidFill>
                  <a:latin typeface="+mn-lt"/>
                  <a:cs typeface="Arial" panose="020B0604020202020204" pitchFamily="34" charset="0"/>
                </a:rPr>
                <a:t>or to </a:t>
              </a:r>
              <a:r>
                <a:rPr lang="en-US" sz="900" b="1" baseline="0" noProof="0">
                  <a:solidFill>
                    <a:schemeClr val="tx1">
                      <a:lumMod val="65000"/>
                      <a:lumOff val="35000"/>
                    </a:schemeClr>
                  </a:solidFill>
                  <a:latin typeface="+mn-lt"/>
                  <a:cs typeface="Arial" panose="020B0604020202020204" pitchFamily="34" charset="0"/>
                </a:rPr>
                <a:t>use bullets</a:t>
              </a:r>
              <a:r>
                <a:rPr lang="en-US" sz="900" baseline="0" noProof="0">
                  <a:solidFill>
                    <a:schemeClr val="tx1">
                      <a:lumMod val="65000"/>
                      <a:lumOff val="35000"/>
                    </a:schemeClr>
                  </a:solidFill>
                  <a:latin typeface="+mn-lt"/>
                  <a:cs typeface="Arial" panose="020B0604020202020204" pitchFamily="34" charset="0"/>
                </a:rPr>
                <a:t>, press </a:t>
              </a:r>
              <a:r>
                <a:rPr lang="en-US" sz="900" b="1" baseline="0" noProof="0">
                  <a:solidFill>
                    <a:schemeClr val="tx1">
                      <a:lumMod val="65000"/>
                      <a:lumOff val="35000"/>
                    </a:schemeClr>
                  </a:solidFill>
                  <a:latin typeface="+mn-lt"/>
                  <a:cs typeface="Arial" panose="020B0604020202020204" pitchFamily="34" charset="0"/>
                </a:rPr>
                <a:t>enter/return </a:t>
              </a:r>
              <a:r>
                <a:rPr lang="en-US" sz="900" baseline="0" noProof="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p:txBody>
        </p:sp>
        <p:pic>
          <p:nvPicPr>
            <p:cNvPr id="13" name="Picture 9">
              <a:extLst>
                <a:ext uri="{FF2B5EF4-FFF2-40B4-BE49-F238E27FC236}">
                  <a16:creationId xmlns:a16="http://schemas.microsoft.com/office/drawing/2014/main" id="{81C34785-F336-8949-9792-85C82E9BAEE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14" name="Oval 4">
              <a:extLst>
                <a:ext uri="{FF2B5EF4-FFF2-40B4-BE49-F238E27FC236}">
                  <a16:creationId xmlns:a16="http://schemas.microsoft.com/office/drawing/2014/main" id="{0DE5D575-685D-4949-9BD1-08C9CCBB6765}"/>
                </a:ext>
              </a:extLst>
            </p:cNvPr>
            <p:cNvSpPr/>
            <p:nvPr userDrawn="1"/>
          </p:nvSpPr>
          <p:spPr>
            <a:xfrm>
              <a:off x="13194299" y="52819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16" name="Connector: Elbow 131">
              <a:extLst>
                <a:ext uri="{FF2B5EF4-FFF2-40B4-BE49-F238E27FC236}">
                  <a16:creationId xmlns:a16="http://schemas.microsoft.com/office/drawing/2014/main" id="{BEF77753-BA66-494E-BCE3-D85708BA6103}"/>
                </a:ext>
              </a:extLst>
            </p:cNvPr>
            <p:cNvCxnSpPr>
              <a:cxnSpLocks/>
              <a:endCxn id="14" idx="0"/>
            </p:cNvCxnSpPr>
            <p:nvPr userDrawn="1"/>
          </p:nvCxnSpPr>
          <p:spPr>
            <a:xfrm rot="5400000">
              <a:off x="13324711" y="50100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Logotype">
            <a:extLst>
              <a:ext uri="{FF2B5EF4-FFF2-40B4-BE49-F238E27FC236}">
                <a16:creationId xmlns:a16="http://schemas.microsoft.com/office/drawing/2014/main" id="{44A27BAC-468F-F654-34F5-FD5A392BD2B8}"/>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Tree>
    <p:extLst>
      <p:ext uri="{BB962C8B-B14F-4D97-AF65-F5344CB8AC3E}">
        <p14:creationId xmlns:p14="http://schemas.microsoft.com/office/powerpoint/2010/main" val="583358333"/>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8" name="Logotype">
            <a:extLst>
              <a:ext uri="{FF2B5EF4-FFF2-40B4-BE49-F238E27FC236}">
                <a16:creationId xmlns:a16="http://schemas.microsoft.com/office/drawing/2014/main" id="{5548F03B-1D0D-767C-88D1-10484F560C24}"/>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Tree>
    <p:extLst>
      <p:ext uri="{BB962C8B-B14F-4D97-AF65-F5344CB8AC3E}">
        <p14:creationId xmlns:p14="http://schemas.microsoft.com/office/powerpoint/2010/main" val="69832915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6 Tekst med halvbil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83718FC5-379A-3343-904E-06A5A117D84C}"/>
              </a:ext>
            </a:extLst>
          </p:cNvPr>
          <p:cNvSpPr>
            <a:spLocks noGrp="1"/>
          </p:cNvSpPr>
          <p:nvPr>
            <p:ph type="pic" sz="quarter" idx="18" hasCustomPrompt="1"/>
          </p:nvPr>
        </p:nvSpPr>
        <p:spPr>
          <a:xfrm>
            <a:off x="6094413" y="0"/>
            <a:ext cx="6095997" cy="6857997"/>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tx2"/>
                </a:solidFill>
              </a:defRPr>
            </a:lvl1pPr>
          </a:lstStyle>
          <a:p>
            <a:r>
              <a:rPr lang="nb-NO" noProof="0"/>
              <a:t>Klikk på ikonet for å legge til et bilde
</a:t>
            </a:r>
            <a:endParaRPr lang="en-US" noProof="0"/>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31027"/>
            <a:ext cx="5367178" cy="1365942"/>
          </a:xfrm>
          <a:prstGeom prst="rect">
            <a:avLst/>
          </a:prstGeom>
        </p:spPr>
        <p:txBody>
          <a:bodyPr anchor="t">
            <a:noAutofit/>
          </a:bodyPr>
          <a:lstStyle>
            <a:lvl1pPr marL="0" indent="0">
              <a:lnSpc>
                <a:spcPct val="85000"/>
              </a:lnSpc>
              <a:spcBef>
                <a:spcPts val="0"/>
              </a:spcBef>
              <a:buNone/>
              <a:defRPr sz="3600" spc="40" baseline="0">
                <a:solidFill>
                  <a:schemeClr val="tx2"/>
                </a:solidFill>
              </a:defRPr>
            </a:lvl1pPr>
          </a:lstStyle>
          <a:p>
            <a:pPr lvl="0"/>
            <a:r>
              <a:rPr lang="nb-NO" noProof="0"/>
              <a:t>Klikk for å legge til en overskrift på maksimalt tre linjer
</a:t>
            </a:r>
            <a:endParaRPr lang="en-US" noProof="0"/>
          </a:p>
        </p:txBody>
      </p:sp>
      <p:grpSp>
        <p:nvGrpSpPr>
          <p:cNvPr id="21" name="Grupp 32">
            <a:extLst>
              <a:ext uri="{FF2B5EF4-FFF2-40B4-BE49-F238E27FC236}">
                <a16:creationId xmlns:a16="http://schemas.microsoft.com/office/drawing/2014/main" id="{CF6F4381-F814-DC49-BAE8-DA80AFFD9E68}"/>
              </a:ext>
            </a:extLst>
          </p:cNvPr>
          <p:cNvGrpSpPr/>
          <p:nvPr userDrawn="1"/>
        </p:nvGrpSpPr>
        <p:grpSpPr>
          <a:xfrm>
            <a:off x="576140" y="6451484"/>
            <a:ext cx="615478" cy="91194"/>
            <a:chOff x="576140" y="6451484"/>
            <a:chExt cx="615478" cy="91194"/>
          </a:xfrm>
          <a:solidFill>
            <a:schemeClr val="tx2"/>
          </a:solidFill>
        </p:grpSpPr>
        <p:sp>
          <p:nvSpPr>
            <p:cNvPr id="22" name="Bild 2">
              <a:extLst>
                <a:ext uri="{FF2B5EF4-FFF2-40B4-BE49-F238E27FC236}">
                  <a16:creationId xmlns:a16="http://schemas.microsoft.com/office/drawing/2014/main" id="{62E9B87D-A5ED-B24D-896A-D5B9B26AB281}"/>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A0B698E7-BE43-3549-8D56-915B3552259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AE8F0FFE-43AD-8B46-AD52-5AAAB3A7E141}"/>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3" name="Bild 2">
              <a:extLst>
                <a:ext uri="{FF2B5EF4-FFF2-40B4-BE49-F238E27FC236}">
                  <a16:creationId xmlns:a16="http://schemas.microsoft.com/office/drawing/2014/main" id="{F449D80C-39D5-B049-8099-1AB0DFB21C56}"/>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4" name="Bild 2">
              <a:extLst>
                <a:ext uri="{FF2B5EF4-FFF2-40B4-BE49-F238E27FC236}">
                  <a16:creationId xmlns:a16="http://schemas.microsoft.com/office/drawing/2014/main" id="{20D2215C-82C7-5E49-AD19-A866B46120D1}"/>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5" name="Bild 2">
              <a:extLst>
                <a:ext uri="{FF2B5EF4-FFF2-40B4-BE49-F238E27FC236}">
                  <a16:creationId xmlns:a16="http://schemas.microsoft.com/office/drawing/2014/main" id="{70CBD1E9-7FEE-9349-9D43-444D469EBEE7}"/>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6" name="Bild 2">
              <a:extLst>
                <a:ext uri="{FF2B5EF4-FFF2-40B4-BE49-F238E27FC236}">
                  <a16:creationId xmlns:a16="http://schemas.microsoft.com/office/drawing/2014/main" id="{2BE0EC2B-5FD2-9449-827A-76C703008BD0}"/>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2" name="Platshållare för text 11">
            <a:extLst>
              <a:ext uri="{FF2B5EF4-FFF2-40B4-BE49-F238E27FC236}">
                <a16:creationId xmlns:a16="http://schemas.microsoft.com/office/drawing/2014/main" id="{2A42B50C-7FD1-C146-8ECB-95091B05A65D}"/>
              </a:ext>
            </a:extLst>
          </p:cNvPr>
          <p:cNvSpPr>
            <a:spLocks noGrp="1"/>
          </p:cNvSpPr>
          <p:nvPr>
            <p:ph type="body" sz="quarter" idx="20" hasCustomPrompt="1"/>
          </p:nvPr>
        </p:nvSpPr>
        <p:spPr>
          <a:xfrm>
            <a:off x="576000" y="2527200"/>
            <a:ext cx="5377125" cy="3600450"/>
          </a:xfrm>
        </p:spPr>
        <p:txBody>
          <a:bodyPr/>
          <a:lstStyle/>
          <a:p>
            <a:pPr lvl="0"/>
            <a:r>
              <a:rPr lang="nb-NO" noProof="0"/>
              <a:t>Klikk for å legge til brødtekst
</a:t>
            </a:r>
            <a:r>
              <a:rPr lang="en-US" noProof="0"/>
              <a:t>Second level</a:t>
            </a:r>
          </a:p>
          <a:p>
            <a:pPr lvl="2"/>
            <a:r>
              <a:rPr lang="en-US" noProof="0"/>
              <a:t>Third level</a:t>
            </a:r>
          </a:p>
          <a:p>
            <a:pPr lvl="3"/>
            <a:r>
              <a:rPr lang="en-US" noProof="0"/>
              <a:t>Fourth level </a:t>
            </a:r>
          </a:p>
          <a:p>
            <a:pPr lvl="4"/>
            <a:r>
              <a:rPr lang="en-US" noProof="0"/>
              <a:t>Fifth level</a:t>
            </a:r>
          </a:p>
        </p:txBody>
      </p:sp>
      <p:sp>
        <p:nvSpPr>
          <p:cNvPr id="16" name="Platshållare för datum 3">
            <a:extLst>
              <a:ext uri="{FF2B5EF4-FFF2-40B4-BE49-F238E27FC236}">
                <a16:creationId xmlns:a16="http://schemas.microsoft.com/office/drawing/2014/main" id="{E89DEF0D-E0BF-5D4C-9494-8D5AE0D65D02}"/>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60B678D7-614D-4AF1-A11B-ACE158540D3E}" type="datetime1">
              <a:rPr lang="nb-NO" noProof="0" smtClean="0"/>
              <a:t>07.11.2025</a:t>
            </a:fld>
            <a:endParaRPr lang="en-US" noProof="0"/>
          </a:p>
        </p:txBody>
      </p:sp>
      <p:sp>
        <p:nvSpPr>
          <p:cNvPr id="17" name="Platshållare för sidfot 4">
            <a:extLst>
              <a:ext uri="{FF2B5EF4-FFF2-40B4-BE49-F238E27FC236}">
                <a16:creationId xmlns:a16="http://schemas.microsoft.com/office/drawing/2014/main" id="{59120A69-D01F-A748-9537-2B83B4D28ADB}"/>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å til topp- og bunntekst for å endre tekst</a:t>
            </a:r>
          </a:p>
        </p:txBody>
      </p:sp>
      <p:sp>
        <p:nvSpPr>
          <p:cNvPr id="18" name="Platshållare för bildnummer 5">
            <a:extLst>
              <a:ext uri="{FF2B5EF4-FFF2-40B4-BE49-F238E27FC236}">
                <a16:creationId xmlns:a16="http://schemas.microsoft.com/office/drawing/2014/main" id="{943BB26A-3612-3A42-8216-56A3B027D321}"/>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25" name="Text Placeholder 4">
            <a:extLst>
              <a:ext uri="{FF2B5EF4-FFF2-40B4-BE49-F238E27FC236}">
                <a16:creationId xmlns:a16="http://schemas.microsoft.com/office/drawing/2014/main" id="{ADFA69F0-4DC9-E843-AD83-A7CA3C778BDC}"/>
              </a:ext>
            </a:extLst>
          </p:cNvPr>
          <p:cNvSpPr>
            <a:spLocks noGrp="1"/>
          </p:cNvSpPr>
          <p:nvPr>
            <p:ph type="body" sz="quarter" idx="21"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err="1"/>
              <a:t>Prosjekt</a:t>
            </a:r>
            <a:r>
              <a:rPr lang="en-US"/>
              <a:t>, By, Land</a:t>
            </a:r>
          </a:p>
        </p:txBody>
      </p:sp>
    </p:spTree>
    <p:extLst>
      <p:ext uri="{BB962C8B-B14F-4D97-AF65-F5344CB8AC3E}">
        <p14:creationId xmlns:p14="http://schemas.microsoft.com/office/powerpoint/2010/main" val="152015166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 Start Bilde til høyre">
    <p:bg>
      <p:bgRef idx="1001">
        <a:schemeClr val="bg1"/>
      </p:bgRef>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03AC9EDD-8C27-D14A-8926-6F5BFEA987E1}"/>
              </a:ext>
            </a:extLst>
          </p:cNvPr>
          <p:cNvSpPr>
            <a:spLocks noGrp="1"/>
          </p:cNvSpPr>
          <p:nvPr>
            <p:ph type="pic" sz="quarter" idx="13" hasCustomPrompt="1"/>
          </p:nvPr>
        </p:nvSpPr>
        <p:spPr>
          <a:xfrm>
            <a:off x="6106443" y="5"/>
            <a:ext cx="6094408" cy="6857997"/>
          </a:xfrm>
          <a:custGeom>
            <a:avLst/>
            <a:gdLst>
              <a:gd name="connsiteX0" fmla="*/ 0 w 6094408"/>
              <a:gd name="connsiteY0" fmla="*/ 0 h 6857997"/>
              <a:gd name="connsiteX1" fmla="*/ 6094408 w 6094408"/>
              <a:gd name="connsiteY1" fmla="*/ 0 h 6857997"/>
              <a:gd name="connsiteX2" fmla="*/ 6094408 w 6094408"/>
              <a:gd name="connsiteY2" fmla="*/ 6857997 h 6857997"/>
              <a:gd name="connsiteX3" fmla="*/ 0 w 6094408"/>
              <a:gd name="connsiteY3" fmla="*/ 6857997 h 6857997"/>
            </a:gdLst>
            <a:ahLst/>
            <a:cxnLst>
              <a:cxn ang="0">
                <a:pos x="connsiteX0" y="connsiteY0"/>
              </a:cxn>
              <a:cxn ang="0">
                <a:pos x="connsiteX1" y="connsiteY1"/>
              </a:cxn>
              <a:cxn ang="0">
                <a:pos x="connsiteX2" y="connsiteY2"/>
              </a:cxn>
              <a:cxn ang="0">
                <a:pos x="connsiteX3" y="connsiteY3"/>
              </a:cxn>
            </a:cxnLst>
            <a:rect l="l" t="t" r="r" b="b"/>
            <a:pathLst>
              <a:path w="6094408" h="6857997">
                <a:moveTo>
                  <a:pt x="0" y="0"/>
                </a:moveTo>
                <a:lnTo>
                  <a:pt x="6094408" y="0"/>
                </a:lnTo>
                <a:lnTo>
                  <a:pt x="6094408"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nb-NO" noProof="0" dirty="0"/>
              <a:t>Klikk på ikonet for å legge til et bilde</a:t>
            </a:r>
            <a:endParaRPr lang="en-US" noProof="0" dirty="0"/>
          </a:p>
        </p:txBody>
      </p:sp>
      <p:sp>
        <p:nvSpPr>
          <p:cNvPr id="2" name="Title 1">
            <a:extLst>
              <a:ext uri="{FF2B5EF4-FFF2-40B4-BE49-F238E27FC236}">
                <a16:creationId xmlns:a16="http://schemas.microsoft.com/office/drawing/2014/main" id="{98DF78C3-7418-E18B-0CAB-9723D5173841}"/>
              </a:ext>
            </a:extLst>
          </p:cNvPr>
          <p:cNvSpPr>
            <a:spLocks noGrp="1"/>
          </p:cNvSpPr>
          <p:nvPr>
            <p:ph type="title" hasCustomPrompt="1"/>
          </p:nvPr>
        </p:nvSpPr>
        <p:spPr>
          <a:xfrm>
            <a:off x="576000" y="1022400"/>
            <a:ext cx="5378400" cy="1069200"/>
          </a:xfrm>
        </p:spPr>
        <p:txBody>
          <a:bodyPr anchor="b"/>
          <a:lstStyle>
            <a:lvl1pPr>
              <a:defRPr sz="3200">
                <a:solidFill>
                  <a:schemeClr val="tx2"/>
                </a:solidFill>
              </a:defRPr>
            </a:lvl1pPr>
          </a:lstStyle>
          <a:p>
            <a:r>
              <a:rPr lang="nb-NO" dirty="0"/>
              <a:t>Klikk for å legge til en overskrift på maksimalt to linjer</a:t>
            </a:r>
            <a:endParaRPr lang="en-US" dirty="0"/>
          </a:p>
        </p:txBody>
      </p:sp>
      <p:sp>
        <p:nvSpPr>
          <p:cNvPr id="13" name="Text Placeholder 7">
            <a:extLst>
              <a:ext uri="{FF2B5EF4-FFF2-40B4-BE49-F238E27FC236}">
                <a16:creationId xmlns:a16="http://schemas.microsoft.com/office/drawing/2014/main" id="{82C1EA7A-B2DC-6047-B1F0-EB47347CB0FD}"/>
              </a:ext>
            </a:extLst>
          </p:cNvPr>
          <p:cNvSpPr>
            <a:spLocks noGrp="1"/>
          </p:cNvSpPr>
          <p:nvPr>
            <p:ph type="body" sz="quarter" idx="19" hasCustomPrompt="1"/>
          </p:nvPr>
        </p:nvSpPr>
        <p:spPr>
          <a:xfrm>
            <a:off x="586800" y="2228400"/>
            <a:ext cx="3758400" cy="766800"/>
          </a:xfrm>
        </p:spPr>
        <p:txBody>
          <a:bodyPr/>
          <a:lstStyle>
            <a:lvl1pPr marL="0" indent="0">
              <a:lnSpc>
                <a:spcPct val="100000"/>
              </a:lnSpc>
              <a:spcBef>
                <a:spcPts val="0"/>
              </a:spcBef>
              <a:spcAft>
                <a:spcPts val="0"/>
              </a:spcAft>
              <a:buNone/>
              <a:defRPr sz="1400" spc="70" baseline="0">
                <a:solidFill>
                  <a:schemeClr val="tx2"/>
                </a:solidFill>
              </a:defRPr>
            </a:lvl1pPr>
            <a:lvl2pPr>
              <a:lnSpc>
                <a:spcPct val="100000"/>
              </a:lnSpc>
              <a:spcBef>
                <a:spcPts val="0"/>
              </a:spcBef>
              <a:spcAft>
                <a:spcPts val="600"/>
              </a:spcAft>
              <a:defRPr spc="40" baseline="0"/>
            </a:lvl2pPr>
            <a:lvl3pPr>
              <a:defRPr spc="40" baseline="0"/>
            </a:lvl3pPr>
            <a:lvl4pPr>
              <a:defRPr spc="40" baseline="0"/>
            </a:lvl4pPr>
            <a:lvl5pPr>
              <a:defRPr spc="40" baseline="0"/>
            </a:lvl5pPr>
          </a:lstStyle>
          <a:p>
            <a:pPr lvl="0"/>
            <a:r>
              <a:rPr lang="nb-NO" noProof="0" dirty="0"/>
              <a:t>Klikk for å legge til navn, tittel, forretningsenhet og dato</a:t>
            </a:r>
            <a:endParaRPr lang="en-US" noProof="0" dirty="0"/>
          </a:p>
        </p:txBody>
      </p:sp>
      <p:sp>
        <p:nvSpPr>
          <p:cNvPr id="4" name="Logotype">
            <a:extLst>
              <a:ext uri="{FF2B5EF4-FFF2-40B4-BE49-F238E27FC236}">
                <a16:creationId xmlns:a16="http://schemas.microsoft.com/office/drawing/2014/main" id="{EF37D715-B503-2A34-5AA2-24648B73958A}"/>
              </a:ext>
            </a:extLst>
          </p:cNvPr>
          <p:cNvSpPr/>
          <p:nvPr/>
        </p:nvSpPr>
        <p:spPr>
          <a:xfrm>
            <a:off x="576139" y="356678"/>
            <a:ext cx="1060123" cy="157076"/>
          </a:xfrm>
          <a:custGeom>
            <a:avLst/>
            <a:gdLst>
              <a:gd name="connsiteX0" fmla="*/ 981639 w 1060123"/>
              <a:gd name="connsiteY0" fmla="*/ 32820 h 157076"/>
              <a:gd name="connsiteX1" fmla="*/ 961991 w 1060123"/>
              <a:gd name="connsiteY1" fmla="*/ 93059 h 157076"/>
              <a:gd name="connsiteX2" fmla="*/ 1001935 w 1060123"/>
              <a:gd name="connsiteY2" fmla="*/ 93059 h 157076"/>
              <a:gd name="connsiteX3" fmla="*/ 365214 w 1060123"/>
              <a:gd name="connsiteY3" fmla="*/ 32820 h 157076"/>
              <a:gd name="connsiteX4" fmla="*/ 345566 w 1060123"/>
              <a:gd name="connsiteY4" fmla="*/ 93059 h 157076"/>
              <a:gd name="connsiteX5" fmla="*/ 385509 w 1060123"/>
              <a:gd name="connsiteY5" fmla="*/ 93059 h 157076"/>
              <a:gd name="connsiteX6" fmla="*/ 957997 w 1060123"/>
              <a:gd name="connsiteY6" fmla="*/ 109 h 157076"/>
              <a:gd name="connsiteX7" fmla="*/ 1004202 w 1060123"/>
              <a:gd name="connsiteY7" fmla="*/ 109 h 157076"/>
              <a:gd name="connsiteX8" fmla="*/ 1060123 w 1060123"/>
              <a:gd name="connsiteY8" fmla="*/ 157076 h 157076"/>
              <a:gd name="connsiteX9" fmla="*/ 1022447 w 1060123"/>
              <a:gd name="connsiteY9" fmla="*/ 157076 h 157076"/>
              <a:gd name="connsiteX10" fmla="*/ 1012191 w 1060123"/>
              <a:gd name="connsiteY10" fmla="*/ 125013 h 157076"/>
              <a:gd name="connsiteX11" fmla="*/ 952059 w 1060123"/>
              <a:gd name="connsiteY11" fmla="*/ 125013 h 157076"/>
              <a:gd name="connsiteX12" fmla="*/ 942127 w 1060123"/>
              <a:gd name="connsiteY12" fmla="*/ 157076 h 157076"/>
              <a:gd name="connsiteX13" fmla="*/ 903803 w 1060123"/>
              <a:gd name="connsiteY13" fmla="*/ 157076 h 157076"/>
              <a:gd name="connsiteX14" fmla="*/ 664467 w 1060123"/>
              <a:gd name="connsiteY14" fmla="*/ 109 h 157076"/>
              <a:gd name="connsiteX15" fmla="*/ 738632 w 1060123"/>
              <a:gd name="connsiteY15" fmla="*/ 109 h 157076"/>
              <a:gd name="connsiteX16" fmla="*/ 738632 w 1060123"/>
              <a:gd name="connsiteY16" fmla="*/ 33251 h 157076"/>
              <a:gd name="connsiteX17" fmla="*/ 664467 w 1060123"/>
              <a:gd name="connsiteY17" fmla="*/ 33251 h 157076"/>
              <a:gd name="connsiteX18" fmla="*/ 649677 w 1060123"/>
              <a:gd name="connsiteY18" fmla="*/ 47825 h 157076"/>
              <a:gd name="connsiteX19" fmla="*/ 664467 w 1060123"/>
              <a:gd name="connsiteY19" fmla="*/ 62399 h 157076"/>
              <a:gd name="connsiteX20" fmla="*/ 707217 w 1060123"/>
              <a:gd name="connsiteY20" fmla="*/ 62399 h 157076"/>
              <a:gd name="connsiteX21" fmla="*/ 749643 w 1060123"/>
              <a:gd name="connsiteY21" fmla="*/ 108172 h 157076"/>
              <a:gd name="connsiteX22" fmla="*/ 700308 w 1060123"/>
              <a:gd name="connsiteY22" fmla="*/ 157076 h 157076"/>
              <a:gd name="connsiteX23" fmla="*/ 622148 w 1060123"/>
              <a:gd name="connsiteY23" fmla="*/ 157076 h 157076"/>
              <a:gd name="connsiteX24" fmla="*/ 622148 w 1060123"/>
              <a:gd name="connsiteY24" fmla="*/ 122746 h 157076"/>
              <a:gd name="connsiteX25" fmla="*/ 701603 w 1060123"/>
              <a:gd name="connsiteY25" fmla="*/ 122746 h 157076"/>
              <a:gd name="connsiteX26" fmla="*/ 715745 w 1060123"/>
              <a:gd name="connsiteY26" fmla="*/ 108172 h 157076"/>
              <a:gd name="connsiteX27" fmla="*/ 701603 w 1060123"/>
              <a:gd name="connsiteY27" fmla="*/ 93598 h 157076"/>
              <a:gd name="connsiteX28" fmla="*/ 664467 w 1060123"/>
              <a:gd name="connsiteY28" fmla="*/ 93598 h 157076"/>
              <a:gd name="connsiteX29" fmla="*/ 615779 w 1060123"/>
              <a:gd name="connsiteY29" fmla="*/ 47825 h 157076"/>
              <a:gd name="connsiteX30" fmla="*/ 664467 w 1060123"/>
              <a:gd name="connsiteY30" fmla="*/ 109 h 157076"/>
              <a:gd name="connsiteX31" fmla="*/ 457192 w 1060123"/>
              <a:gd name="connsiteY31" fmla="*/ 109 h 157076"/>
              <a:gd name="connsiteX32" fmla="*/ 494221 w 1060123"/>
              <a:gd name="connsiteY32" fmla="*/ 109 h 157076"/>
              <a:gd name="connsiteX33" fmla="*/ 557267 w 1060123"/>
              <a:gd name="connsiteY33" fmla="*/ 98780 h 157076"/>
              <a:gd name="connsiteX34" fmla="*/ 557267 w 1060123"/>
              <a:gd name="connsiteY34" fmla="*/ 109 h 157076"/>
              <a:gd name="connsiteX35" fmla="*/ 593432 w 1060123"/>
              <a:gd name="connsiteY35" fmla="*/ 109 h 157076"/>
              <a:gd name="connsiteX36" fmla="*/ 593648 w 1060123"/>
              <a:gd name="connsiteY36" fmla="*/ 123178 h 157076"/>
              <a:gd name="connsiteX37" fmla="*/ 593756 w 1060123"/>
              <a:gd name="connsiteY37" fmla="*/ 157076 h 157076"/>
              <a:gd name="connsiteX38" fmla="*/ 556080 w 1060123"/>
              <a:gd name="connsiteY38" fmla="*/ 157076 h 157076"/>
              <a:gd name="connsiteX39" fmla="*/ 556080 w 1060123"/>
              <a:gd name="connsiteY39" fmla="*/ 156752 h 157076"/>
              <a:gd name="connsiteX40" fmla="*/ 493573 w 1060123"/>
              <a:gd name="connsiteY40" fmla="*/ 60240 h 157076"/>
              <a:gd name="connsiteX41" fmla="*/ 493573 w 1060123"/>
              <a:gd name="connsiteY41" fmla="*/ 157076 h 157076"/>
              <a:gd name="connsiteX42" fmla="*/ 457192 w 1060123"/>
              <a:gd name="connsiteY42" fmla="*/ 157076 h 157076"/>
              <a:gd name="connsiteX43" fmla="*/ 341571 w 1060123"/>
              <a:gd name="connsiteY43" fmla="*/ 109 h 157076"/>
              <a:gd name="connsiteX44" fmla="*/ 387776 w 1060123"/>
              <a:gd name="connsiteY44" fmla="*/ 109 h 157076"/>
              <a:gd name="connsiteX45" fmla="*/ 443697 w 1060123"/>
              <a:gd name="connsiteY45" fmla="*/ 157076 h 157076"/>
              <a:gd name="connsiteX46" fmla="*/ 405913 w 1060123"/>
              <a:gd name="connsiteY46" fmla="*/ 157076 h 157076"/>
              <a:gd name="connsiteX47" fmla="*/ 395657 w 1060123"/>
              <a:gd name="connsiteY47" fmla="*/ 125013 h 157076"/>
              <a:gd name="connsiteX48" fmla="*/ 335526 w 1060123"/>
              <a:gd name="connsiteY48" fmla="*/ 125013 h 157076"/>
              <a:gd name="connsiteX49" fmla="*/ 325594 w 1060123"/>
              <a:gd name="connsiteY49" fmla="*/ 157076 h 157076"/>
              <a:gd name="connsiteX50" fmla="*/ 287270 w 1060123"/>
              <a:gd name="connsiteY50" fmla="*/ 157076 h 157076"/>
              <a:gd name="connsiteX51" fmla="*/ 48688 w 1060123"/>
              <a:gd name="connsiteY51" fmla="*/ 109 h 157076"/>
              <a:gd name="connsiteX52" fmla="*/ 122853 w 1060123"/>
              <a:gd name="connsiteY52" fmla="*/ 109 h 157076"/>
              <a:gd name="connsiteX53" fmla="*/ 122853 w 1060123"/>
              <a:gd name="connsiteY53" fmla="*/ 33251 h 157076"/>
              <a:gd name="connsiteX54" fmla="*/ 48688 w 1060123"/>
              <a:gd name="connsiteY54" fmla="*/ 33251 h 157076"/>
              <a:gd name="connsiteX55" fmla="*/ 33898 w 1060123"/>
              <a:gd name="connsiteY55" fmla="*/ 47825 h 157076"/>
              <a:gd name="connsiteX56" fmla="*/ 48688 w 1060123"/>
              <a:gd name="connsiteY56" fmla="*/ 62399 h 157076"/>
              <a:gd name="connsiteX57" fmla="*/ 91438 w 1060123"/>
              <a:gd name="connsiteY57" fmla="*/ 62399 h 157076"/>
              <a:gd name="connsiteX58" fmla="*/ 133756 w 1060123"/>
              <a:gd name="connsiteY58" fmla="*/ 108172 h 157076"/>
              <a:gd name="connsiteX59" fmla="*/ 84421 w 1060123"/>
              <a:gd name="connsiteY59" fmla="*/ 157076 h 157076"/>
              <a:gd name="connsiteX60" fmla="*/ 6261 w 1060123"/>
              <a:gd name="connsiteY60" fmla="*/ 157076 h 157076"/>
              <a:gd name="connsiteX61" fmla="*/ 6261 w 1060123"/>
              <a:gd name="connsiteY61" fmla="*/ 122746 h 157076"/>
              <a:gd name="connsiteX62" fmla="*/ 85824 w 1060123"/>
              <a:gd name="connsiteY62" fmla="*/ 122746 h 157076"/>
              <a:gd name="connsiteX63" fmla="*/ 99966 w 1060123"/>
              <a:gd name="connsiteY63" fmla="*/ 108172 h 157076"/>
              <a:gd name="connsiteX64" fmla="*/ 85824 w 1060123"/>
              <a:gd name="connsiteY64" fmla="*/ 93598 h 157076"/>
              <a:gd name="connsiteX65" fmla="*/ 48688 w 1060123"/>
              <a:gd name="connsiteY65" fmla="*/ 93598 h 157076"/>
              <a:gd name="connsiteX66" fmla="*/ 0 w 1060123"/>
              <a:gd name="connsiteY66" fmla="*/ 47825 h 157076"/>
              <a:gd name="connsiteX67" fmla="*/ 48688 w 1060123"/>
              <a:gd name="connsiteY67" fmla="*/ 109 h 157076"/>
              <a:gd name="connsiteX68" fmla="*/ 771342 w 1060123"/>
              <a:gd name="connsiteY68" fmla="*/ 0 h 157076"/>
              <a:gd name="connsiteX69" fmla="*/ 807615 w 1060123"/>
              <a:gd name="connsiteY69" fmla="*/ 0 h 157076"/>
              <a:gd name="connsiteX70" fmla="*/ 807615 w 1060123"/>
              <a:gd name="connsiteY70" fmla="*/ 66285 h 157076"/>
              <a:gd name="connsiteX71" fmla="*/ 859218 w 1060123"/>
              <a:gd name="connsiteY71" fmla="*/ 0 h 157076"/>
              <a:gd name="connsiteX72" fmla="*/ 901429 w 1060123"/>
              <a:gd name="connsiteY72" fmla="*/ 0 h 157076"/>
              <a:gd name="connsiteX73" fmla="*/ 842053 w 1060123"/>
              <a:gd name="connsiteY73" fmla="*/ 78592 h 157076"/>
              <a:gd name="connsiteX74" fmla="*/ 901429 w 1060123"/>
              <a:gd name="connsiteY74" fmla="*/ 157076 h 157076"/>
              <a:gd name="connsiteX75" fmla="*/ 859218 w 1060123"/>
              <a:gd name="connsiteY75" fmla="*/ 157076 h 157076"/>
              <a:gd name="connsiteX76" fmla="*/ 807615 w 1060123"/>
              <a:gd name="connsiteY76" fmla="*/ 90791 h 157076"/>
              <a:gd name="connsiteX77" fmla="*/ 807615 w 1060123"/>
              <a:gd name="connsiteY77" fmla="*/ 157076 h 157076"/>
              <a:gd name="connsiteX78" fmla="*/ 771342 w 1060123"/>
              <a:gd name="connsiteY78" fmla="*/ 157076 h 157076"/>
              <a:gd name="connsiteX79" fmla="*/ 154916 w 1060123"/>
              <a:gd name="connsiteY79" fmla="*/ 0 h 157076"/>
              <a:gd name="connsiteX80" fmla="*/ 191081 w 1060123"/>
              <a:gd name="connsiteY80" fmla="*/ 0 h 157076"/>
              <a:gd name="connsiteX81" fmla="*/ 191081 w 1060123"/>
              <a:gd name="connsiteY81" fmla="*/ 66285 h 157076"/>
              <a:gd name="connsiteX82" fmla="*/ 242684 w 1060123"/>
              <a:gd name="connsiteY82" fmla="*/ 0 h 157076"/>
              <a:gd name="connsiteX83" fmla="*/ 285003 w 1060123"/>
              <a:gd name="connsiteY83" fmla="*/ 0 h 157076"/>
              <a:gd name="connsiteX84" fmla="*/ 225519 w 1060123"/>
              <a:gd name="connsiteY84" fmla="*/ 78592 h 157076"/>
              <a:gd name="connsiteX85" fmla="*/ 285003 w 1060123"/>
              <a:gd name="connsiteY85" fmla="*/ 157076 h 157076"/>
              <a:gd name="connsiteX86" fmla="*/ 242684 w 1060123"/>
              <a:gd name="connsiteY86" fmla="*/ 157076 h 157076"/>
              <a:gd name="connsiteX87" fmla="*/ 191081 w 1060123"/>
              <a:gd name="connsiteY87" fmla="*/ 90791 h 157076"/>
              <a:gd name="connsiteX88" fmla="*/ 191081 w 1060123"/>
              <a:gd name="connsiteY88" fmla="*/ 157076 h 157076"/>
              <a:gd name="connsiteX89" fmla="*/ 154916 w 1060123"/>
              <a:gd name="connsiteY89" fmla="*/ 157076 h 157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060123" h="157076">
                <a:moveTo>
                  <a:pt x="981639" y="32820"/>
                </a:moveTo>
                <a:lnTo>
                  <a:pt x="961991" y="93059"/>
                </a:lnTo>
                <a:lnTo>
                  <a:pt x="1001935" y="93059"/>
                </a:lnTo>
                <a:close/>
                <a:moveTo>
                  <a:pt x="365214" y="32820"/>
                </a:moveTo>
                <a:lnTo>
                  <a:pt x="345566" y="93059"/>
                </a:lnTo>
                <a:lnTo>
                  <a:pt x="385509" y="93059"/>
                </a:lnTo>
                <a:close/>
                <a:moveTo>
                  <a:pt x="957997" y="109"/>
                </a:moveTo>
                <a:lnTo>
                  <a:pt x="1004202" y="109"/>
                </a:lnTo>
                <a:lnTo>
                  <a:pt x="1060123" y="157076"/>
                </a:lnTo>
                <a:lnTo>
                  <a:pt x="1022447" y="157076"/>
                </a:lnTo>
                <a:lnTo>
                  <a:pt x="1012191" y="125013"/>
                </a:lnTo>
                <a:lnTo>
                  <a:pt x="952059" y="125013"/>
                </a:lnTo>
                <a:lnTo>
                  <a:pt x="942127" y="157076"/>
                </a:lnTo>
                <a:lnTo>
                  <a:pt x="903803" y="157076"/>
                </a:lnTo>
                <a:close/>
                <a:moveTo>
                  <a:pt x="664467" y="109"/>
                </a:moveTo>
                <a:lnTo>
                  <a:pt x="738632" y="109"/>
                </a:lnTo>
                <a:lnTo>
                  <a:pt x="738632" y="33251"/>
                </a:lnTo>
                <a:lnTo>
                  <a:pt x="664467" y="33251"/>
                </a:lnTo>
                <a:cubicBezTo>
                  <a:pt x="654427" y="33251"/>
                  <a:pt x="649677" y="40160"/>
                  <a:pt x="649677" y="47825"/>
                </a:cubicBezTo>
                <a:cubicBezTo>
                  <a:pt x="649677" y="55490"/>
                  <a:pt x="654427" y="62399"/>
                  <a:pt x="664467" y="62399"/>
                </a:cubicBezTo>
                <a:lnTo>
                  <a:pt x="707217" y="62399"/>
                </a:lnTo>
                <a:cubicBezTo>
                  <a:pt x="731183" y="62399"/>
                  <a:pt x="749643" y="79456"/>
                  <a:pt x="749643" y="108172"/>
                </a:cubicBezTo>
                <a:cubicBezTo>
                  <a:pt x="749643" y="140019"/>
                  <a:pt x="731291" y="157076"/>
                  <a:pt x="700308" y="157076"/>
                </a:cubicBezTo>
                <a:lnTo>
                  <a:pt x="622148" y="157076"/>
                </a:lnTo>
                <a:lnTo>
                  <a:pt x="622148" y="122746"/>
                </a:lnTo>
                <a:lnTo>
                  <a:pt x="701603" y="122746"/>
                </a:lnTo>
                <a:cubicBezTo>
                  <a:pt x="710995" y="122746"/>
                  <a:pt x="715745" y="115837"/>
                  <a:pt x="715745" y="108172"/>
                </a:cubicBezTo>
                <a:cubicBezTo>
                  <a:pt x="715745" y="100723"/>
                  <a:pt x="710995" y="93598"/>
                  <a:pt x="701603" y="93598"/>
                </a:cubicBezTo>
                <a:lnTo>
                  <a:pt x="664467" y="93598"/>
                </a:lnTo>
                <a:cubicBezTo>
                  <a:pt x="637046" y="93598"/>
                  <a:pt x="615779" y="77837"/>
                  <a:pt x="615779" y="47825"/>
                </a:cubicBezTo>
                <a:cubicBezTo>
                  <a:pt x="615779" y="17814"/>
                  <a:pt x="634239" y="109"/>
                  <a:pt x="664467" y="109"/>
                </a:cubicBezTo>
                <a:close/>
                <a:moveTo>
                  <a:pt x="457192" y="109"/>
                </a:moveTo>
                <a:lnTo>
                  <a:pt x="494221" y="109"/>
                </a:lnTo>
                <a:lnTo>
                  <a:pt x="557267" y="98780"/>
                </a:lnTo>
                <a:lnTo>
                  <a:pt x="557267" y="109"/>
                </a:lnTo>
                <a:lnTo>
                  <a:pt x="593432" y="109"/>
                </a:lnTo>
                <a:lnTo>
                  <a:pt x="593648" y="123178"/>
                </a:lnTo>
                <a:lnTo>
                  <a:pt x="593756" y="157076"/>
                </a:lnTo>
                <a:lnTo>
                  <a:pt x="556080" y="157076"/>
                </a:lnTo>
                <a:lnTo>
                  <a:pt x="556080" y="156752"/>
                </a:lnTo>
                <a:lnTo>
                  <a:pt x="493573" y="60240"/>
                </a:lnTo>
                <a:lnTo>
                  <a:pt x="493573" y="157076"/>
                </a:lnTo>
                <a:lnTo>
                  <a:pt x="457192" y="157076"/>
                </a:lnTo>
                <a:close/>
                <a:moveTo>
                  <a:pt x="341571" y="109"/>
                </a:moveTo>
                <a:lnTo>
                  <a:pt x="387776" y="109"/>
                </a:lnTo>
                <a:lnTo>
                  <a:pt x="443697" y="157076"/>
                </a:lnTo>
                <a:lnTo>
                  <a:pt x="405913" y="157076"/>
                </a:lnTo>
                <a:lnTo>
                  <a:pt x="395657" y="125013"/>
                </a:lnTo>
                <a:lnTo>
                  <a:pt x="335526" y="125013"/>
                </a:lnTo>
                <a:lnTo>
                  <a:pt x="325594" y="157076"/>
                </a:lnTo>
                <a:lnTo>
                  <a:pt x="287270" y="157076"/>
                </a:lnTo>
                <a:close/>
                <a:moveTo>
                  <a:pt x="48688" y="109"/>
                </a:moveTo>
                <a:lnTo>
                  <a:pt x="122853" y="109"/>
                </a:lnTo>
                <a:lnTo>
                  <a:pt x="122853" y="33251"/>
                </a:lnTo>
                <a:lnTo>
                  <a:pt x="48688" y="33251"/>
                </a:lnTo>
                <a:cubicBezTo>
                  <a:pt x="38648" y="33251"/>
                  <a:pt x="33898" y="40160"/>
                  <a:pt x="33898" y="47825"/>
                </a:cubicBezTo>
                <a:cubicBezTo>
                  <a:pt x="33898" y="55490"/>
                  <a:pt x="38648" y="62399"/>
                  <a:pt x="48688" y="62399"/>
                </a:cubicBezTo>
                <a:lnTo>
                  <a:pt x="91438" y="62399"/>
                </a:lnTo>
                <a:cubicBezTo>
                  <a:pt x="115404" y="62399"/>
                  <a:pt x="133756" y="79456"/>
                  <a:pt x="133756" y="108172"/>
                </a:cubicBezTo>
                <a:cubicBezTo>
                  <a:pt x="133756" y="140019"/>
                  <a:pt x="115404" y="157076"/>
                  <a:pt x="84421" y="157076"/>
                </a:cubicBezTo>
                <a:lnTo>
                  <a:pt x="6261" y="157076"/>
                </a:lnTo>
                <a:lnTo>
                  <a:pt x="6261" y="122746"/>
                </a:lnTo>
                <a:lnTo>
                  <a:pt x="85824" y="122746"/>
                </a:lnTo>
                <a:cubicBezTo>
                  <a:pt x="95216" y="122746"/>
                  <a:pt x="99966" y="115837"/>
                  <a:pt x="99966" y="108172"/>
                </a:cubicBezTo>
                <a:cubicBezTo>
                  <a:pt x="99966" y="100723"/>
                  <a:pt x="95216" y="93598"/>
                  <a:pt x="85824" y="93598"/>
                </a:cubicBezTo>
                <a:lnTo>
                  <a:pt x="48688" y="93598"/>
                </a:lnTo>
                <a:cubicBezTo>
                  <a:pt x="21267" y="93598"/>
                  <a:pt x="0" y="77837"/>
                  <a:pt x="0" y="47825"/>
                </a:cubicBezTo>
                <a:cubicBezTo>
                  <a:pt x="0" y="17814"/>
                  <a:pt x="18352" y="109"/>
                  <a:pt x="48688" y="109"/>
                </a:cubicBezTo>
                <a:close/>
                <a:moveTo>
                  <a:pt x="771342" y="0"/>
                </a:moveTo>
                <a:lnTo>
                  <a:pt x="807615" y="0"/>
                </a:lnTo>
                <a:lnTo>
                  <a:pt x="807615" y="66285"/>
                </a:lnTo>
                <a:lnTo>
                  <a:pt x="859218" y="0"/>
                </a:lnTo>
                <a:lnTo>
                  <a:pt x="901429" y="0"/>
                </a:lnTo>
                <a:lnTo>
                  <a:pt x="842053" y="78592"/>
                </a:lnTo>
                <a:lnTo>
                  <a:pt x="901429" y="157076"/>
                </a:lnTo>
                <a:lnTo>
                  <a:pt x="859218" y="157076"/>
                </a:lnTo>
                <a:lnTo>
                  <a:pt x="807615" y="90791"/>
                </a:lnTo>
                <a:lnTo>
                  <a:pt x="807615" y="157076"/>
                </a:lnTo>
                <a:lnTo>
                  <a:pt x="771342" y="157076"/>
                </a:lnTo>
                <a:close/>
                <a:moveTo>
                  <a:pt x="154916" y="0"/>
                </a:moveTo>
                <a:lnTo>
                  <a:pt x="191081" y="0"/>
                </a:lnTo>
                <a:lnTo>
                  <a:pt x="191081" y="66285"/>
                </a:lnTo>
                <a:lnTo>
                  <a:pt x="242684" y="0"/>
                </a:lnTo>
                <a:lnTo>
                  <a:pt x="285003" y="0"/>
                </a:lnTo>
                <a:lnTo>
                  <a:pt x="225519" y="78592"/>
                </a:lnTo>
                <a:lnTo>
                  <a:pt x="285003" y="157076"/>
                </a:lnTo>
                <a:lnTo>
                  <a:pt x="242684" y="157076"/>
                </a:lnTo>
                <a:lnTo>
                  <a:pt x="191081" y="90791"/>
                </a:lnTo>
                <a:lnTo>
                  <a:pt x="191081" y="157076"/>
                </a:lnTo>
                <a:lnTo>
                  <a:pt x="154916" y="157076"/>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pic>
        <p:nvPicPr>
          <p:cNvPr id="3" name="Cut out">
            <a:extLst>
              <a:ext uri="{FF2B5EF4-FFF2-40B4-BE49-F238E27FC236}">
                <a16:creationId xmlns:a16="http://schemas.microsoft.com/office/drawing/2014/main" id="{3AEBADDD-1900-F249-8119-D21783D4285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423856"/>
            <a:ext cx="6105144" cy="3434144"/>
          </a:xfrm>
          <a:prstGeom prst="rect">
            <a:avLst/>
          </a:prstGeom>
        </p:spPr>
      </p:pic>
      <p:sp>
        <p:nvSpPr>
          <p:cNvPr id="14" name="Text Placeholder 4">
            <a:extLst>
              <a:ext uri="{FF2B5EF4-FFF2-40B4-BE49-F238E27FC236}">
                <a16:creationId xmlns:a16="http://schemas.microsoft.com/office/drawing/2014/main" id="{CC3C7BB9-3F20-C241-BDD4-EFCDD224BE0F}"/>
              </a:ext>
            </a:extLst>
          </p:cNvPr>
          <p:cNvSpPr>
            <a:spLocks noGrp="1"/>
          </p:cNvSpPr>
          <p:nvPr>
            <p:ph type="body" sz="quarter" idx="16" hasCustomPrompt="1"/>
          </p:nvPr>
        </p:nvSpPr>
        <p:spPr>
          <a:xfrm rot="5400000">
            <a:off x="9788686" y="1916687"/>
            <a:ext cx="4320000"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spTree>
    <p:extLst>
      <p:ext uri="{BB962C8B-B14F-4D97-AF65-F5344CB8AC3E}">
        <p14:creationId xmlns:p14="http://schemas.microsoft.com/office/powerpoint/2010/main" val="593711185"/>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 Start bilde bunn">
    <p:bg>
      <p:bgRef idx="1001">
        <a:schemeClr val="bg1"/>
      </p:bgRef>
    </p:bg>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EE6BDD26-0003-9E49-B5AA-0AFE38C202D5}"/>
              </a:ext>
            </a:extLst>
          </p:cNvPr>
          <p:cNvSpPr>
            <a:spLocks noGrp="1"/>
          </p:cNvSpPr>
          <p:nvPr>
            <p:ph type="pic" sz="quarter" idx="13" hasCustomPrompt="1"/>
          </p:nvPr>
        </p:nvSpPr>
        <p:spPr>
          <a:xfrm>
            <a:off x="5" y="3429000"/>
            <a:ext cx="12191997" cy="3429000"/>
          </a:xfrm>
          <a:custGeom>
            <a:avLst/>
            <a:gdLst>
              <a:gd name="connsiteX0" fmla="*/ 0 w 12191997"/>
              <a:gd name="connsiteY0" fmla="*/ 0 h 3429000"/>
              <a:gd name="connsiteX1" fmla="*/ 12191997 w 12191997"/>
              <a:gd name="connsiteY1" fmla="*/ 0 h 3429000"/>
              <a:gd name="connsiteX2" fmla="*/ 12191997 w 12191997"/>
              <a:gd name="connsiteY2" fmla="*/ 3429000 h 3429000"/>
              <a:gd name="connsiteX3" fmla="*/ 0 w 12191997"/>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12191997" h="3429000">
                <a:moveTo>
                  <a:pt x="0" y="0"/>
                </a:moveTo>
                <a:lnTo>
                  <a:pt x="12191997" y="0"/>
                </a:lnTo>
                <a:lnTo>
                  <a:pt x="12191997" y="3429000"/>
                </a:lnTo>
                <a:lnTo>
                  <a:pt x="0" y="3429000"/>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nb-NO" noProof="0" dirty="0"/>
              <a:t>Klikk på ikonet for å legge til et bilde</a:t>
            </a:r>
            <a:endParaRPr lang="en-US" noProof="0" dirty="0"/>
          </a:p>
        </p:txBody>
      </p:sp>
      <p:sp>
        <p:nvSpPr>
          <p:cNvPr id="2" name="Title 1">
            <a:extLst>
              <a:ext uri="{FF2B5EF4-FFF2-40B4-BE49-F238E27FC236}">
                <a16:creationId xmlns:a16="http://schemas.microsoft.com/office/drawing/2014/main" id="{59AB6B3D-9253-CEEC-560D-59EE9620AC11}"/>
              </a:ext>
            </a:extLst>
          </p:cNvPr>
          <p:cNvSpPr>
            <a:spLocks noGrp="1"/>
          </p:cNvSpPr>
          <p:nvPr>
            <p:ph type="title" hasCustomPrompt="1"/>
          </p:nvPr>
        </p:nvSpPr>
        <p:spPr>
          <a:xfrm>
            <a:off x="576000" y="1022400"/>
            <a:ext cx="5378400" cy="1069200"/>
          </a:xfrm>
        </p:spPr>
        <p:txBody>
          <a:bodyPr anchor="b"/>
          <a:lstStyle>
            <a:lvl1pPr>
              <a:defRPr sz="3200">
                <a:solidFill>
                  <a:schemeClr val="tx2"/>
                </a:solidFill>
              </a:defRPr>
            </a:lvl1pPr>
          </a:lstStyle>
          <a:p>
            <a:r>
              <a:rPr lang="nb-NO" dirty="0"/>
              <a:t>Klikk for å legge til en overskrift på maksimalt to linjer</a:t>
            </a:r>
            <a:endParaRPr lang="en-US" dirty="0"/>
          </a:p>
        </p:txBody>
      </p:sp>
      <p:sp>
        <p:nvSpPr>
          <p:cNvPr id="25" name="Text Placeholder 7">
            <a:extLst>
              <a:ext uri="{FF2B5EF4-FFF2-40B4-BE49-F238E27FC236}">
                <a16:creationId xmlns:a16="http://schemas.microsoft.com/office/drawing/2014/main" id="{011EC948-22C4-664E-98D2-87FDF8C22E1F}"/>
              </a:ext>
            </a:extLst>
          </p:cNvPr>
          <p:cNvSpPr>
            <a:spLocks noGrp="1"/>
          </p:cNvSpPr>
          <p:nvPr>
            <p:ph type="body" sz="quarter" idx="19" hasCustomPrompt="1"/>
          </p:nvPr>
        </p:nvSpPr>
        <p:spPr>
          <a:xfrm>
            <a:off x="586800" y="2228400"/>
            <a:ext cx="3758400" cy="766800"/>
          </a:xfrm>
        </p:spPr>
        <p:txBody>
          <a:bodyPr/>
          <a:lstStyle>
            <a:lvl1pPr marL="0" indent="0">
              <a:lnSpc>
                <a:spcPct val="100000"/>
              </a:lnSpc>
              <a:spcBef>
                <a:spcPts val="0"/>
              </a:spcBef>
              <a:spcAft>
                <a:spcPts val="0"/>
              </a:spcAft>
              <a:buNone/>
              <a:defRPr sz="1400" spc="70" baseline="0">
                <a:solidFill>
                  <a:schemeClr val="tx2"/>
                </a:solidFill>
              </a:defRPr>
            </a:lvl1pPr>
            <a:lvl2pPr>
              <a:lnSpc>
                <a:spcPct val="100000"/>
              </a:lnSpc>
              <a:spcBef>
                <a:spcPts val="0"/>
              </a:spcBef>
              <a:spcAft>
                <a:spcPts val="600"/>
              </a:spcAft>
              <a:defRPr spc="40" baseline="0"/>
            </a:lvl2pPr>
            <a:lvl3pPr>
              <a:defRPr spc="40" baseline="0"/>
            </a:lvl3pPr>
            <a:lvl4pPr>
              <a:defRPr spc="40" baseline="0"/>
            </a:lvl4pPr>
            <a:lvl5pPr>
              <a:defRPr spc="40" baseline="0"/>
            </a:lvl5pPr>
          </a:lstStyle>
          <a:p>
            <a:pPr lvl="0"/>
            <a:r>
              <a:rPr lang="nb-NO" noProof="0" dirty="0"/>
              <a:t>Klikk for å legge til navn, tittel, forretningsenhet og dato</a:t>
            </a:r>
            <a:endParaRPr lang="en-US" noProof="0" dirty="0"/>
          </a:p>
        </p:txBody>
      </p:sp>
      <p:sp>
        <p:nvSpPr>
          <p:cNvPr id="3" name="Logotype">
            <a:extLst>
              <a:ext uri="{FF2B5EF4-FFF2-40B4-BE49-F238E27FC236}">
                <a16:creationId xmlns:a16="http://schemas.microsoft.com/office/drawing/2014/main" id="{2A89BCEA-15DD-129D-08FC-E4BC135A9A98}"/>
              </a:ext>
            </a:extLst>
          </p:cNvPr>
          <p:cNvSpPr/>
          <p:nvPr/>
        </p:nvSpPr>
        <p:spPr>
          <a:xfrm>
            <a:off x="576139" y="356679"/>
            <a:ext cx="1060123" cy="157076"/>
          </a:xfrm>
          <a:custGeom>
            <a:avLst/>
            <a:gdLst>
              <a:gd name="connsiteX0" fmla="*/ 981639 w 1060123"/>
              <a:gd name="connsiteY0" fmla="*/ 32820 h 157076"/>
              <a:gd name="connsiteX1" fmla="*/ 961991 w 1060123"/>
              <a:gd name="connsiteY1" fmla="*/ 93059 h 157076"/>
              <a:gd name="connsiteX2" fmla="*/ 1001935 w 1060123"/>
              <a:gd name="connsiteY2" fmla="*/ 93059 h 157076"/>
              <a:gd name="connsiteX3" fmla="*/ 365214 w 1060123"/>
              <a:gd name="connsiteY3" fmla="*/ 32820 h 157076"/>
              <a:gd name="connsiteX4" fmla="*/ 345566 w 1060123"/>
              <a:gd name="connsiteY4" fmla="*/ 93059 h 157076"/>
              <a:gd name="connsiteX5" fmla="*/ 385509 w 1060123"/>
              <a:gd name="connsiteY5" fmla="*/ 93059 h 157076"/>
              <a:gd name="connsiteX6" fmla="*/ 957997 w 1060123"/>
              <a:gd name="connsiteY6" fmla="*/ 109 h 157076"/>
              <a:gd name="connsiteX7" fmla="*/ 1004202 w 1060123"/>
              <a:gd name="connsiteY7" fmla="*/ 109 h 157076"/>
              <a:gd name="connsiteX8" fmla="*/ 1060123 w 1060123"/>
              <a:gd name="connsiteY8" fmla="*/ 157076 h 157076"/>
              <a:gd name="connsiteX9" fmla="*/ 1022447 w 1060123"/>
              <a:gd name="connsiteY9" fmla="*/ 157076 h 157076"/>
              <a:gd name="connsiteX10" fmla="*/ 1012191 w 1060123"/>
              <a:gd name="connsiteY10" fmla="*/ 125013 h 157076"/>
              <a:gd name="connsiteX11" fmla="*/ 952059 w 1060123"/>
              <a:gd name="connsiteY11" fmla="*/ 125013 h 157076"/>
              <a:gd name="connsiteX12" fmla="*/ 942127 w 1060123"/>
              <a:gd name="connsiteY12" fmla="*/ 157076 h 157076"/>
              <a:gd name="connsiteX13" fmla="*/ 903803 w 1060123"/>
              <a:gd name="connsiteY13" fmla="*/ 157076 h 157076"/>
              <a:gd name="connsiteX14" fmla="*/ 664467 w 1060123"/>
              <a:gd name="connsiteY14" fmla="*/ 109 h 157076"/>
              <a:gd name="connsiteX15" fmla="*/ 738632 w 1060123"/>
              <a:gd name="connsiteY15" fmla="*/ 109 h 157076"/>
              <a:gd name="connsiteX16" fmla="*/ 738632 w 1060123"/>
              <a:gd name="connsiteY16" fmla="*/ 33251 h 157076"/>
              <a:gd name="connsiteX17" fmla="*/ 664467 w 1060123"/>
              <a:gd name="connsiteY17" fmla="*/ 33251 h 157076"/>
              <a:gd name="connsiteX18" fmla="*/ 649677 w 1060123"/>
              <a:gd name="connsiteY18" fmla="*/ 47825 h 157076"/>
              <a:gd name="connsiteX19" fmla="*/ 664467 w 1060123"/>
              <a:gd name="connsiteY19" fmla="*/ 62399 h 157076"/>
              <a:gd name="connsiteX20" fmla="*/ 707217 w 1060123"/>
              <a:gd name="connsiteY20" fmla="*/ 62399 h 157076"/>
              <a:gd name="connsiteX21" fmla="*/ 749643 w 1060123"/>
              <a:gd name="connsiteY21" fmla="*/ 108172 h 157076"/>
              <a:gd name="connsiteX22" fmla="*/ 700308 w 1060123"/>
              <a:gd name="connsiteY22" fmla="*/ 157076 h 157076"/>
              <a:gd name="connsiteX23" fmla="*/ 622148 w 1060123"/>
              <a:gd name="connsiteY23" fmla="*/ 157076 h 157076"/>
              <a:gd name="connsiteX24" fmla="*/ 622148 w 1060123"/>
              <a:gd name="connsiteY24" fmla="*/ 122746 h 157076"/>
              <a:gd name="connsiteX25" fmla="*/ 701603 w 1060123"/>
              <a:gd name="connsiteY25" fmla="*/ 122746 h 157076"/>
              <a:gd name="connsiteX26" fmla="*/ 715745 w 1060123"/>
              <a:gd name="connsiteY26" fmla="*/ 108172 h 157076"/>
              <a:gd name="connsiteX27" fmla="*/ 701603 w 1060123"/>
              <a:gd name="connsiteY27" fmla="*/ 93598 h 157076"/>
              <a:gd name="connsiteX28" fmla="*/ 664467 w 1060123"/>
              <a:gd name="connsiteY28" fmla="*/ 93598 h 157076"/>
              <a:gd name="connsiteX29" fmla="*/ 615779 w 1060123"/>
              <a:gd name="connsiteY29" fmla="*/ 47825 h 157076"/>
              <a:gd name="connsiteX30" fmla="*/ 664467 w 1060123"/>
              <a:gd name="connsiteY30" fmla="*/ 109 h 157076"/>
              <a:gd name="connsiteX31" fmla="*/ 457192 w 1060123"/>
              <a:gd name="connsiteY31" fmla="*/ 109 h 157076"/>
              <a:gd name="connsiteX32" fmla="*/ 494221 w 1060123"/>
              <a:gd name="connsiteY32" fmla="*/ 109 h 157076"/>
              <a:gd name="connsiteX33" fmla="*/ 557267 w 1060123"/>
              <a:gd name="connsiteY33" fmla="*/ 98780 h 157076"/>
              <a:gd name="connsiteX34" fmla="*/ 557267 w 1060123"/>
              <a:gd name="connsiteY34" fmla="*/ 109 h 157076"/>
              <a:gd name="connsiteX35" fmla="*/ 593432 w 1060123"/>
              <a:gd name="connsiteY35" fmla="*/ 109 h 157076"/>
              <a:gd name="connsiteX36" fmla="*/ 593648 w 1060123"/>
              <a:gd name="connsiteY36" fmla="*/ 123178 h 157076"/>
              <a:gd name="connsiteX37" fmla="*/ 593756 w 1060123"/>
              <a:gd name="connsiteY37" fmla="*/ 157076 h 157076"/>
              <a:gd name="connsiteX38" fmla="*/ 556079 w 1060123"/>
              <a:gd name="connsiteY38" fmla="*/ 157076 h 157076"/>
              <a:gd name="connsiteX39" fmla="*/ 556079 w 1060123"/>
              <a:gd name="connsiteY39" fmla="*/ 156752 h 157076"/>
              <a:gd name="connsiteX40" fmla="*/ 493573 w 1060123"/>
              <a:gd name="connsiteY40" fmla="*/ 60240 h 157076"/>
              <a:gd name="connsiteX41" fmla="*/ 493573 w 1060123"/>
              <a:gd name="connsiteY41" fmla="*/ 157076 h 157076"/>
              <a:gd name="connsiteX42" fmla="*/ 457192 w 1060123"/>
              <a:gd name="connsiteY42" fmla="*/ 157076 h 157076"/>
              <a:gd name="connsiteX43" fmla="*/ 341571 w 1060123"/>
              <a:gd name="connsiteY43" fmla="*/ 109 h 157076"/>
              <a:gd name="connsiteX44" fmla="*/ 387776 w 1060123"/>
              <a:gd name="connsiteY44" fmla="*/ 109 h 157076"/>
              <a:gd name="connsiteX45" fmla="*/ 443697 w 1060123"/>
              <a:gd name="connsiteY45" fmla="*/ 157076 h 157076"/>
              <a:gd name="connsiteX46" fmla="*/ 405913 w 1060123"/>
              <a:gd name="connsiteY46" fmla="*/ 157076 h 157076"/>
              <a:gd name="connsiteX47" fmla="*/ 395657 w 1060123"/>
              <a:gd name="connsiteY47" fmla="*/ 125013 h 157076"/>
              <a:gd name="connsiteX48" fmla="*/ 335526 w 1060123"/>
              <a:gd name="connsiteY48" fmla="*/ 125013 h 157076"/>
              <a:gd name="connsiteX49" fmla="*/ 325594 w 1060123"/>
              <a:gd name="connsiteY49" fmla="*/ 157076 h 157076"/>
              <a:gd name="connsiteX50" fmla="*/ 287270 w 1060123"/>
              <a:gd name="connsiteY50" fmla="*/ 157076 h 157076"/>
              <a:gd name="connsiteX51" fmla="*/ 48688 w 1060123"/>
              <a:gd name="connsiteY51" fmla="*/ 109 h 157076"/>
              <a:gd name="connsiteX52" fmla="*/ 122853 w 1060123"/>
              <a:gd name="connsiteY52" fmla="*/ 109 h 157076"/>
              <a:gd name="connsiteX53" fmla="*/ 122853 w 1060123"/>
              <a:gd name="connsiteY53" fmla="*/ 33251 h 157076"/>
              <a:gd name="connsiteX54" fmla="*/ 48688 w 1060123"/>
              <a:gd name="connsiteY54" fmla="*/ 33251 h 157076"/>
              <a:gd name="connsiteX55" fmla="*/ 33898 w 1060123"/>
              <a:gd name="connsiteY55" fmla="*/ 47825 h 157076"/>
              <a:gd name="connsiteX56" fmla="*/ 48688 w 1060123"/>
              <a:gd name="connsiteY56" fmla="*/ 62399 h 157076"/>
              <a:gd name="connsiteX57" fmla="*/ 91438 w 1060123"/>
              <a:gd name="connsiteY57" fmla="*/ 62399 h 157076"/>
              <a:gd name="connsiteX58" fmla="*/ 133756 w 1060123"/>
              <a:gd name="connsiteY58" fmla="*/ 108172 h 157076"/>
              <a:gd name="connsiteX59" fmla="*/ 84421 w 1060123"/>
              <a:gd name="connsiteY59" fmla="*/ 157076 h 157076"/>
              <a:gd name="connsiteX60" fmla="*/ 6261 w 1060123"/>
              <a:gd name="connsiteY60" fmla="*/ 157076 h 157076"/>
              <a:gd name="connsiteX61" fmla="*/ 6261 w 1060123"/>
              <a:gd name="connsiteY61" fmla="*/ 122746 h 157076"/>
              <a:gd name="connsiteX62" fmla="*/ 85824 w 1060123"/>
              <a:gd name="connsiteY62" fmla="*/ 122746 h 157076"/>
              <a:gd name="connsiteX63" fmla="*/ 99966 w 1060123"/>
              <a:gd name="connsiteY63" fmla="*/ 108172 h 157076"/>
              <a:gd name="connsiteX64" fmla="*/ 85824 w 1060123"/>
              <a:gd name="connsiteY64" fmla="*/ 93598 h 157076"/>
              <a:gd name="connsiteX65" fmla="*/ 48688 w 1060123"/>
              <a:gd name="connsiteY65" fmla="*/ 93598 h 157076"/>
              <a:gd name="connsiteX66" fmla="*/ 0 w 1060123"/>
              <a:gd name="connsiteY66" fmla="*/ 47825 h 157076"/>
              <a:gd name="connsiteX67" fmla="*/ 48688 w 1060123"/>
              <a:gd name="connsiteY67" fmla="*/ 109 h 157076"/>
              <a:gd name="connsiteX68" fmla="*/ 771342 w 1060123"/>
              <a:gd name="connsiteY68" fmla="*/ 0 h 157076"/>
              <a:gd name="connsiteX69" fmla="*/ 807615 w 1060123"/>
              <a:gd name="connsiteY69" fmla="*/ 0 h 157076"/>
              <a:gd name="connsiteX70" fmla="*/ 807615 w 1060123"/>
              <a:gd name="connsiteY70" fmla="*/ 66285 h 157076"/>
              <a:gd name="connsiteX71" fmla="*/ 859218 w 1060123"/>
              <a:gd name="connsiteY71" fmla="*/ 0 h 157076"/>
              <a:gd name="connsiteX72" fmla="*/ 901429 w 1060123"/>
              <a:gd name="connsiteY72" fmla="*/ 0 h 157076"/>
              <a:gd name="connsiteX73" fmla="*/ 842053 w 1060123"/>
              <a:gd name="connsiteY73" fmla="*/ 78592 h 157076"/>
              <a:gd name="connsiteX74" fmla="*/ 901429 w 1060123"/>
              <a:gd name="connsiteY74" fmla="*/ 157076 h 157076"/>
              <a:gd name="connsiteX75" fmla="*/ 859218 w 1060123"/>
              <a:gd name="connsiteY75" fmla="*/ 157076 h 157076"/>
              <a:gd name="connsiteX76" fmla="*/ 807615 w 1060123"/>
              <a:gd name="connsiteY76" fmla="*/ 90791 h 157076"/>
              <a:gd name="connsiteX77" fmla="*/ 807615 w 1060123"/>
              <a:gd name="connsiteY77" fmla="*/ 157076 h 157076"/>
              <a:gd name="connsiteX78" fmla="*/ 771342 w 1060123"/>
              <a:gd name="connsiteY78" fmla="*/ 157076 h 157076"/>
              <a:gd name="connsiteX79" fmla="*/ 154916 w 1060123"/>
              <a:gd name="connsiteY79" fmla="*/ 0 h 157076"/>
              <a:gd name="connsiteX80" fmla="*/ 191081 w 1060123"/>
              <a:gd name="connsiteY80" fmla="*/ 0 h 157076"/>
              <a:gd name="connsiteX81" fmla="*/ 191081 w 1060123"/>
              <a:gd name="connsiteY81" fmla="*/ 66285 h 157076"/>
              <a:gd name="connsiteX82" fmla="*/ 242684 w 1060123"/>
              <a:gd name="connsiteY82" fmla="*/ 0 h 157076"/>
              <a:gd name="connsiteX83" fmla="*/ 285003 w 1060123"/>
              <a:gd name="connsiteY83" fmla="*/ 0 h 157076"/>
              <a:gd name="connsiteX84" fmla="*/ 225519 w 1060123"/>
              <a:gd name="connsiteY84" fmla="*/ 78592 h 157076"/>
              <a:gd name="connsiteX85" fmla="*/ 285003 w 1060123"/>
              <a:gd name="connsiteY85" fmla="*/ 157076 h 157076"/>
              <a:gd name="connsiteX86" fmla="*/ 242684 w 1060123"/>
              <a:gd name="connsiteY86" fmla="*/ 157076 h 157076"/>
              <a:gd name="connsiteX87" fmla="*/ 191081 w 1060123"/>
              <a:gd name="connsiteY87" fmla="*/ 90791 h 157076"/>
              <a:gd name="connsiteX88" fmla="*/ 191081 w 1060123"/>
              <a:gd name="connsiteY88" fmla="*/ 157076 h 157076"/>
              <a:gd name="connsiteX89" fmla="*/ 154916 w 1060123"/>
              <a:gd name="connsiteY89" fmla="*/ 157076 h 157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060123" h="157076">
                <a:moveTo>
                  <a:pt x="981639" y="32820"/>
                </a:moveTo>
                <a:lnTo>
                  <a:pt x="961991" y="93059"/>
                </a:lnTo>
                <a:lnTo>
                  <a:pt x="1001935" y="93059"/>
                </a:lnTo>
                <a:close/>
                <a:moveTo>
                  <a:pt x="365214" y="32820"/>
                </a:moveTo>
                <a:lnTo>
                  <a:pt x="345566" y="93059"/>
                </a:lnTo>
                <a:lnTo>
                  <a:pt x="385509" y="93059"/>
                </a:lnTo>
                <a:close/>
                <a:moveTo>
                  <a:pt x="957997" y="109"/>
                </a:moveTo>
                <a:lnTo>
                  <a:pt x="1004202" y="109"/>
                </a:lnTo>
                <a:lnTo>
                  <a:pt x="1060123" y="157076"/>
                </a:lnTo>
                <a:lnTo>
                  <a:pt x="1022447" y="157076"/>
                </a:lnTo>
                <a:lnTo>
                  <a:pt x="1012191" y="125013"/>
                </a:lnTo>
                <a:lnTo>
                  <a:pt x="952059" y="125013"/>
                </a:lnTo>
                <a:lnTo>
                  <a:pt x="942127" y="157076"/>
                </a:lnTo>
                <a:lnTo>
                  <a:pt x="903803" y="157076"/>
                </a:lnTo>
                <a:close/>
                <a:moveTo>
                  <a:pt x="664467" y="109"/>
                </a:moveTo>
                <a:lnTo>
                  <a:pt x="738632" y="109"/>
                </a:lnTo>
                <a:lnTo>
                  <a:pt x="738632" y="33251"/>
                </a:lnTo>
                <a:lnTo>
                  <a:pt x="664467" y="33251"/>
                </a:lnTo>
                <a:cubicBezTo>
                  <a:pt x="654427" y="33251"/>
                  <a:pt x="649677" y="40160"/>
                  <a:pt x="649677" y="47825"/>
                </a:cubicBezTo>
                <a:cubicBezTo>
                  <a:pt x="649677" y="55490"/>
                  <a:pt x="654427" y="62399"/>
                  <a:pt x="664467" y="62399"/>
                </a:cubicBezTo>
                <a:lnTo>
                  <a:pt x="707217" y="62399"/>
                </a:lnTo>
                <a:cubicBezTo>
                  <a:pt x="731183" y="62399"/>
                  <a:pt x="749643" y="79456"/>
                  <a:pt x="749643" y="108172"/>
                </a:cubicBezTo>
                <a:cubicBezTo>
                  <a:pt x="749643" y="140019"/>
                  <a:pt x="731291" y="157076"/>
                  <a:pt x="700308" y="157076"/>
                </a:cubicBezTo>
                <a:lnTo>
                  <a:pt x="622148" y="157076"/>
                </a:lnTo>
                <a:lnTo>
                  <a:pt x="622148" y="122746"/>
                </a:lnTo>
                <a:lnTo>
                  <a:pt x="701603" y="122746"/>
                </a:lnTo>
                <a:cubicBezTo>
                  <a:pt x="710995" y="122746"/>
                  <a:pt x="715745" y="115837"/>
                  <a:pt x="715745" y="108172"/>
                </a:cubicBezTo>
                <a:cubicBezTo>
                  <a:pt x="715745" y="100723"/>
                  <a:pt x="710995" y="93598"/>
                  <a:pt x="701603" y="93598"/>
                </a:cubicBezTo>
                <a:lnTo>
                  <a:pt x="664467" y="93598"/>
                </a:lnTo>
                <a:cubicBezTo>
                  <a:pt x="637046" y="93598"/>
                  <a:pt x="615779" y="77837"/>
                  <a:pt x="615779" y="47825"/>
                </a:cubicBezTo>
                <a:cubicBezTo>
                  <a:pt x="615779" y="17814"/>
                  <a:pt x="634239" y="109"/>
                  <a:pt x="664467" y="109"/>
                </a:cubicBezTo>
                <a:close/>
                <a:moveTo>
                  <a:pt x="457192" y="109"/>
                </a:moveTo>
                <a:lnTo>
                  <a:pt x="494221" y="109"/>
                </a:lnTo>
                <a:lnTo>
                  <a:pt x="557267" y="98780"/>
                </a:lnTo>
                <a:lnTo>
                  <a:pt x="557267" y="109"/>
                </a:lnTo>
                <a:lnTo>
                  <a:pt x="593432" y="109"/>
                </a:lnTo>
                <a:lnTo>
                  <a:pt x="593648" y="123178"/>
                </a:lnTo>
                <a:lnTo>
                  <a:pt x="593756" y="157076"/>
                </a:lnTo>
                <a:lnTo>
                  <a:pt x="556079" y="157076"/>
                </a:lnTo>
                <a:lnTo>
                  <a:pt x="556079" y="156752"/>
                </a:lnTo>
                <a:lnTo>
                  <a:pt x="493573" y="60240"/>
                </a:lnTo>
                <a:lnTo>
                  <a:pt x="493573" y="157076"/>
                </a:lnTo>
                <a:lnTo>
                  <a:pt x="457192" y="157076"/>
                </a:lnTo>
                <a:close/>
                <a:moveTo>
                  <a:pt x="341571" y="109"/>
                </a:moveTo>
                <a:lnTo>
                  <a:pt x="387776" y="109"/>
                </a:lnTo>
                <a:lnTo>
                  <a:pt x="443697" y="157076"/>
                </a:lnTo>
                <a:lnTo>
                  <a:pt x="405913" y="157076"/>
                </a:lnTo>
                <a:lnTo>
                  <a:pt x="395657" y="125013"/>
                </a:lnTo>
                <a:lnTo>
                  <a:pt x="335526" y="125013"/>
                </a:lnTo>
                <a:lnTo>
                  <a:pt x="325594" y="157076"/>
                </a:lnTo>
                <a:lnTo>
                  <a:pt x="287270" y="157076"/>
                </a:lnTo>
                <a:close/>
                <a:moveTo>
                  <a:pt x="48688" y="109"/>
                </a:moveTo>
                <a:lnTo>
                  <a:pt x="122853" y="109"/>
                </a:lnTo>
                <a:lnTo>
                  <a:pt x="122853" y="33251"/>
                </a:lnTo>
                <a:lnTo>
                  <a:pt x="48688" y="33251"/>
                </a:lnTo>
                <a:cubicBezTo>
                  <a:pt x="38648" y="33251"/>
                  <a:pt x="33898" y="40160"/>
                  <a:pt x="33898" y="47825"/>
                </a:cubicBezTo>
                <a:cubicBezTo>
                  <a:pt x="33898" y="55490"/>
                  <a:pt x="38648" y="62399"/>
                  <a:pt x="48688" y="62399"/>
                </a:cubicBezTo>
                <a:lnTo>
                  <a:pt x="91438" y="62399"/>
                </a:lnTo>
                <a:cubicBezTo>
                  <a:pt x="115404" y="62399"/>
                  <a:pt x="133756" y="79456"/>
                  <a:pt x="133756" y="108172"/>
                </a:cubicBezTo>
                <a:cubicBezTo>
                  <a:pt x="133756" y="140019"/>
                  <a:pt x="115404" y="157076"/>
                  <a:pt x="84421" y="157076"/>
                </a:cubicBezTo>
                <a:lnTo>
                  <a:pt x="6261" y="157076"/>
                </a:lnTo>
                <a:lnTo>
                  <a:pt x="6261" y="122746"/>
                </a:lnTo>
                <a:lnTo>
                  <a:pt x="85824" y="122746"/>
                </a:lnTo>
                <a:cubicBezTo>
                  <a:pt x="95216" y="122746"/>
                  <a:pt x="99966" y="115837"/>
                  <a:pt x="99966" y="108172"/>
                </a:cubicBezTo>
                <a:cubicBezTo>
                  <a:pt x="99966" y="100723"/>
                  <a:pt x="95216" y="93598"/>
                  <a:pt x="85824" y="93598"/>
                </a:cubicBezTo>
                <a:lnTo>
                  <a:pt x="48688" y="93598"/>
                </a:lnTo>
                <a:cubicBezTo>
                  <a:pt x="21267" y="93598"/>
                  <a:pt x="0" y="77837"/>
                  <a:pt x="0" y="47825"/>
                </a:cubicBezTo>
                <a:cubicBezTo>
                  <a:pt x="0" y="17814"/>
                  <a:pt x="18352" y="109"/>
                  <a:pt x="48688" y="109"/>
                </a:cubicBezTo>
                <a:close/>
                <a:moveTo>
                  <a:pt x="771342" y="0"/>
                </a:moveTo>
                <a:lnTo>
                  <a:pt x="807615" y="0"/>
                </a:lnTo>
                <a:lnTo>
                  <a:pt x="807615" y="66285"/>
                </a:lnTo>
                <a:lnTo>
                  <a:pt x="859218" y="0"/>
                </a:lnTo>
                <a:lnTo>
                  <a:pt x="901429" y="0"/>
                </a:lnTo>
                <a:lnTo>
                  <a:pt x="842053" y="78592"/>
                </a:lnTo>
                <a:lnTo>
                  <a:pt x="901429" y="157076"/>
                </a:lnTo>
                <a:lnTo>
                  <a:pt x="859218" y="157076"/>
                </a:lnTo>
                <a:lnTo>
                  <a:pt x="807615" y="90791"/>
                </a:lnTo>
                <a:lnTo>
                  <a:pt x="807615" y="157076"/>
                </a:lnTo>
                <a:lnTo>
                  <a:pt x="771342" y="157076"/>
                </a:lnTo>
                <a:close/>
                <a:moveTo>
                  <a:pt x="154916" y="0"/>
                </a:moveTo>
                <a:lnTo>
                  <a:pt x="191081" y="0"/>
                </a:lnTo>
                <a:lnTo>
                  <a:pt x="191081" y="66285"/>
                </a:lnTo>
                <a:lnTo>
                  <a:pt x="242684" y="0"/>
                </a:lnTo>
                <a:lnTo>
                  <a:pt x="285003" y="0"/>
                </a:lnTo>
                <a:lnTo>
                  <a:pt x="225519" y="78592"/>
                </a:lnTo>
                <a:lnTo>
                  <a:pt x="285003" y="157076"/>
                </a:lnTo>
                <a:lnTo>
                  <a:pt x="242684" y="157076"/>
                </a:lnTo>
                <a:lnTo>
                  <a:pt x="191081" y="90791"/>
                </a:lnTo>
                <a:lnTo>
                  <a:pt x="191081" y="157076"/>
                </a:lnTo>
                <a:lnTo>
                  <a:pt x="154916" y="157076"/>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pic>
        <p:nvPicPr>
          <p:cNvPr id="14" name="Cut out">
            <a:extLst>
              <a:ext uri="{FF2B5EF4-FFF2-40B4-BE49-F238E27FC236}">
                <a16:creationId xmlns:a16="http://schemas.microsoft.com/office/drawing/2014/main" id="{8B1C15A7-918F-AF40-BCEC-CCE1BABA9F7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96000" y="0"/>
            <a:ext cx="6096000" cy="3429000"/>
          </a:xfrm>
          <a:prstGeom prst="rect">
            <a:avLst/>
          </a:prstGeom>
        </p:spPr>
      </p:pic>
      <p:sp>
        <p:nvSpPr>
          <p:cNvPr id="16" name="Text Placeholder 4">
            <a:extLst>
              <a:ext uri="{FF2B5EF4-FFF2-40B4-BE49-F238E27FC236}">
                <a16:creationId xmlns:a16="http://schemas.microsoft.com/office/drawing/2014/main" id="{0D8979E1-21E0-C04D-9C4F-75E1638A4C46}"/>
              </a:ext>
            </a:extLst>
          </p:cNvPr>
          <p:cNvSpPr>
            <a:spLocks noGrp="1"/>
          </p:cNvSpPr>
          <p:nvPr>
            <p:ph type="body" sz="quarter" idx="16" hasCustomPrompt="1"/>
          </p:nvPr>
        </p:nvSpPr>
        <p:spPr>
          <a:xfrm rot="5400000">
            <a:off x="10901730" y="4232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spTree>
    <p:extLst>
      <p:ext uri="{BB962C8B-B14F-4D97-AF65-F5344CB8AC3E}">
        <p14:creationId xmlns:p14="http://schemas.microsoft.com/office/powerpoint/2010/main" val="1818788120"/>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Startslide Grafisk/bilde">
    <p:spTree>
      <p:nvGrpSpPr>
        <p:cNvPr id="1" name=""/>
        <p:cNvGrpSpPr/>
        <p:nvPr/>
      </p:nvGrpSpPr>
      <p:grpSpPr>
        <a:xfrm>
          <a:off x="0" y="0"/>
          <a:ext cx="0" cy="0"/>
          <a:chOff x="0" y="0"/>
          <a:chExt cx="0" cy="0"/>
        </a:xfrm>
      </p:grpSpPr>
      <p:sp>
        <p:nvSpPr>
          <p:cNvPr id="11" name="Picture Placeholder 1">
            <a:extLst>
              <a:ext uri="{FF2B5EF4-FFF2-40B4-BE49-F238E27FC236}">
                <a16:creationId xmlns:a16="http://schemas.microsoft.com/office/drawing/2014/main" id="{83718FC5-379A-3343-904E-06A5A117D84C}"/>
              </a:ext>
            </a:extLst>
          </p:cNvPr>
          <p:cNvSpPr>
            <a:spLocks noGrp="1"/>
          </p:cNvSpPr>
          <p:nvPr>
            <p:ph type="pic" sz="quarter" idx="18" hasCustomPrompt="1"/>
          </p:nvPr>
        </p:nvSpPr>
        <p:spPr>
          <a:xfrm>
            <a:off x="6094413" y="0"/>
            <a:ext cx="6097587" cy="6857997"/>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nb-NO" noProof="0" dirty="0"/>
              <a:t>Klikk på ikonet for å legge til et bilde</a:t>
            </a:r>
            <a:endParaRPr lang="en-US" noProof="0" dirty="0"/>
          </a:p>
        </p:txBody>
      </p:sp>
      <p:sp>
        <p:nvSpPr>
          <p:cNvPr id="3" name="Rectangle 2">
            <a:extLst>
              <a:ext uri="{FF2B5EF4-FFF2-40B4-BE49-F238E27FC236}">
                <a16:creationId xmlns:a16="http://schemas.microsoft.com/office/drawing/2014/main" id="{7ABD8C07-48FE-CE42-BAC1-8E71230A09D6}"/>
              </a:ext>
            </a:extLst>
          </p:cNvPr>
          <p:cNvSpPr/>
          <p:nvPr userDrawn="1"/>
        </p:nvSpPr>
        <p:spPr>
          <a:xfrm>
            <a:off x="0" y="0"/>
            <a:ext cx="6096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3">
            <a:extLst>
              <a:ext uri="{FF2B5EF4-FFF2-40B4-BE49-F238E27FC236}">
                <a16:creationId xmlns:a16="http://schemas.microsoft.com/office/drawing/2014/main" id="{C00EA643-94BE-9825-451D-B46E4534A6E3}"/>
              </a:ext>
            </a:extLst>
          </p:cNvPr>
          <p:cNvSpPr>
            <a:spLocks noGrp="1"/>
          </p:cNvSpPr>
          <p:nvPr>
            <p:ph type="title" hasCustomPrompt="1"/>
          </p:nvPr>
        </p:nvSpPr>
        <p:spPr>
          <a:xfrm>
            <a:off x="576001" y="1022400"/>
            <a:ext cx="5088820" cy="1069200"/>
          </a:xfrm>
        </p:spPr>
        <p:txBody>
          <a:bodyPr anchor="b"/>
          <a:lstStyle>
            <a:lvl1pPr>
              <a:lnSpc>
                <a:spcPct val="85000"/>
              </a:lnSpc>
              <a:defRPr sz="2800" spc="40" baseline="0">
                <a:solidFill>
                  <a:schemeClr val="tx2"/>
                </a:solidFill>
              </a:defRPr>
            </a:lvl1pPr>
          </a:lstStyle>
          <a:p>
            <a:r>
              <a:rPr lang="nb-NO" dirty="0"/>
              <a:t>Klikk for å legge til en overskrift på maksimalt to linjer</a:t>
            </a:r>
            <a:endParaRPr lang="en-US" dirty="0"/>
          </a:p>
        </p:txBody>
      </p:sp>
      <p:sp>
        <p:nvSpPr>
          <p:cNvPr id="20" name="Text Placeholder 4">
            <a:extLst>
              <a:ext uri="{FF2B5EF4-FFF2-40B4-BE49-F238E27FC236}">
                <a16:creationId xmlns:a16="http://schemas.microsoft.com/office/drawing/2014/main" id="{01A6A6FB-6FA2-F143-90DF-C849DA3D5701}"/>
              </a:ext>
            </a:extLst>
          </p:cNvPr>
          <p:cNvSpPr>
            <a:spLocks noGrp="1"/>
          </p:cNvSpPr>
          <p:nvPr>
            <p:ph type="body" sz="quarter" idx="15" hasCustomPrompt="1"/>
          </p:nvPr>
        </p:nvSpPr>
        <p:spPr>
          <a:xfrm>
            <a:off x="588222" y="2228854"/>
            <a:ext cx="3755854" cy="771519"/>
          </a:xfrm>
          <a:prstGeom prst="rect">
            <a:avLst/>
          </a:prstGeom>
        </p:spPr>
        <p:txBody>
          <a:bodyPr anchor="t">
            <a:noAutofit/>
          </a:bodyPr>
          <a:lstStyle>
            <a:lvl1pPr marL="0" indent="0">
              <a:lnSpc>
                <a:spcPct val="100000"/>
              </a:lnSpc>
              <a:spcBef>
                <a:spcPts val="0"/>
              </a:spcBef>
              <a:buNone/>
              <a:defRPr sz="1400" spc="70" baseline="0">
                <a:solidFill>
                  <a:schemeClr val="tx2"/>
                </a:solidFill>
              </a:defRPr>
            </a:lvl1pPr>
          </a:lstStyle>
          <a:p>
            <a:pPr lvl="0"/>
            <a:r>
              <a:rPr lang="nb-NO" dirty="0"/>
              <a:t>Klikk for å legge til navn, tittel, Forretningsenhet og dato</a:t>
            </a:r>
            <a:endParaRPr lang="en-GB" dirty="0"/>
          </a:p>
        </p:txBody>
      </p:sp>
      <p:sp>
        <p:nvSpPr>
          <p:cNvPr id="16" name="Project Text Placeholder 5">
            <a:extLst>
              <a:ext uri="{FF2B5EF4-FFF2-40B4-BE49-F238E27FC236}">
                <a16:creationId xmlns:a16="http://schemas.microsoft.com/office/drawing/2014/main" id="{2E3C9CEE-5237-A84E-AB7E-0657C69C9212}"/>
              </a:ext>
            </a:extLst>
          </p:cNvPr>
          <p:cNvSpPr>
            <a:spLocks noGrp="1"/>
          </p:cNvSpPr>
          <p:nvPr>
            <p:ph type="body" sz="quarter" idx="19" hasCustomPrompt="1"/>
          </p:nvPr>
        </p:nvSpPr>
        <p:spPr>
          <a:xfrm rot="5400000">
            <a:off x="9788686" y="1916687"/>
            <a:ext cx="4320000"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pic>
        <p:nvPicPr>
          <p:cNvPr id="4" name="Outcut ">
            <a:extLst>
              <a:ext uri="{FF2B5EF4-FFF2-40B4-BE49-F238E27FC236}">
                <a16:creationId xmlns:a16="http://schemas.microsoft.com/office/drawing/2014/main" id="{5C1AE774-2D36-A94D-AAEE-5D6B6412685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429892"/>
            <a:ext cx="6094413" cy="3428107"/>
          </a:xfrm>
          <a:prstGeom prst="rect">
            <a:avLst/>
          </a:prstGeom>
        </p:spPr>
      </p:pic>
      <p:sp>
        <p:nvSpPr>
          <p:cNvPr id="2" name="Logotype">
            <a:extLst>
              <a:ext uri="{FF2B5EF4-FFF2-40B4-BE49-F238E27FC236}">
                <a16:creationId xmlns:a16="http://schemas.microsoft.com/office/drawing/2014/main" id="{CD627662-B06A-CC7F-35DE-69FEA422B3F6}"/>
              </a:ext>
            </a:extLst>
          </p:cNvPr>
          <p:cNvSpPr/>
          <p:nvPr/>
        </p:nvSpPr>
        <p:spPr>
          <a:xfrm>
            <a:off x="576139" y="356679"/>
            <a:ext cx="1060123" cy="157076"/>
          </a:xfrm>
          <a:custGeom>
            <a:avLst/>
            <a:gdLst>
              <a:gd name="connsiteX0" fmla="*/ 981639 w 1060123"/>
              <a:gd name="connsiteY0" fmla="*/ 32820 h 157076"/>
              <a:gd name="connsiteX1" fmla="*/ 961991 w 1060123"/>
              <a:gd name="connsiteY1" fmla="*/ 93059 h 157076"/>
              <a:gd name="connsiteX2" fmla="*/ 1001935 w 1060123"/>
              <a:gd name="connsiteY2" fmla="*/ 93059 h 157076"/>
              <a:gd name="connsiteX3" fmla="*/ 365214 w 1060123"/>
              <a:gd name="connsiteY3" fmla="*/ 32820 h 157076"/>
              <a:gd name="connsiteX4" fmla="*/ 345566 w 1060123"/>
              <a:gd name="connsiteY4" fmla="*/ 93059 h 157076"/>
              <a:gd name="connsiteX5" fmla="*/ 385509 w 1060123"/>
              <a:gd name="connsiteY5" fmla="*/ 93059 h 157076"/>
              <a:gd name="connsiteX6" fmla="*/ 957997 w 1060123"/>
              <a:gd name="connsiteY6" fmla="*/ 109 h 157076"/>
              <a:gd name="connsiteX7" fmla="*/ 1004202 w 1060123"/>
              <a:gd name="connsiteY7" fmla="*/ 109 h 157076"/>
              <a:gd name="connsiteX8" fmla="*/ 1060123 w 1060123"/>
              <a:gd name="connsiteY8" fmla="*/ 157076 h 157076"/>
              <a:gd name="connsiteX9" fmla="*/ 1022447 w 1060123"/>
              <a:gd name="connsiteY9" fmla="*/ 157076 h 157076"/>
              <a:gd name="connsiteX10" fmla="*/ 1012191 w 1060123"/>
              <a:gd name="connsiteY10" fmla="*/ 125013 h 157076"/>
              <a:gd name="connsiteX11" fmla="*/ 952059 w 1060123"/>
              <a:gd name="connsiteY11" fmla="*/ 125013 h 157076"/>
              <a:gd name="connsiteX12" fmla="*/ 942127 w 1060123"/>
              <a:gd name="connsiteY12" fmla="*/ 157076 h 157076"/>
              <a:gd name="connsiteX13" fmla="*/ 903803 w 1060123"/>
              <a:gd name="connsiteY13" fmla="*/ 157076 h 157076"/>
              <a:gd name="connsiteX14" fmla="*/ 664467 w 1060123"/>
              <a:gd name="connsiteY14" fmla="*/ 109 h 157076"/>
              <a:gd name="connsiteX15" fmla="*/ 738632 w 1060123"/>
              <a:gd name="connsiteY15" fmla="*/ 109 h 157076"/>
              <a:gd name="connsiteX16" fmla="*/ 738632 w 1060123"/>
              <a:gd name="connsiteY16" fmla="*/ 33251 h 157076"/>
              <a:gd name="connsiteX17" fmla="*/ 664467 w 1060123"/>
              <a:gd name="connsiteY17" fmla="*/ 33251 h 157076"/>
              <a:gd name="connsiteX18" fmla="*/ 649677 w 1060123"/>
              <a:gd name="connsiteY18" fmla="*/ 47825 h 157076"/>
              <a:gd name="connsiteX19" fmla="*/ 664467 w 1060123"/>
              <a:gd name="connsiteY19" fmla="*/ 62399 h 157076"/>
              <a:gd name="connsiteX20" fmla="*/ 707217 w 1060123"/>
              <a:gd name="connsiteY20" fmla="*/ 62399 h 157076"/>
              <a:gd name="connsiteX21" fmla="*/ 749643 w 1060123"/>
              <a:gd name="connsiteY21" fmla="*/ 108172 h 157076"/>
              <a:gd name="connsiteX22" fmla="*/ 700308 w 1060123"/>
              <a:gd name="connsiteY22" fmla="*/ 157076 h 157076"/>
              <a:gd name="connsiteX23" fmla="*/ 622148 w 1060123"/>
              <a:gd name="connsiteY23" fmla="*/ 157076 h 157076"/>
              <a:gd name="connsiteX24" fmla="*/ 622148 w 1060123"/>
              <a:gd name="connsiteY24" fmla="*/ 122746 h 157076"/>
              <a:gd name="connsiteX25" fmla="*/ 701603 w 1060123"/>
              <a:gd name="connsiteY25" fmla="*/ 122746 h 157076"/>
              <a:gd name="connsiteX26" fmla="*/ 715745 w 1060123"/>
              <a:gd name="connsiteY26" fmla="*/ 108172 h 157076"/>
              <a:gd name="connsiteX27" fmla="*/ 701603 w 1060123"/>
              <a:gd name="connsiteY27" fmla="*/ 93598 h 157076"/>
              <a:gd name="connsiteX28" fmla="*/ 664467 w 1060123"/>
              <a:gd name="connsiteY28" fmla="*/ 93598 h 157076"/>
              <a:gd name="connsiteX29" fmla="*/ 615779 w 1060123"/>
              <a:gd name="connsiteY29" fmla="*/ 47825 h 157076"/>
              <a:gd name="connsiteX30" fmla="*/ 664467 w 1060123"/>
              <a:gd name="connsiteY30" fmla="*/ 109 h 157076"/>
              <a:gd name="connsiteX31" fmla="*/ 457192 w 1060123"/>
              <a:gd name="connsiteY31" fmla="*/ 109 h 157076"/>
              <a:gd name="connsiteX32" fmla="*/ 494221 w 1060123"/>
              <a:gd name="connsiteY32" fmla="*/ 109 h 157076"/>
              <a:gd name="connsiteX33" fmla="*/ 557267 w 1060123"/>
              <a:gd name="connsiteY33" fmla="*/ 98780 h 157076"/>
              <a:gd name="connsiteX34" fmla="*/ 557267 w 1060123"/>
              <a:gd name="connsiteY34" fmla="*/ 109 h 157076"/>
              <a:gd name="connsiteX35" fmla="*/ 593432 w 1060123"/>
              <a:gd name="connsiteY35" fmla="*/ 109 h 157076"/>
              <a:gd name="connsiteX36" fmla="*/ 593648 w 1060123"/>
              <a:gd name="connsiteY36" fmla="*/ 123178 h 157076"/>
              <a:gd name="connsiteX37" fmla="*/ 593756 w 1060123"/>
              <a:gd name="connsiteY37" fmla="*/ 157076 h 157076"/>
              <a:gd name="connsiteX38" fmla="*/ 556079 w 1060123"/>
              <a:gd name="connsiteY38" fmla="*/ 157076 h 157076"/>
              <a:gd name="connsiteX39" fmla="*/ 556079 w 1060123"/>
              <a:gd name="connsiteY39" fmla="*/ 156752 h 157076"/>
              <a:gd name="connsiteX40" fmla="*/ 493573 w 1060123"/>
              <a:gd name="connsiteY40" fmla="*/ 60240 h 157076"/>
              <a:gd name="connsiteX41" fmla="*/ 493573 w 1060123"/>
              <a:gd name="connsiteY41" fmla="*/ 157076 h 157076"/>
              <a:gd name="connsiteX42" fmla="*/ 457192 w 1060123"/>
              <a:gd name="connsiteY42" fmla="*/ 157076 h 157076"/>
              <a:gd name="connsiteX43" fmla="*/ 341571 w 1060123"/>
              <a:gd name="connsiteY43" fmla="*/ 109 h 157076"/>
              <a:gd name="connsiteX44" fmla="*/ 387776 w 1060123"/>
              <a:gd name="connsiteY44" fmla="*/ 109 h 157076"/>
              <a:gd name="connsiteX45" fmla="*/ 443697 w 1060123"/>
              <a:gd name="connsiteY45" fmla="*/ 157076 h 157076"/>
              <a:gd name="connsiteX46" fmla="*/ 405913 w 1060123"/>
              <a:gd name="connsiteY46" fmla="*/ 157076 h 157076"/>
              <a:gd name="connsiteX47" fmla="*/ 395657 w 1060123"/>
              <a:gd name="connsiteY47" fmla="*/ 125013 h 157076"/>
              <a:gd name="connsiteX48" fmla="*/ 335526 w 1060123"/>
              <a:gd name="connsiteY48" fmla="*/ 125013 h 157076"/>
              <a:gd name="connsiteX49" fmla="*/ 325594 w 1060123"/>
              <a:gd name="connsiteY49" fmla="*/ 157076 h 157076"/>
              <a:gd name="connsiteX50" fmla="*/ 287270 w 1060123"/>
              <a:gd name="connsiteY50" fmla="*/ 157076 h 157076"/>
              <a:gd name="connsiteX51" fmla="*/ 48688 w 1060123"/>
              <a:gd name="connsiteY51" fmla="*/ 109 h 157076"/>
              <a:gd name="connsiteX52" fmla="*/ 122853 w 1060123"/>
              <a:gd name="connsiteY52" fmla="*/ 109 h 157076"/>
              <a:gd name="connsiteX53" fmla="*/ 122853 w 1060123"/>
              <a:gd name="connsiteY53" fmla="*/ 33251 h 157076"/>
              <a:gd name="connsiteX54" fmla="*/ 48688 w 1060123"/>
              <a:gd name="connsiteY54" fmla="*/ 33251 h 157076"/>
              <a:gd name="connsiteX55" fmla="*/ 33898 w 1060123"/>
              <a:gd name="connsiteY55" fmla="*/ 47825 h 157076"/>
              <a:gd name="connsiteX56" fmla="*/ 48688 w 1060123"/>
              <a:gd name="connsiteY56" fmla="*/ 62399 h 157076"/>
              <a:gd name="connsiteX57" fmla="*/ 91438 w 1060123"/>
              <a:gd name="connsiteY57" fmla="*/ 62399 h 157076"/>
              <a:gd name="connsiteX58" fmla="*/ 133756 w 1060123"/>
              <a:gd name="connsiteY58" fmla="*/ 108172 h 157076"/>
              <a:gd name="connsiteX59" fmla="*/ 84421 w 1060123"/>
              <a:gd name="connsiteY59" fmla="*/ 157076 h 157076"/>
              <a:gd name="connsiteX60" fmla="*/ 6261 w 1060123"/>
              <a:gd name="connsiteY60" fmla="*/ 157076 h 157076"/>
              <a:gd name="connsiteX61" fmla="*/ 6261 w 1060123"/>
              <a:gd name="connsiteY61" fmla="*/ 122746 h 157076"/>
              <a:gd name="connsiteX62" fmla="*/ 85824 w 1060123"/>
              <a:gd name="connsiteY62" fmla="*/ 122746 h 157076"/>
              <a:gd name="connsiteX63" fmla="*/ 99966 w 1060123"/>
              <a:gd name="connsiteY63" fmla="*/ 108172 h 157076"/>
              <a:gd name="connsiteX64" fmla="*/ 85824 w 1060123"/>
              <a:gd name="connsiteY64" fmla="*/ 93598 h 157076"/>
              <a:gd name="connsiteX65" fmla="*/ 48688 w 1060123"/>
              <a:gd name="connsiteY65" fmla="*/ 93598 h 157076"/>
              <a:gd name="connsiteX66" fmla="*/ 0 w 1060123"/>
              <a:gd name="connsiteY66" fmla="*/ 47825 h 157076"/>
              <a:gd name="connsiteX67" fmla="*/ 48688 w 1060123"/>
              <a:gd name="connsiteY67" fmla="*/ 109 h 157076"/>
              <a:gd name="connsiteX68" fmla="*/ 771342 w 1060123"/>
              <a:gd name="connsiteY68" fmla="*/ 0 h 157076"/>
              <a:gd name="connsiteX69" fmla="*/ 807615 w 1060123"/>
              <a:gd name="connsiteY69" fmla="*/ 0 h 157076"/>
              <a:gd name="connsiteX70" fmla="*/ 807615 w 1060123"/>
              <a:gd name="connsiteY70" fmla="*/ 66285 h 157076"/>
              <a:gd name="connsiteX71" fmla="*/ 859218 w 1060123"/>
              <a:gd name="connsiteY71" fmla="*/ 0 h 157076"/>
              <a:gd name="connsiteX72" fmla="*/ 901429 w 1060123"/>
              <a:gd name="connsiteY72" fmla="*/ 0 h 157076"/>
              <a:gd name="connsiteX73" fmla="*/ 842053 w 1060123"/>
              <a:gd name="connsiteY73" fmla="*/ 78592 h 157076"/>
              <a:gd name="connsiteX74" fmla="*/ 901429 w 1060123"/>
              <a:gd name="connsiteY74" fmla="*/ 157076 h 157076"/>
              <a:gd name="connsiteX75" fmla="*/ 859218 w 1060123"/>
              <a:gd name="connsiteY75" fmla="*/ 157076 h 157076"/>
              <a:gd name="connsiteX76" fmla="*/ 807615 w 1060123"/>
              <a:gd name="connsiteY76" fmla="*/ 90791 h 157076"/>
              <a:gd name="connsiteX77" fmla="*/ 807615 w 1060123"/>
              <a:gd name="connsiteY77" fmla="*/ 157076 h 157076"/>
              <a:gd name="connsiteX78" fmla="*/ 771342 w 1060123"/>
              <a:gd name="connsiteY78" fmla="*/ 157076 h 157076"/>
              <a:gd name="connsiteX79" fmla="*/ 154916 w 1060123"/>
              <a:gd name="connsiteY79" fmla="*/ 0 h 157076"/>
              <a:gd name="connsiteX80" fmla="*/ 191081 w 1060123"/>
              <a:gd name="connsiteY80" fmla="*/ 0 h 157076"/>
              <a:gd name="connsiteX81" fmla="*/ 191081 w 1060123"/>
              <a:gd name="connsiteY81" fmla="*/ 66285 h 157076"/>
              <a:gd name="connsiteX82" fmla="*/ 242684 w 1060123"/>
              <a:gd name="connsiteY82" fmla="*/ 0 h 157076"/>
              <a:gd name="connsiteX83" fmla="*/ 285003 w 1060123"/>
              <a:gd name="connsiteY83" fmla="*/ 0 h 157076"/>
              <a:gd name="connsiteX84" fmla="*/ 225519 w 1060123"/>
              <a:gd name="connsiteY84" fmla="*/ 78592 h 157076"/>
              <a:gd name="connsiteX85" fmla="*/ 285003 w 1060123"/>
              <a:gd name="connsiteY85" fmla="*/ 157076 h 157076"/>
              <a:gd name="connsiteX86" fmla="*/ 242684 w 1060123"/>
              <a:gd name="connsiteY86" fmla="*/ 157076 h 157076"/>
              <a:gd name="connsiteX87" fmla="*/ 191081 w 1060123"/>
              <a:gd name="connsiteY87" fmla="*/ 90791 h 157076"/>
              <a:gd name="connsiteX88" fmla="*/ 191081 w 1060123"/>
              <a:gd name="connsiteY88" fmla="*/ 157076 h 157076"/>
              <a:gd name="connsiteX89" fmla="*/ 154916 w 1060123"/>
              <a:gd name="connsiteY89" fmla="*/ 157076 h 157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060123" h="157076">
                <a:moveTo>
                  <a:pt x="981639" y="32820"/>
                </a:moveTo>
                <a:lnTo>
                  <a:pt x="961991" y="93059"/>
                </a:lnTo>
                <a:lnTo>
                  <a:pt x="1001935" y="93059"/>
                </a:lnTo>
                <a:close/>
                <a:moveTo>
                  <a:pt x="365214" y="32820"/>
                </a:moveTo>
                <a:lnTo>
                  <a:pt x="345566" y="93059"/>
                </a:lnTo>
                <a:lnTo>
                  <a:pt x="385509" y="93059"/>
                </a:lnTo>
                <a:close/>
                <a:moveTo>
                  <a:pt x="957997" y="109"/>
                </a:moveTo>
                <a:lnTo>
                  <a:pt x="1004202" y="109"/>
                </a:lnTo>
                <a:lnTo>
                  <a:pt x="1060123" y="157076"/>
                </a:lnTo>
                <a:lnTo>
                  <a:pt x="1022447" y="157076"/>
                </a:lnTo>
                <a:lnTo>
                  <a:pt x="1012191" y="125013"/>
                </a:lnTo>
                <a:lnTo>
                  <a:pt x="952059" y="125013"/>
                </a:lnTo>
                <a:lnTo>
                  <a:pt x="942127" y="157076"/>
                </a:lnTo>
                <a:lnTo>
                  <a:pt x="903803" y="157076"/>
                </a:lnTo>
                <a:close/>
                <a:moveTo>
                  <a:pt x="664467" y="109"/>
                </a:moveTo>
                <a:lnTo>
                  <a:pt x="738632" y="109"/>
                </a:lnTo>
                <a:lnTo>
                  <a:pt x="738632" y="33251"/>
                </a:lnTo>
                <a:lnTo>
                  <a:pt x="664467" y="33251"/>
                </a:lnTo>
                <a:cubicBezTo>
                  <a:pt x="654427" y="33251"/>
                  <a:pt x="649677" y="40160"/>
                  <a:pt x="649677" y="47825"/>
                </a:cubicBezTo>
                <a:cubicBezTo>
                  <a:pt x="649677" y="55490"/>
                  <a:pt x="654427" y="62399"/>
                  <a:pt x="664467" y="62399"/>
                </a:cubicBezTo>
                <a:lnTo>
                  <a:pt x="707217" y="62399"/>
                </a:lnTo>
                <a:cubicBezTo>
                  <a:pt x="731183" y="62399"/>
                  <a:pt x="749643" y="79456"/>
                  <a:pt x="749643" y="108172"/>
                </a:cubicBezTo>
                <a:cubicBezTo>
                  <a:pt x="749643" y="140019"/>
                  <a:pt x="731291" y="157076"/>
                  <a:pt x="700308" y="157076"/>
                </a:cubicBezTo>
                <a:lnTo>
                  <a:pt x="622148" y="157076"/>
                </a:lnTo>
                <a:lnTo>
                  <a:pt x="622148" y="122746"/>
                </a:lnTo>
                <a:lnTo>
                  <a:pt x="701603" y="122746"/>
                </a:lnTo>
                <a:cubicBezTo>
                  <a:pt x="710995" y="122746"/>
                  <a:pt x="715745" y="115837"/>
                  <a:pt x="715745" y="108172"/>
                </a:cubicBezTo>
                <a:cubicBezTo>
                  <a:pt x="715745" y="100723"/>
                  <a:pt x="710995" y="93598"/>
                  <a:pt x="701603" y="93598"/>
                </a:cubicBezTo>
                <a:lnTo>
                  <a:pt x="664467" y="93598"/>
                </a:lnTo>
                <a:cubicBezTo>
                  <a:pt x="637046" y="93598"/>
                  <a:pt x="615779" y="77837"/>
                  <a:pt x="615779" y="47825"/>
                </a:cubicBezTo>
                <a:cubicBezTo>
                  <a:pt x="615779" y="17814"/>
                  <a:pt x="634239" y="109"/>
                  <a:pt x="664467" y="109"/>
                </a:cubicBezTo>
                <a:close/>
                <a:moveTo>
                  <a:pt x="457192" y="109"/>
                </a:moveTo>
                <a:lnTo>
                  <a:pt x="494221" y="109"/>
                </a:lnTo>
                <a:lnTo>
                  <a:pt x="557267" y="98780"/>
                </a:lnTo>
                <a:lnTo>
                  <a:pt x="557267" y="109"/>
                </a:lnTo>
                <a:lnTo>
                  <a:pt x="593432" y="109"/>
                </a:lnTo>
                <a:lnTo>
                  <a:pt x="593648" y="123178"/>
                </a:lnTo>
                <a:lnTo>
                  <a:pt x="593756" y="157076"/>
                </a:lnTo>
                <a:lnTo>
                  <a:pt x="556079" y="157076"/>
                </a:lnTo>
                <a:lnTo>
                  <a:pt x="556079" y="156752"/>
                </a:lnTo>
                <a:lnTo>
                  <a:pt x="493573" y="60240"/>
                </a:lnTo>
                <a:lnTo>
                  <a:pt x="493573" y="157076"/>
                </a:lnTo>
                <a:lnTo>
                  <a:pt x="457192" y="157076"/>
                </a:lnTo>
                <a:close/>
                <a:moveTo>
                  <a:pt x="341571" y="109"/>
                </a:moveTo>
                <a:lnTo>
                  <a:pt x="387776" y="109"/>
                </a:lnTo>
                <a:lnTo>
                  <a:pt x="443697" y="157076"/>
                </a:lnTo>
                <a:lnTo>
                  <a:pt x="405913" y="157076"/>
                </a:lnTo>
                <a:lnTo>
                  <a:pt x="395657" y="125013"/>
                </a:lnTo>
                <a:lnTo>
                  <a:pt x="335526" y="125013"/>
                </a:lnTo>
                <a:lnTo>
                  <a:pt x="325594" y="157076"/>
                </a:lnTo>
                <a:lnTo>
                  <a:pt x="287270" y="157076"/>
                </a:lnTo>
                <a:close/>
                <a:moveTo>
                  <a:pt x="48688" y="109"/>
                </a:moveTo>
                <a:lnTo>
                  <a:pt x="122853" y="109"/>
                </a:lnTo>
                <a:lnTo>
                  <a:pt x="122853" y="33251"/>
                </a:lnTo>
                <a:lnTo>
                  <a:pt x="48688" y="33251"/>
                </a:lnTo>
                <a:cubicBezTo>
                  <a:pt x="38648" y="33251"/>
                  <a:pt x="33898" y="40160"/>
                  <a:pt x="33898" y="47825"/>
                </a:cubicBezTo>
                <a:cubicBezTo>
                  <a:pt x="33898" y="55490"/>
                  <a:pt x="38648" y="62399"/>
                  <a:pt x="48688" y="62399"/>
                </a:cubicBezTo>
                <a:lnTo>
                  <a:pt x="91438" y="62399"/>
                </a:lnTo>
                <a:cubicBezTo>
                  <a:pt x="115404" y="62399"/>
                  <a:pt x="133756" y="79456"/>
                  <a:pt x="133756" y="108172"/>
                </a:cubicBezTo>
                <a:cubicBezTo>
                  <a:pt x="133756" y="140019"/>
                  <a:pt x="115404" y="157076"/>
                  <a:pt x="84421" y="157076"/>
                </a:cubicBezTo>
                <a:lnTo>
                  <a:pt x="6261" y="157076"/>
                </a:lnTo>
                <a:lnTo>
                  <a:pt x="6261" y="122746"/>
                </a:lnTo>
                <a:lnTo>
                  <a:pt x="85824" y="122746"/>
                </a:lnTo>
                <a:cubicBezTo>
                  <a:pt x="95216" y="122746"/>
                  <a:pt x="99966" y="115837"/>
                  <a:pt x="99966" y="108172"/>
                </a:cubicBezTo>
                <a:cubicBezTo>
                  <a:pt x="99966" y="100723"/>
                  <a:pt x="95216" y="93598"/>
                  <a:pt x="85824" y="93598"/>
                </a:cubicBezTo>
                <a:lnTo>
                  <a:pt x="48688" y="93598"/>
                </a:lnTo>
                <a:cubicBezTo>
                  <a:pt x="21267" y="93598"/>
                  <a:pt x="0" y="77837"/>
                  <a:pt x="0" y="47825"/>
                </a:cubicBezTo>
                <a:cubicBezTo>
                  <a:pt x="0" y="17814"/>
                  <a:pt x="18352" y="109"/>
                  <a:pt x="48688" y="109"/>
                </a:cubicBezTo>
                <a:close/>
                <a:moveTo>
                  <a:pt x="771342" y="0"/>
                </a:moveTo>
                <a:lnTo>
                  <a:pt x="807615" y="0"/>
                </a:lnTo>
                <a:lnTo>
                  <a:pt x="807615" y="66285"/>
                </a:lnTo>
                <a:lnTo>
                  <a:pt x="859218" y="0"/>
                </a:lnTo>
                <a:lnTo>
                  <a:pt x="901429" y="0"/>
                </a:lnTo>
                <a:lnTo>
                  <a:pt x="842053" y="78592"/>
                </a:lnTo>
                <a:lnTo>
                  <a:pt x="901429" y="157076"/>
                </a:lnTo>
                <a:lnTo>
                  <a:pt x="859218" y="157076"/>
                </a:lnTo>
                <a:lnTo>
                  <a:pt x="807615" y="90791"/>
                </a:lnTo>
                <a:lnTo>
                  <a:pt x="807615" y="157076"/>
                </a:lnTo>
                <a:lnTo>
                  <a:pt x="771342" y="157076"/>
                </a:lnTo>
                <a:close/>
                <a:moveTo>
                  <a:pt x="154916" y="0"/>
                </a:moveTo>
                <a:lnTo>
                  <a:pt x="191081" y="0"/>
                </a:lnTo>
                <a:lnTo>
                  <a:pt x="191081" y="66285"/>
                </a:lnTo>
                <a:lnTo>
                  <a:pt x="242684" y="0"/>
                </a:lnTo>
                <a:lnTo>
                  <a:pt x="285003" y="0"/>
                </a:lnTo>
                <a:lnTo>
                  <a:pt x="225519" y="78592"/>
                </a:lnTo>
                <a:lnTo>
                  <a:pt x="285003" y="157076"/>
                </a:lnTo>
                <a:lnTo>
                  <a:pt x="242684" y="157076"/>
                </a:lnTo>
                <a:lnTo>
                  <a:pt x="191081" y="90791"/>
                </a:lnTo>
                <a:lnTo>
                  <a:pt x="191081" y="157076"/>
                </a:lnTo>
                <a:lnTo>
                  <a:pt x="154916" y="157076"/>
                </a:lnTo>
                <a:close/>
              </a:path>
            </a:pathLst>
          </a:custGeom>
          <a:solidFill>
            <a:schemeClr val="tx2"/>
          </a:solidFill>
          <a:ln w="6350" cap="flat">
            <a:noFill/>
            <a:prstDash val="solid"/>
            <a:miter/>
          </a:ln>
        </p:spPr>
        <p:txBody>
          <a:bodyPr wrap="square" rtlCol="0" anchor="ctr">
            <a:noAutofit/>
          </a:bodyPr>
          <a:lstStyle/>
          <a:p>
            <a:endParaRPr lang="sv-SE">
              <a:solidFill>
                <a:schemeClr val="tx2"/>
              </a:solidFill>
            </a:endParaRPr>
          </a:p>
        </p:txBody>
      </p:sp>
    </p:spTree>
    <p:extLst>
      <p:ext uri="{BB962C8B-B14F-4D97-AF65-F5344CB8AC3E}">
        <p14:creationId xmlns:p14="http://schemas.microsoft.com/office/powerpoint/2010/main" val="87854894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 Agenda two rader">
    <p:bg>
      <p:bgRef idx="1001">
        <a:schemeClr val="bg1"/>
      </p:bgRef>
    </p:bg>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F1C700C8-E7B5-C246-BF0A-50734999BFF2}"/>
              </a:ext>
            </a:extLst>
          </p:cNvPr>
          <p:cNvSpPr>
            <a:spLocks noGrp="1"/>
          </p:cNvSpPr>
          <p:nvPr>
            <p:ph type="pic" sz="quarter" idx="18" hasCustomPrompt="1"/>
          </p:nvPr>
        </p:nvSpPr>
        <p:spPr>
          <a:xfrm>
            <a:off x="8142000" y="-1"/>
            <a:ext cx="4050000" cy="6868800"/>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nb-NO" noProof="0" dirty="0"/>
              <a:t>Klikk på ikonet for å legge til et bilde</a:t>
            </a:r>
            <a:endParaRPr lang="en-US" noProof="0" dirty="0"/>
          </a:p>
        </p:txBody>
      </p:sp>
      <p:sp>
        <p:nvSpPr>
          <p:cNvPr id="3" name="Title 2">
            <a:extLst>
              <a:ext uri="{FF2B5EF4-FFF2-40B4-BE49-F238E27FC236}">
                <a16:creationId xmlns:a16="http://schemas.microsoft.com/office/drawing/2014/main" id="{B012B89C-E191-8D4E-06AF-D2EA584DF433}"/>
              </a:ext>
            </a:extLst>
          </p:cNvPr>
          <p:cNvSpPr>
            <a:spLocks noGrp="1"/>
          </p:cNvSpPr>
          <p:nvPr>
            <p:ph type="title" hasCustomPrompt="1"/>
          </p:nvPr>
        </p:nvSpPr>
        <p:spPr>
          <a:xfrm>
            <a:off x="576000" y="730800"/>
            <a:ext cx="7253550" cy="463000"/>
          </a:xfrm>
        </p:spPr>
        <p:txBody>
          <a:bodyPr/>
          <a:lstStyle>
            <a:lvl1pPr>
              <a:defRPr>
                <a:solidFill>
                  <a:schemeClr val="tx2"/>
                </a:solidFill>
              </a:defRPr>
            </a:lvl1pPr>
          </a:lstStyle>
          <a:p>
            <a:r>
              <a:rPr lang="en-US" dirty="0" err="1"/>
              <a:t>Klikk</a:t>
            </a:r>
            <a:r>
              <a:rPr lang="en-US" dirty="0"/>
              <a:t> for </a:t>
            </a:r>
            <a:r>
              <a:rPr lang="en-US" dirty="0" err="1"/>
              <a:t>en</a:t>
            </a:r>
            <a:r>
              <a:rPr lang="en-US" dirty="0"/>
              <a:t> </a:t>
            </a:r>
            <a:r>
              <a:rPr lang="en-US" dirty="0" err="1"/>
              <a:t>kort</a:t>
            </a:r>
            <a:r>
              <a:rPr lang="en-US" dirty="0"/>
              <a:t> </a:t>
            </a:r>
            <a:r>
              <a:rPr lang="en-US" dirty="0" err="1"/>
              <a:t>overskrift</a:t>
            </a:r>
            <a:endParaRPr lang="en-US" dirty="0"/>
          </a:p>
        </p:txBody>
      </p:sp>
      <p:sp>
        <p:nvSpPr>
          <p:cNvPr id="9" name="Text Placeholder 8">
            <a:extLst>
              <a:ext uri="{FF2B5EF4-FFF2-40B4-BE49-F238E27FC236}">
                <a16:creationId xmlns:a16="http://schemas.microsoft.com/office/drawing/2014/main" id="{A02FE398-BCDE-144D-BB12-B6AB8C96E842}"/>
              </a:ext>
            </a:extLst>
          </p:cNvPr>
          <p:cNvSpPr>
            <a:spLocks noGrp="1"/>
          </p:cNvSpPr>
          <p:nvPr>
            <p:ph type="body" sz="quarter" idx="15" hasCustomPrompt="1"/>
          </p:nvPr>
        </p:nvSpPr>
        <p:spPr>
          <a:xfrm>
            <a:off x="576262" y="1746000"/>
            <a:ext cx="7253287" cy="4391999"/>
          </a:xfrm>
        </p:spPr>
        <p:txBody>
          <a:bodyPr numCol="2" spcCol="288000"/>
          <a:lstStyle>
            <a:lvl1pPr marL="342000" indent="-342000">
              <a:lnSpc>
                <a:spcPct val="100000"/>
              </a:lnSpc>
              <a:spcBef>
                <a:spcPts val="0"/>
              </a:spcBef>
              <a:spcAft>
                <a:spcPts val="1000"/>
              </a:spcAft>
              <a:buFont typeface="+mj-lt"/>
              <a:buAutoNum type="arabicPeriod"/>
              <a:defRPr sz="1800" spc="40" baseline="0">
                <a:solidFill>
                  <a:schemeClr val="tx2"/>
                </a:solidFill>
              </a:defRPr>
            </a:lvl1pPr>
            <a:lvl2pPr marL="342000" indent="-342000">
              <a:lnSpc>
                <a:spcPct val="100000"/>
              </a:lnSpc>
              <a:spcAft>
                <a:spcPts val="1000"/>
              </a:spcAft>
              <a:tabLst/>
              <a:defRPr sz="1800" spc="40" baseline="0">
                <a:solidFill>
                  <a:schemeClr val="tx1"/>
                </a:solidFill>
              </a:defRPr>
            </a:lvl2pPr>
            <a:lvl3pPr>
              <a:lnSpc>
                <a:spcPct val="100000"/>
              </a:lnSpc>
              <a:defRPr sz="1400" spc="40" baseline="0">
                <a:solidFill>
                  <a:schemeClr val="tx1"/>
                </a:solidFill>
              </a:defRPr>
            </a:lvl3pPr>
            <a:lvl4pPr>
              <a:lnSpc>
                <a:spcPct val="100000"/>
              </a:lnSpc>
              <a:defRPr sz="1200" spc="40" baseline="0">
                <a:solidFill>
                  <a:schemeClr val="tx1"/>
                </a:solidFill>
              </a:defRPr>
            </a:lvl4pPr>
            <a:lvl5pPr>
              <a:lnSpc>
                <a:spcPct val="100000"/>
              </a:lnSpc>
              <a:defRPr sz="1100" spc="40" baseline="0">
                <a:solidFill>
                  <a:schemeClr val="tx1"/>
                </a:solidFill>
              </a:defRPr>
            </a:lvl5pPr>
          </a:lstStyle>
          <a:p>
            <a:pPr lvl="0"/>
            <a:r>
              <a:rPr lang="en-US" noProof="0" dirty="0" err="1"/>
              <a:t>Klikk</a:t>
            </a:r>
            <a:r>
              <a:rPr lang="en-US" noProof="0" dirty="0"/>
              <a:t> for agenda</a:t>
            </a:r>
          </a:p>
        </p:txBody>
      </p:sp>
      <p:sp>
        <p:nvSpPr>
          <p:cNvPr id="21" name="Text Placeholder 4">
            <a:extLst>
              <a:ext uri="{FF2B5EF4-FFF2-40B4-BE49-F238E27FC236}">
                <a16:creationId xmlns:a16="http://schemas.microsoft.com/office/drawing/2014/main" id="{F5F647EA-519F-A64D-849A-BA46FEFF2C70}"/>
              </a:ext>
            </a:extLst>
          </p:cNvPr>
          <p:cNvSpPr>
            <a:spLocks noGrp="1"/>
          </p:cNvSpPr>
          <p:nvPr>
            <p:ph type="body" sz="quarter" idx="16" hasCustomPrompt="1"/>
          </p:nvPr>
        </p:nvSpPr>
        <p:spPr>
          <a:xfrm rot="5400000">
            <a:off x="9788686" y="1916687"/>
            <a:ext cx="4320000"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sp>
        <p:nvSpPr>
          <p:cNvPr id="2" name="Logotype">
            <a:extLst>
              <a:ext uri="{FF2B5EF4-FFF2-40B4-BE49-F238E27FC236}">
                <a16:creationId xmlns:a16="http://schemas.microsoft.com/office/drawing/2014/main" id="{8D09B7E2-E313-3524-DCBA-16AFF682C698}"/>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Tree>
    <p:extLst>
      <p:ext uri="{BB962C8B-B14F-4D97-AF65-F5344CB8AC3E}">
        <p14:creationId xmlns:p14="http://schemas.microsoft.com/office/powerpoint/2010/main" val="1042211400"/>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Tekst i en kolonne">
    <p:bg>
      <p:bgRef idx="1001">
        <a:schemeClr val="bg1"/>
      </p:bgRef>
    </p:bg>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EB698AB6-B44C-1DEA-BA4D-546AF9D09471}"/>
              </a:ext>
            </a:extLst>
          </p:cNvPr>
          <p:cNvSpPr>
            <a:spLocks noGrp="1"/>
          </p:cNvSpPr>
          <p:nvPr>
            <p:ph type="title" hasCustomPrompt="1"/>
          </p:nvPr>
        </p:nvSpPr>
        <p:spPr>
          <a:xfrm>
            <a:off x="576000" y="730800"/>
            <a:ext cx="11039738" cy="860400"/>
          </a:xfrm>
        </p:spPr>
        <p:txBody>
          <a:bodyPr/>
          <a:lstStyle>
            <a:lvl1pPr>
              <a:defRPr>
                <a:solidFill>
                  <a:schemeClr val="tx2"/>
                </a:solidFill>
              </a:defRPr>
            </a:lvl1pPr>
          </a:lstStyle>
          <a:p>
            <a:r>
              <a:rPr lang="nb-NO" dirty="0"/>
              <a:t>Klikk for å legge til en overskrift på maksimalt to linjer</a:t>
            </a:r>
            <a:endParaRPr lang="en-US" dirty="0"/>
          </a:p>
        </p:txBody>
      </p:sp>
      <p:sp>
        <p:nvSpPr>
          <p:cNvPr id="3" name="Text Placeholder 3">
            <a:extLst>
              <a:ext uri="{FF2B5EF4-FFF2-40B4-BE49-F238E27FC236}">
                <a16:creationId xmlns:a16="http://schemas.microsoft.com/office/drawing/2014/main" id="{A1D46F6E-F6BB-EC4F-8188-19A644D6F0A1}"/>
              </a:ext>
            </a:extLst>
          </p:cNvPr>
          <p:cNvSpPr>
            <a:spLocks noGrp="1"/>
          </p:cNvSpPr>
          <p:nvPr>
            <p:ph type="body" sz="quarter" idx="20" hasCustomPrompt="1"/>
          </p:nvPr>
        </p:nvSpPr>
        <p:spPr>
          <a:xfrm>
            <a:off x="576000" y="2098800"/>
            <a:ext cx="11039738" cy="403066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brødtekst</a:t>
            </a:r>
            <a:endParaRPr lang="en-US" noProof="0" dirty="0"/>
          </a:p>
        </p:txBody>
      </p:sp>
      <p:sp>
        <p:nvSpPr>
          <p:cNvPr id="2" name="Logotype">
            <a:extLst>
              <a:ext uri="{FF2B5EF4-FFF2-40B4-BE49-F238E27FC236}">
                <a16:creationId xmlns:a16="http://schemas.microsoft.com/office/drawing/2014/main" id="{EA1A3CEB-203D-E194-FD55-24CEF49F17E2}"/>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8" name="Text Placeholder 7">
            <a:extLst>
              <a:ext uri="{FF2B5EF4-FFF2-40B4-BE49-F238E27FC236}">
                <a16:creationId xmlns:a16="http://schemas.microsoft.com/office/drawing/2014/main" id="{01BE2198-7A87-FBFC-37B6-7AD979676467}"/>
              </a:ext>
            </a:extLst>
          </p:cNvPr>
          <p:cNvSpPr>
            <a:spLocks noGrp="1"/>
          </p:cNvSpPr>
          <p:nvPr>
            <p:ph type="body" sz="quarter" idx="25" hasCustomPrompt="1"/>
          </p:nvPr>
        </p:nvSpPr>
        <p:spPr>
          <a:xfrm>
            <a:off x="576262" y="291600"/>
            <a:ext cx="5180400" cy="180000"/>
          </a:xfrm>
        </p:spPr>
        <p:txBody>
          <a:bodyPr/>
          <a:lstStyle>
            <a:lvl1pPr marL="6350" indent="0">
              <a:buNone/>
              <a:defRPr sz="1200">
                <a:solidFill>
                  <a:schemeClr val="tx2"/>
                </a:solidFill>
              </a:defRPr>
            </a:lvl1pPr>
          </a:lstStyle>
          <a:p>
            <a:pPr lvl="0"/>
            <a:r>
              <a:rPr lang="nb-NO" dirty="0"/>
              <a:t>Klikk for å legge til kapittel</a:t>
            </a:r>
            <a:endParaRPr lang="en-US" dirty="0"/>
          </a:p>
        </p:txBody>
      </p:sp>
    </p:spTree>
    <p:extLst>
      <p:ext uri="{BB962C8B-B14F-4D97-AF65-F5344CB8AC3E}">
        <p14:creationId xmlns:p14="http://schemas.microsoft.com/office/powerpoint/2010/main" val="2570009642"/>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 Tekst To flytende kolonner">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56839DE-249A-23A3-C832-DAF857EB55C0}"/>
              </a:ext>
            </a:extLst>
          </p:cNvPr>
          <p:cNvSpPr>
            <a:spLocks noGrp="1"/>
          </p:cNvSpPr>
          <p:nvPr>
            <p:ph type="title" hasCustomPrompt="1"/>
          </p:nvPr>
        </p:nvSpPr>
        <p:spPr>
          <a:xfrm>
            <a:off x="576000" y="730800"/>
            <a:ext cx="11039738" cy="860400"/>
          </a:xfrm>
        </p:spPr>
        <p:txBody>
          <a:bodyPr/>
          <a:lstStyle>
            <a:lvl1pPr>
              <a:defRPr>
                <a:solidFill>
                  <a:schemeClr val="tx2"/>
                </a:solidFill>
              </a:defRPr>
            </a:lvl1pPr>
          </a:lstStyle>
          <a:p>
            <a:r>
              <a:rPr lang="nb-NO" dirty="0"/>
              <a:t>Klikk for å legge til en overskrift på maksimalt to linjer</a:t>
            </a:r>
            <a:endParaRPr lang="en-US" dirty="0"/>
          </a:p>
        </p:txBody>
      </p:sp>
      <p:sp>
        <p:nvSpPr>
          <p:cNvPr id="15" name="Text Placeholder 3">
            <a:extLst>
              <a:ext uri="{FF2B5EF4-FFF2-40B4-BE49-F238E27FC236}">
                <a16:creationId xmlns:a16="http://schemas.microsoft.com/office/drawing/2014/main" id="{F71CA44B-A516-DE48-8E00-49E05D1465C6}"/>
              </a:ext>
            </a:extLst>
          </p:cNvPr>
          <p:cNvSpPr>
            <a:spLocks noGrp="1"/>
          </p:cNvSpPr>
          <p:nvPr>
            <p:ph type="body" sz="quarter" idx="20" hasCustomPrompt="1"/>
          </p:nvPr>
        </p:nvSpPr>
        <p:spPr>
          <a:xfrm>
            <a:off x="576000" y="2098800"/>
            <a:ext cx="11039738" cy="4030663"/>
          </a:xfrm>
        </p:spPr>
        <p:txBody>
          <a:bodyPr numCol="2"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brødtekst</a:t>
            </a:r>
            <a:endParaRPr lang="en-US" noProof="0" dirty="0"/>
          </a:p>
        </p:txBody>
      </p:sp>
      <p:sp>
        <p:nvSpPr>
          <p:cNvPr id="2" name="Logotype">
            <a:extLst>
              <a:ext uri="{FF2B5EF4-FFF2-40B4-BE49-F238E27FC236}">
                <a16:creationId xmlns:a16="http://schemas.microsoft.com/office/drawing/2014/main" id="{F1A82E41-FDB1-49A5-B8BB-1538483C42E9}"/>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7" name="Text Placeholder 7">
            <a:extLst>
              <a:ext uri="{FF2B5EF4-FFF2-40B4-BE49-F238E27FC236}">
                <a16:creationId xmlns:a16="http://schemas.microsoft.com/office/drawing/2014/main" id="{E57DE9C5-EA77-59BD-A513-14F441283B88}"/>
              </a:ext>
            </a:extLst>
          </p:cNvPr>
          <p:cNvSpPr>
            <a:spLocks noGrp="1"/>
          </p:cNvSpPr>
          <p:nvPr>
            <p:ph type="body" sz="quarter" idx="25" hasCustomPrompt="1"/>
          </p:nvPr>
        </p:nvSpPr>
        <p:spPr>
          <a:xfrm>
            <a:off x="576262" y="291600"/>
            <a:ext cx="5180400" cy="180000"/>
          </a:xfrm>
        </p:spPr>
        <p:txBody>
          <a:bodyPr/>
          <a:lstStyle>
            <a:lvl1pPr marL="6350" indent="0">
              <a:buNone/>
              <a:defRPr sz="1200">
                <a:solidFill>
                  <a:schemeClr val="tx2"/>
                </a:solidFill>
              </a:defRPr>
            </a:lvl1pPr>
          </a:lstStyle>
          <a:p>
            <a:pPr lvl="0"/>
            <a:r>
              <a:rPr lang="nb-NO" dirty="0"/>
              <a:t>Klikk for å legge til kapittel</a:t>
            </a:r>
            <a:endParaRPr lang="en-US" dirty="0"/>
          </a:p>
        </p:txBody>
      </p:sp>
    </p:spTree>
    <p:extLst>
      <p:ext uri="{BB962C8B-B14F-4D97-AF65-F5344CB8AC3E}">
        <p14:creationId xmlns:p14="http://schemas.microsoft.com/office/powerpoint/2010/main" val="4083794808"/>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Tekst To kolonner Overskri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99FEB6F-FE6D-DBB6-AF6F-C9DF88563CC7}"/>
              </a:ext>
            </a:extLst>
          </p:cNvPr>
          <p:cNvSpPr>
            <a:spLocks noGrp="1"/>
          </p:cNvSpPr>
          <p:nvPr>
            <p:ph type="title" hasCustomPrompt="1"/>
          </p:nvPr>
        </p:nvSpPr>
        <p:spPr>
          <a:xfrm>
            <a:off x="576000" y="730800"/>
            <a:ext cx="11039738" cy="860400"/>
          </a:xfrm>
        </p:spPr>
        <p:txBody>
          <a:bodyPr/>
          <a:lstStyle>
            <a:lvl1pPr>
              <a:defRPr>
                <a:solidFill>
                  <a:schemeClr val="tx2"/>
                </a:solidFill>
              </a:defRPr>
            </a:lvl1pPr>
          </a:lstStyle>
          <a:p>
            <a:r>
              <a:rPr lang="nb-NO" dirty="0"/>
              <a:t>Klikk for å legge til en overskrift på maksimalt to linjer</a:t>
            </a:r>
            <a:endParaRPr lang="en-US" dirty="0"/>
          </a:p>
        </p:txBody>
      </p:sp>
      <p:sp>
        <p:nvSpPr>
          <p:cNvPr id="16" name="Text Placeholder 3">
            <a:extLst>
              <a:ext uri="{FF2B5EF4-FFF2-40B4-BE49-F238E27FC236}">
                <a16:creationId xmlns:a16="http://schemas.microsoft.com/office/drawing/2014/main" id="{ECEA6B9D-FCD9-264F-B149-52BDAA51427B}"/>
              </a:ext>
            </a:extLst>
          </p:cNvPr>
          <p:cNvSpPr>
            <a:spLocks noGrp="1"/>
          </p:cNvSpPr>
          <p:nvPr>
            <p:ph type="body" sz="quarter" idx="21" hasCustomPrompt="1"/>
          </p:nvPr>
        </p:nvSpPr>
        <p:spPr>
          <a:xfrm>
            <a:off x="576000" y="2464310"/>
            <a:ext cx="5377125" cy="3665028"/>
          </a:xfrm>
        </p:spPr>
        <p:txBody>
          <a:bodyPr numCol="1"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brødtekst</a:t>
            </a:r>
            <a:endParaRPr lang="en-US" noProof="0" dirty="0"/>
          </a:p>
        </p:txBody>
      </p:sp>
      <p:sp>
        <p:nvSpPr>
          <p:cNvPr id="20" name="Text Placeholder 3">
            <a:extLst>
              <a:ext uri="{FF2B5EF4-FFF2-40B4-BE49-F238E27FC236}">
                <a16:creationId xmlns:a16="http://schemas.microsoft.com/office/drawing/2014/main" id="{A18C74BD-CC5C-1E4F-BEFD-F00C703BC870}"/>
              </a:ext>
            </a:extLst>
          </p:cNvPr>
          <p:cNvSpPr>
            <a:spLocks noGrp="1"/>
          </p:cNvSpPr>
          <p:nvPr>
            <p:ph type="body" sz="quarter" idx="23" hasCustomPrompt="1"/>
          </p:nvPr>
        </p:nvSpPr>
        <p:spPr>
          <a:xfrm>
            <a:off x="6253234" y="2464310"/>
            <a:ext cx="5377125" cy="3665028"/>
          </a:xfrm>
        </p:spPr>
        <p:txBody>
          <a:bodyPr numCol="1"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brødtekst</a:t>
            </a:r>
            <a:endParaRPr lang="en-US" noProof="0" dirty="0"/>
          </a:p>
        </p:txBody>
      </p:sp>
      <p:sp>
        <p:nvSpPr>
          <p:cNvPr id="22" name="Text Placeholder 7">
            <a:extLst>
              <a:ext uri="{FF2B5EF4-FFF2-40B4-BE49-F238E27FC236}">
                <a16:creationId xmlns:a16="http://schemas.microsoft.com/office/drawing/2014/main" id="{C549C084-B31C-4141-B8C7-D02E39FDC08F}"/>
              </a:ext>
            </a:extLst>
          </p:cNvPr>
          <p:cNvSpPr>
            <a:spLocks noGrp="1"/>
          </p:cNvSpPr>
          <p:nvPr>
            <p:ph type="body" sz="quarter" idx="19" hasCustomPrompt="1"/>
          </p:nvPr>
        </p:nvSpPr>
        <p:spPr>
          <a:xfrm>
            <a:off x="576000" y="2098800"/>
            <a:ext cx="5377125" cy="278640"/>
          </a:xfrm>
        </p:spPr>
        <p:txBody>
          <a:bodyPr numCol="1"/>
          <a:lstStyle>
            <a:lvl1pPr marL="0" indent="0">
              <a:lnSpc>
                <a:spcPct val="100000"/>
              </a:lnSpc>
              <a:spcBef>
                <a:spcPts val="0"/>
              </a:spcBef>
              <a:spcAft>
                <a:spcPts val="1000"/>
              </a:spcAft>
              <a:buNone/>
              <a:defRPr sz="1600" b="1" spc="40" baseline="0">
                <a:solidFill>
                  <a:schemeClr val="tx2"/>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nb-NO" noProof="0" dirty="0"/>
              <a:t>Klikk for å legge til en kort overskrift</a:t>
            </a:r>
            <a:endParaRPr lang="en-US" noProof="0" dirty="0"/>
          </a:p>
        </p:txBody>
      </p:sp>
      <p:sp>
        <p:nvSpPr>
          <p:cNvPr id="18" name="Text Placeholder 7">
            <a:extLst>
              <a:ext uri="{FF2B5EF4-FFF2-40B4-BE49-F238E27FC236}">
                <a16:creationId xmlns:a16="http://schemas.microsoft.com/office/drawing/2014/main" id="{F6C12987-225B-0E47-8F8B-19D28C763DEE}"/>
              </a:ext>
            </a:extLst>
          </p:cNvPr>
          <p:cNvSpPr>
            <a:spLocks noGrp="1"/>
          </p:cNvSpPr>
          <p:nvPr>
            <p:ph type="body" sz="quarter" idx="22" hasCustomPrompt="1"/>
          </p:nvPr>
        </p:nvSpPr>
        <p:spPr>
          <a:xfrm>
            <a:off x="6253234" y="2098800"/>
            <a:ext cx="5377125" cy="278640"/>
          </a:xfrm>
        </p:spPr>
        <p:txBody>
          <a:bodyPr numCol="1"/>
          <a:lstStyle>
            <a:lvl1pPr marL="0" indent="0">
              <a:lnSpc>
                <a:spcPct val="100000"/>
              </a:lnSpc>
              <a:spcBef>
                <a:spcPts val="0"/>
              </a:spcBef>
              <a:spcAft>
                <a:spcPts val="1000"/>
              </a:spcAft>
              <a:buNone/>
              <a:defRPr sz="1600" b="1" spc="40" baseline="0">
                <a:solidFill>
                  <a:schemeClr val="tx2"/>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nb-NO" noProof="0" dirty="0"/>
              <a:t>Klikk for å legge til en kort overskrift</a:t>
            </a:r>
            <a:endParaRPr lang="en-US" noProof="0" dirty="0"/>
          </a:p>
        </p:txBody>
      </p:sp>
      <p:sp>
        <p:nvSpPr>
          <p:cNvPr id="2" name="Logotype">
            <a:extLst>
              <a:ext uri="{FF2B5EF4-FFF2-40B4-BE49-F238E27FC236}">
                <a16:creationId xmlns:a16="http://schemas.microsoft.com/office/drawing/2014/main" id="{3374B8D3-C9C3-F1A7-A7F1-A78AE4FD83B5}"/>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7" name="Text Placeholder 7">
            <a:extLst>
              <a:ext uri="{FF2B5EF4-FFF2-40B4-BE49-F238E27FC236}">
                <a16:creationId xmlns:a16="http://schemas.microsoft.com/office/drawing/2014/main" id="{D5254EC2-5BEF-9E7A-785B-78305A91EAC7}"/>
              </a:ext>
            </a:extLst>
          </p:cNvPr>
          <p:cNvSpPr>
            <a:spLocks noGrp="1"/>
          </p:cNvSpPr>
          <p:nvPr>
            <p:ph type="body" sz="quarter" idx="27" hasCustomPrompt="1"/>
          </p:nvPr>
        </p:nvSpPr>
        <p:spPr>
          <a:xfrm>
            <a:off x="576262" y="291600"/>
            <a:ext cx="5180400" cy="180000"/>
          </a:xfrm>
        </p:spPr>
        <p:txBody>
          <a:bodyPr/>
          <a:lstStyle>
            <a:lvl1pPr marL="6350" indent="0">
              <a:buNone/>
              <a:defRPr sz="1200">
                <a:solidFill>
                  <a:schemeClr val="tx2"/>
                </a:solidFill>
              </a:defRPr>
            </a:lvl1pPr>
          </a:lstStyle>
          <a:p>
            <a:pPr lvl="0"/>
            <a:r>
              <a:rPr lang="nb-NO" dirty="0"/>
              <a:t>Klikk for å legge til kapittel</a:t>
            </a:r>
            <a:endParaRPr lang="en-US" dirty="0"/>
          </a:p>
        </p:txBody>
      </p:sp>
    </p:spTree>
    <p:extLst>
      <p:ext uri="{BB962C8B-B14F-4D97-AF65-F5344CB8AC3E}">
        <p14:creationId xmlns:p14="http://schemas.microsoft.com/office/powerpoint/2010/main" val="405818148"/>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Tekst Tre flytende kolonner">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7B601A5-19FD-F12E-A716-5B3C4A8249F2}"/>
              </a:ext>
            </a:extLst>
          </p:cNvPr>
          <p:cNvSpPr>
            <a:spLocks noGrp="1"/>
          </p:cNvSpPr>
          <p:nvPr>
            <p:ph type="title" hasCustomPrompt="1"/>
          </p:nvPr>
        </p:nvSpPr>
        <p:spPr>
          <a:xfrm>
            <a:off x="576000" y="730800"/>
            <a:ext cx="11039738" cy="860400"/>
          </a:xfrm>
        </p:spPr>
        <p:txBody>
          <a:bodyPr/>
          <a:lstStyle>
            <a:lvl1pPr>
              <a:defRPr>
                <a:solidFill>
                  <a:schemeClr val="tx2"/>
                </a:solidFill>
              </a:defRPr>
            </a:lvl1pPr>
          </a:lstStyle>
          <a:p>
            <a:r>
              <a:rPr lang="nb-NO" dirty="0"/>
              <a:t>Klikk for å legge til en overskrift på maksimalt to linjer</a:t>
            </a:r>
            <a:endParaRPr lang="en-US" dirty="0"/>
          </a:p>
        </p:txBody>
      </p:sp>
      <p:sp>
        <p:nvSpPr>
          <p:cNvPr id="15" name="Text Placeholder 3">
            <a:extLst>
              <a:ext uri="{FF2B5EF4-FFF2-40B4-BE49-F238E27FC236}">
                <a16:creationId xmlns:a16="http://schemas.microsoft.com/office/drawing/2014/main" id="{F71CA44B-A516-DE48-8E00-49E05D1465C6}"/>
              </a:ext>
            </a:extLst>
          </p:cNvPr>
          <p:cNvSpPr>
            <a:spLocks noGrp="1"/>
          </p:cNvSpPr>
          <p:nvPr>
            <p:ph type="body" sz="quarter" idx="20" hasCustomPrompt="1"/>
          </p:nvPr>
        </p:nvSpPr>
        <p:spPr>
          <a:xfrm>
            <a:off x="576000" y="2098800"/>
            <a:ext cx="11039738" cy="4030663"/>
          </a:xfrm>
        </p:spPr>
        <p:txBody>
          <a:bodyPr numCol="3"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brødtekst</a:t>
            </a:r>
            <a:endParaRPr lang="en-US" noProof="0" dirty="0"/>
          </a:p>
        </p:txBody>
      </p:sp>
      <p:sp>
        <p:nvSpPr>
          <p:cNvPr id="2" name="Logotype">
            <a:extLst>
              <a:ext uri="{FF2B5EF4-FFF2-40B4-BE49-F238E27FC236}">
                <a16:creationId xmlns:a16="http://schemas.microsoft.com/office/drawing/2014/main" id="{BD6BDADA-9575-B15A-BDEF-760BA3EBC556}"/>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7" name="Text Placeholder 7">
            <a:extLst>
              <a:ext uri="{FF2B5EF4-FFF2-40B4-BE49-F238E27FC236}">
                <a16:creationId xmlns:a16="http://schemas.microsoft.com/office/drawing/2014/main" id="{86A109B7-FC32-D80C-748B-60270262CE11}"/>
              </a:ext>
            </a:extLst>
          </p:cNvPr>
          <p:cNvSpPr>
            <a:spLocks noGrp="1"/>
          </p:cNvSpPr>
          <p:nvPr>
            <p:ph type="body" sz="quarter" idx="25" hasCustomPrompt="1"/>
          </p:nvPr>
        </p:nvSpPr>
        <p:spPr>
          <a:xfrm>
            <a:off x="576262" y="291600"/>
            <a:ext cx="5180400" cy="180000"/>
          </a:xfrm>
        </p:spPr>
        <p:txBody>
          <a:bodyPr/>
          <a:lstStyle>
            <a:lvl1pPr marL="6350" indent="0">
              <a:buNone/>
              <a:defRPr sz="1200">
                <a:solidFill>
                  <a:schemeClr val="tx2"/>
                </a:solidFill>
              </a:defRPr>
            </a:lvl1pPr>
          </a:lstStyle>
          <a:p>
            <a:pPr lvl="0"/>
            <a:r>
              <a:rPr lang="nb-NO" dirty="0"/>
              <a:t>Klikk for å legge til kapittel</a:t>
            </a:r>
            <a:endParaRPr lang="en-US" dirty="0"/>
          </a:p>
        </p:txBody>
      </p:sp>
    </p:spTree>
    <p:extLst>
      <p:ext uri="{BB962C8B-B14F-4D97-AF65-F5344CB8AC3E}">
        <p14:creationId xmlns:p14="http://schemas.microsoft.com/office/powerpoint/2010/main" val="2580241096"/>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Tekst Tre kolonner Overskri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115DDAA-6FAA-EF6A-5AFB-241AFC3326C2}"/>
              </a:ext>
            </a:extLst>
          </p:cNvPr>
          <p:cNvSpPr>
            <a:spLocks noGrp="1"/>
          </p:cNvSpPr>
          <p:nvPr>
            <p:ph type="title" hasCustomPrompt="1"/>
          </p:nvPr>
        </p:nvSpPr>
        <p:spPr>
          <a:xfrm>
            <a:off x="576000" y="730800"/>
            <a:ext cx="11039738" cy="860400"/>
          </a:xfrm>
        </p:spPr>
        <p:txBody>
          <a:bodyPr/>
          <a:lstStyle>
            <a:lvl1pPr>
              <a:defRPr>
                <a:solidFill>
                  <a:schemeClr val="tx2"/>
                </a:solidFill>
              </a:defRPr>
            </a:lvl1pPr>
          </a:lstStyle>
          <a:p>
            <a:r>
              <a:rPr lang="nb-NO" dirty="0"/>
              <a:t>Klikk for å legge til en overskrift på maksimalt to linjer</a:t>
            </a:r>
            <a:endParaRPr lang="en-US" dirty="0"/>
          </a:p>
        </p:txBody>
      </p:sp>
      <p:sp>
        <p:nvSpPr>
          <p:cNvPr id="21" name="Text Placeholder 2">
            <a:extLst>
              <a:ext uri="{FF2B5EF4-FFF2-40B4-BE49-F238E27FC236}">
                <a16:creationId xmlns:a16="http://schemas.microsoft.com/office/drawing/2014/main" id="{A52DBF44-87DD-6141-8462-4830C4051BB0}"/>
              </a:ext>
            </a:extLst>
          </p:cNvPr>
          <p:cNvSpPr>
            <a:spLocks noGrp="1"/>
          </p:cNvSpPr>
          <p:nvPr>
            <p:ph type="body" sz="quarter" idx="21" hasCustomPrompt="1"/>
          </p:nvPr>
        </p:nvSpPr>
        <p:spPr>
          <a:xfrm>
            <a:off x="576001" y="2464310"/>
            <a:ext cx="3481650" cy="3665028"/>
          </a:xfrm>
        </p:spPr>
        <p:txBody>
          <a:bodyPr numCol="1"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brødtekst</a:t>
            </a:r>
            <a:endParaRPr lang="en-US" noProof="0" dirty="0"/>
          </a:p>
        </p:txBody>
      </p:sp>
      <p:sp>
        <p:nvSpPr>
          <p:cNvPr id="34" name="Text Placeholder 2">
            <a:extLst>
              <a:ext uri="{FF2B5EF4-FFF2-40B4-BE49-F238E27FC236}">
                <a16:creationId xmlns:a16="http://schemas.microsoft.com/office/drawing/2014/main" id="{4C7842FC-98C2-8449-93BB-EBDC67C9F18E}"/>
              </a:ext>
            </a:extLst>
          </p:cNvPr>
          <p:cNvSpPr>
            <a:spLocks noGrp="1"/>
          </p:cNvSpPr>
          <p:nvPr>
            <p:ph type="body" sz="quarter" idx="23" hasCustomPrompt="1"/>
          </p:nvPr>
        </p:nvSpPr>
        <p:spPr>
          <a:xfrm>
            <a:off x="4360821" y="2464310"/>
            <a:ext cx="3481650" cy="3665028"/>
          </a:xfrm>
        </p:spPr>
        <p:txBody>
          <a:bodyPr numCol="1"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brødtekst</a:t>
            </a:r>
            <a:endParaRPr lang="en-US" noProof="0" dirty="0"/>
          </a:p>
        </p:txBody>
      </p:sp>
      <p:sp>
        <p:nvSpPr>
          <p:cNvPr id="36" name="Text Placeholder 2">
            <a:extLst>
              <a:ext uri="{FF2B5EF4-FFF2-40B4-BE49-F238E27FC236}">
                <a16:creationId xmlns:a16="http://schemas.microsoft.com/office/drawing/2014/main" id="{CB9E4808-1FD3-9D40-9DD0-EC81CD7AF001}"/>
              </a:ext>
            </a:extLst>
          </p:cNvPr>
          <p:cNvSpPr>
            <a:spLocks noGrp="1"/>
          </p:cNvSpPr>
          <p:nvPr>
            <p:ph type="body" sz="quarter" idx="25" hasCustomPrompt="1"/>
          </p:nvPr>
        </p:nvSpPr>
        <p:spPr>
          <a:xfrm>
            <a:off x="8137688" y="2464310"/>
            <a:ext cx="3481650" cy="3665028"/>
          </a:xfrm>
        </p:spPr>
        <p:txBody>
          <a:bodyPr numCol="1"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brødtekst</a:t>
            </a:r>
            <a:endParaRPr lang="en-US" noProof="0" dirty="0"/>
          </a:p>
        </p:txBody>
      </p:sp>
      <p:sp>
        <p:nvSpPr>
          <p:cNvPr id="20" name="Text Placeholder 7">
            <a:extLst>
              <a:ext uri="{FF2B5EF4-FFF2-40B4-BE49-F238E27FC236}">
                <a16:creationId xmlns:a16="http://schemas.microsoft.com/office/drawing/2014/main" id="{F0C69720-3BB4-CE48-9B9B-3853CE7792ED}"/>
              </a:ext>
            </a:extLst>
          </p:cNvPr>
          <p:cNvSpPr>
            <a:spLocks noGrp="1"/>
          </p:cNvSpPr>
          <p:nvPr>
            <p:ph type="body" sz="quarter" idx="19" hasCustomPrompt="1"/>
          </p:nvPr>
        </p:nvSpPr>
        <p:spPr>
          <a:xfrm>
            <a:off x="576001" y="2098800"/>
            <a:ext cx="3481650" cy="278640"/>
          </a:xfrm>
        </p:spPr>
        <p:txBody>
          <a:bodyPr numCol="1"/>
          <a:lstStyle>
            <a:lvl1pPr marL="0" indent="0">
              <a:lnSpc>
                <a:spcPct val="100000"/>
              </a:lnSpc>
              <a:spcBef>
                <a:spcPts val="0"/>
              </a:spcBef>
              <a:spcAft>
                <a:spcPts val="1000"/>
              </a:spcAft>
              <a:buNone/>
              <a:defRPr sz="1600" b="1" spc="40" baseline="0">
                <a:solidFill>
                  <a:schemeClr val="tx2"/>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nb-NO" noProof="0" dirty="0"/>
              <a:t>Klikk for å legge til en kort overskrift</a:t>
            </a:r>
            <a:endParaRPr lang="en-US" noProof="0" dirty="0"/>
          </a:p>
        </p:txBody>
      </p:sp>
      <p:sp>
        <p:nvSpPr>
          <p:cNvPr id="33" name="Text Placeholder 7">
            <a:extLst>
              <a:ext uri="{FF2B5EF4-FFF2-40B4-BE49-F238E27FC236}">
                <a16:creationId xmlns:a16="http://schemas.microsoft.com/office/drawing/2014/main" id="{F70341C1-0EEE-554E-9131-0B4D0A42CC19}"/>
              </a:ext>
            </a:extLst>
          </p:cNvPr>
          <p:cNvSpPr>
            <a:spLocks noGrp="1"/>
          </p:cNvSpPr>
          <p:nvPr>
            <p:ph type="body" sz="quarter" idx="22" hasCustomPrompt="1"/>
          </p:nvPr>
        </p:nvSpPr>
        <p:spPr>
          <a:xfrm>
            <a:off x="4360821" y="2098800"/>
            <a:ext cx="3481650" cy="278640"/>
          </a:xfrm>
        </p:spPr>
        <p:txBody>
          <a:bodyPr numCol="1"/>
          <a:lstStyle>
            <a:lvl1pPr marL="0" indent="0">
              <a:lnSpc>
                <a:spcPct val="100000"/>
              </a:lnSpc>
              <a:spcBef>
                <a:spcPts val="0"/>
              </a:spcBef>
              <a:spcAft>
                <a:spcPts val="1000"/>
              </a:spcAft>
              <a:buNone/>
              <a:defRPr sz="1600" b="1" spc="40" baseline="0">
                <a:solidFill>
                  <a:schemeClr val="tx2"/>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nb-NO" noProof="0" dirty="0"/>
              <a:t>Klikk for å legge til en kort overskrift</a:t>
            </a:r>
            <a:endParaRPr lang="en-US" noProof="0" dirty="0"/>
          </a:p>
        </p:txBody>
      </p:sp>
      <p:sp>
        <p:nvSpPr>
          <p:cNvPr id="35" name="Text Placeholder 7">
            <a:extLst>
              <a:ext uri="{FF2B5EF4-FFF2-40B4-BE49-F238E27FC236}">
                <a16:creationId xmlns:a16="http://schemas.microsoft.com/office/drawing/2014/main" id="{5DB97D42-38E5-9240-82E9-87CB672A060D}"/>
              </a:ext>
            </a:extLst>
          </p:cNvPr>
          <p:cNvSpPr>
            <a:spLocks noGrp="1"/>
          </p:cNvSpPr>
          <p:nvPr>
            <p:ph type="body" sz="quarter" idx="24" hasCustomPrompt="1"/>
          </p:nvPr>
        </p:nvSpPr>
        <p:spPr>
          <a:xfrm>
            <a:off x="8137688" y="2098800"/>
            <a:ext cx="3481650" cy="278640"/>
          </a:xfrm>
        </p:spPr>
        <p:txBody>
          <a:bodyPr numCol="1"/>
          <a:lstStyle>
            <a:lvl1pPr marL="0" indent="0">
              <a:lnSpc>
                <a:spcPct val="100000"/>
              </a:lnSpc>
              <a:spcBef>
                <a:spcPts val="0"/>
              </a:spcBef>
              <a:spcAft>
                <a:spcPts val="1000"/>
              </a:spcAft>
              <a:buNone/>
              <a:defRPr sz="1600" b="1" spc="40" baseline="0">
                <a:solidFill>
                  <a:schemeClr val="tx2"/>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nb-NO" noProof="0" dirty="0"/>
              <a:t>Klikk for å legge til en kort overskrift</a:t>
            </a:r>
            <a:endParaRPr lang="en-US" noProof="0" dirty="0"/>
          </a:p>
        </p:txBody>
      </p:sp>
      <p:sp>
        <p:nvSpPr>
          <p:cNvPr id="2" name="Logotype">
            <a:extLst>
              <a:ext uri="{FF2B5EF4-FFF2-40B4-BE49-F238E27FC236}">
                <a16:creationId xmlns:a16="http://schemas.microsoft.com/office/drawing/2014/main" id="{1ACACBBF-3E0D-0DA9-254A-8EF7BF241D08}"/>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7" name="Text Placeholder 7">
            <a:extLst>
              <a:ext uri="{FF2B5EF4-FFF2-40B4-BE49-F238E27FC236}">
                <a16:creationId xmlns:a16="http://schemas.microsoft.com/office/drawing/2014/main" id="{A319BA46-6DC1-B443-2B25-5A8E92387FED}"/>
              </a:ext>
            </a:extLst>
          </p:cNvPr>
          <p:cNvSpPr>
            <a:spLocks noGrp="1"/>
          </p:cNvSpPr>
          <p:nvPr>
            <p:ph type="body" sz="quarter" idx="29" hasCustomPrompt="1"/>
          </p:nvPr>
        </p:nvSpPr>
        <p:spPr>
          <a:xfrm>
            <a:off x="576262" y="291600"/>
            <a:ext cx="5180400" cy="180000"/>
          </a:xfrm>
        </p:spPr>
        <p:txBody>
          <a:bodyPr/>
          <a:lstStyle>
            <a:lvl1pPr marL="6350" indent="0">
              <a:buNone/>
              <a:defRPr sz="1200">
                <a:solidFill>
                  <a:schemeClr val="tx2"/>
                </a:solidFill>
              </a:defRPr>
            </a:lvl1pPr>
          </a:lstStyle>
          <a:p>
            <a:pPr lvl="0"/>
            <a:r>
              <a:rPr lang="nb-NO" dirty="0"/>
              <a:t>Klikk for å legge til kapittel</a:t>
            </a:r>
            <a:endParaRPr lang="en-US" dirty="0"/>
          </a:p>
        </p:txBody>
      </p:sp>
    </p:spTree>
    <p:extLst>
      <p:ext uri="{BB962C8B-B14F-4D97-AF65-F5344CB8AC3E}">
        <p14:creationId xmlns:p14="http://schemas.microsoft.com/office/powerpoint/2010/main" val="999010267"/>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Tekst To kolonner Bilde">
    <p:bg>
      <p:bgRef idx="1001">
        <a:schemeClr val="bg1"/>
      </p:bgRef>
    </p:bg>
    <p:spTree>
      <p:nvGrpSpPr>
        <p:cNvPr id="1" name=""/>
        <p:cNvGrpSpPr/>
        <p:nvPr/>
      </p:nvGrpSpPr>
      <p:grpSpPr>
        <a:xfrm>
          <a:off x="0" y="0"/>
          <a:ext cx="0" cy="0"/>
          <a:chOff x="0" y="0"/>
          <a:chExt cx="0" cy="0"/>
        </a:xfrm>
      </p:grpSpPr>
      <p:sp>
        <p:nvSpPr>
          <p:cNvPr id="23" name="Picture Placeholder 10">
            <a:extLst>
              <a:ext uri="{FF2B5EF4-FFF2-40B4-BE49-F238E27FC236}">
                <a16:creationId xmlns:a16="http://schemas.microsoft.com/office/drawing/2014/main" id="{86E476F6-89CC-3C44-93CC-6B5D2DF6CACA}"/>
              </a:ext>
            </a:extLst>
          </p:cNvPr>
          <p:cNvSpPr>
            <a:spLocks noGrp="1"/>
          </p:cNvSpPr>
          <p:nvPr>
            <p:ph type="pic" sz="quarter" idx="18" hasCustomPrompt="1"/>
          </p:nvPr>
        </p:nvSpPr>
        <p:spPr>
          <a:xfrm>
            <a:off x="8142000" y="-1"/>
            <a:ext cx="4050000" cy="6868800"/>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solidFill>
        </p:spPr>
        <p:txBody>
          <a:bodyPr wrap="square" lIns="36000" tIns="36000" rIns="36000" bIns="36000">
            <a:noAutofit/>
          </a:bodyPr>
          <a:lstStyle>
            <a:lvl1pPr marL="0" indent="0" algn="ctr">
              <a:buNone/>
              <a:defRPr sz="1300">
                <a:solidFill>
                  <a:schemeClr val="tx2"/>
                </a:solidFill>
              </a:defRPr>
            </a:lvl1pPr>
          </a:lstStyle>
          <a:p>
            <a:r>
              <a:rPr lang="nb-NO" noProof="0" dirty="0"/>
              <a:t>Klikk på ikonet for å legge til et bilde</a:t>
            </a:r>
            <a:endParaRPr lang="en-US" noProof="0" dirty="0"/>
          </a:p>
        </p:txBody>
      </p:sp>
      <p:sp>
        <p:nvSpPr>
          <p:cNvPr id="3" name="Title 2">
            <a:extLst>
              <a:ext uri="{FF2B5EF4-FFF2-40B4-BE49-F238E27FC236}">
                <a16:creationId xmlns:a16="http://schemas.microsoft.com/office/drawing/2014/main" id="{E4120C71-6579-2CB3-DA6E-C4C26FBB276E}"/>
              </a:ext>
            </a:extLst>
          </p:cNvPr>
          <p:cNvSpPr>
            <a:spLocks noGrp="1"/>
          </p:cNvSpPr>
          <p:nvPr>
            <p:ph type="title" hasCustomPrompt="1"/>
          </p:nvPr>
        </p:nvSpPr>
        <p:spPr>
          <a:xfrm>
            <a:off x="576000" y="730800"/>
            <a:ext cx="7253550" cy="860400"/>
          </a:xfrm>
        </p:spPr>
        <p:txBody>
          <a:bodyPr/>
          <a:lstStyle>
            <a:lvl1pPr>
              <a:defRPr>
                <a:solidFill>
                  <a:schemeClr val="tx2"/>
                </a:solidFill>
              </a:defRPr>
            </a:lvl1pPr>
          </a:lstStyle>
          <a:p>
            <a:r>
              <a:rPr lang="nb-NO" dirty="0"/>
              <a:t>Klikk for å legge til en overskrift på maksimalt to linjer</a:t>
            </a:r>
            <a:endParaRPr lang="en-US" dirty="0"/>
          </a:p>
        </p:txBody>
      </p:sp>
      <p:sp>
        <p:nvSpPr>
          <p:cNvPr id="16" name="Text Placeholder 3">
            <a:extLst>
              <a:ext uri="{FF2B5EF4-FFF2-40B4-BE49-F238E27FC236}">
                <a16:creationId xmlns:a16="http://schemas.microsoft.com/office/drawing/2014/main" id="{A6FCAC05-56E0-3641-AF25-73BF5DF0EE2E}"/>
              </a:ext>
            </a:extLst>
          </p:cNvPr>
          <p:cNvSpPr>
            <a:spLocks noGrp="1"/>
          </p:cNvSpPr>
          <p:nvPr>
            <p:ph type="body" sz="quarter" idx="20" hasCustomPrompt="1"/>
          </p:nvPr>
        </p:nvSpPr>
        <p:spPr>
          <a:xfrm>
            <a:off x="576000" y="2098800"/>
            <a:ext cx="7253550" cy="403066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brødtekst</a:t>
            </a:r>
            <a:endParaRPr lang="en-US" noProof="0" dirty="0"/>
          </a:p>
        </p:txBody>
      </p:sp>
      <p:sp>
        <p:nvSpPr>
          <p:cNvPr id="22" name="Text Placeholder 4">
            <a:extLst>
              <a:ext uri="{FF2B5EF4-FFF2-40B4-BE49-F238E27FC236}">
                <a16:creationId xmlns:a16="http://schemas.microsoft.com/office/drawing/2014/main" id="{0F763C9D-544A-CE41-857C-BA3F78E072EA}"/>
              </a:ext>
            </a:extLst>
          </p:cNvPr>
          <p:cNvSpPr>
            <a:spLocks noGrp="1"/>
          </p:cNvSpPr>
          <p:nvPr>
            <p:ph type="body" sz="quarter" idx="16" hasCustomPrompt="1"/>
          </p:nvPr>
        </p:nvSpPr>
        <p:spPr>
          <a:xfrm rot="5400000">
            <a:off x="9788686" y="1916687"/>
            <a:ext cx="4320000"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sp>
        <p:nvSpPr>
          <p:cNvPr id="2" name="Logotype">
            <a:extLst>
              <a:ext uri="{FF2B5EF4-FFF2-40B4-BE49-F238E27FC236}">
                <a16:creationId xmlns:a16="http://schemas.microsoft.com/office/drawing/2014/main" id="{7C919FF2-F25E-F2EC-A439-AE1C970D2DCD}"/>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7" name="Text Placeholder 7">
            <a:extLst>
              <a:ext uri="{FF2B5EF4-FFF2-40B4-BE49-F238E27FC236}">
                <a16:creationId xmlns:a16="http://schemas.microsoft.com/office/drawing/2014/main" id="{088C385C-47F2-982C-5895-B0087F29F137}"/>
              </a:ext>
            </a:extLst>
          </p:cNvPr>
          <p:cNvSpPr>
            <a:spLocks noGrp="1"/>
          </p:cNvSpPr>
          <p:nvPr>
            <p:ph type="body" sz="quarter" idx="25" hasCustomPrompt="1"/>
          </p:nvPr>
        </p:nvSpPr>
        <p:spPr>
          <a:xfrm>
            <a:off x="576262" y="291600"/>
            <a:ext cx="5180400" cy="180000"/>
          </a:xfrm>
        </p:spPr>
        <p:txBody>
          <a:bodyPr/>
          <a:lstStyle>
            <a:lvl1pPr marL="6350" indent="0">
              <a:buNone/>
              <a:defRPr sz="1200">
                <a:solidFill>
                  <a:schemeClr val="tx2"/>
                </a:solidFill>
              </a:defRPr>
            </a:lvl1pPr>
          </a:lstStyle>
          <a:p>
            <a:pPr lvl="0"/>
            <a:r>
              <a:rPr lang="nb-NO" dirty="0"/>
              <a:t>Klikk for å legge til kapittel</a:t>
            </a:r>
            <a:endParaRPr lang="en-US" dirty="0"/>
          </a:p>
        </p:txBody>
      </p:sp>
    </p:spTree>
    <p:extLst>
      <p:ext uri="{BB962C8B-B14F-4D97-AF65-F5344CB8AC3E}">
        <p14:creationId xmlns:p14="http://schemas.microsoft.com/office/powerpoint/2010/main" val="104613828"/>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 Tabellbilde">
    <p:bg>
      <p:bgRef idx="1001">
        <a:schemeClr val="bg1"/>
      </p:bgRef>
    </p:bg>
    <p:spTree>
      <p:nvGrpSpPr>
        <p:cNvPr id="1" name=""/>
        <p:cNvGrpSpPr/>
        <p:nvPr/>
      </p:nvGrpSpPr>
      <p:grpSpPr>
        <a:xfrm>
          <a:off x="0" y="0"/>
          <a:ext cx="0" cy="0"/>
          <a:chOff x="0" y="0"/>
          <a:chExt cx="0" cy="0"/>
        </a:xfrm>
      </p:grpSpPr>
      <p:sp>
        <p:nvSpPr>
          <p:cNvPr id="23" name="Picture Placeholder 10">
            <a:extLst>
              <a:ext uri="{FF2B5EF4-FFF2-40B4-BE49-F238E27FC236}">
                <a16:creationId xmlns:a16="http://schemas.microsoft.com/office/drawing/2014/main" id="{86E476F6-89CC-3C44-93CC-6B5D2DF6CACA}"/>
              </a:ext>
            </a:extLst>
          </p:cNvPr>
          <p:cNvSpPr>
            <a:spLocks noGrp="1"/>
          </p:cNvSpPr>
          <p:nvPr>
            <p:ph type="pic" sz="quarter" idx="18" hasCustomPrompt="1"/>
          </p:nvPr>
        </p:nvSpPr>
        <p:spPr>
          <a:xfrm>
            <a:off x="8141999" y="0"/>
            <a:ext cx="4050000" cy="6868800"/>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solidFill>
        </p:spPr>
        <p:txBody>
          <a:bodyPr wrap="square" lIns="36000" tIns="36000" rIns="36000" bIns="36000">
            <a:noAutofit/>
          </a:bodyPr>
          <a:lstStyle>
            <a:lvl1pPr marL="0" indent="0" algn="ctr">
              <a:buNone/>
              <a:defRPr sz="1300">
                <a:solidFill>
                  <a:schemeClr val="tx2"/>
                </a:solidFill>
              </a:defRPr>
            </a:lvl1pPr>
          </a:lstStyle>
          <a:p>
            <a:r>
              <a:rPr lang="nb-NO" noProof="0" dirty="0"/>
              <a:t>Klikk på ikonet for å legge til et bilde</a:t>
            </a:r>
            <a:endParaRPr lang="en-US" noProof="0" dirty="0"/>
          </a:p>
        </p:txBody>
      </p:sp>
      <p:sp>
        <p:nvSpPr>
          <p:cNvPr id="3" name="Title 2">
            <a:extLst>
              <a:ext uri="{FF2B5EF4-FFF2-40B4-BE49-F238E27FC236}">
                <a16:creationId xmlns:a16="http://schemas.microsoft.com/office/drawing/2014/main" id="{68E80A5F-6257-D3F5-3EF6-D63E5A38DE4B}"/>
              </a:ext>
            </a:extLst>
          </p:cNvPr>
          <p:cNvSpPr>
            <a:spLocks noGrp="1"/>
          </p:cNvSpPr>
          <p:nvPr>
            <p:ph type="title" hasCustomPrompt="1"/>
          </p:nvPr>
        </p:nvSpPr>
        <p:spPr>
          <a:xfrm>
            <a:off x="576000" y="730800"/>
            <a:ext cx="7253550" cy="860400"/>
          </a:xfrm>
        </p:spPr>
        <p:txBody>
          <a:bodyPr/>
          <a:lstStyle>
            <a:lvl1pPr>
              <a:defRPr>
                <a:solidFill>
                  <a:schemeClr val="tx2"/>
                </a:solidFill>
              </a:defRPr>
            </a:lvl1pPr>
          </a:lstStyle>
          <a:p>
            <a:r>
              <a:rPr lang="nb-NO" dirty="0"/>
              <a:t>Klikk for å legge til en overskrift på maksimalt to linjer</a:t>
            </a:r>
            <a:endParaRPr lang="en-US" dirty="0"/>
          </a:p>
        </p:txBody>
      </p:sp>
      <p:sp>
        <p:nvSpPr>
          <p:cNvPr id="26" name="Table Placeholder 5">
            <a:extLst>
              <a:ext uri="{FF2B5EF4-FFF2-40B4-BE49-F238E27FC236}">
                <a16:creationId xmlns:a16="http://schemas.microsoft.com/office/drawing/2014/main" id="{3BFD68C4-B563-2D4A-A4B9-CA7F194CE4D4}"/>
              </a:ext>
            </a:extLst>
          </p:cNvPr>
          <p:cNvSpPr>
            <a:spLocks noGrp="1"/>
          </p:cNvSpPr>
          <p:nvPr>
            <p:ph type="tbl" sz="quarter" idx="19" hasCustomPrompt="1"/>
          </p:nvPr>
        </p:nvSpPr>
        <p:spPr>
          <a:xfrm>
            <a:off x="576264" y="2098801"/>
            <a:ext cx="7261806" cy="4037362"/>
          </a:xfrm>
        </p:spPr>
        <p:txBody>
          <a:bodyPr/>
          <a:lstStyle>
            <a:lvl1pPr marL="12700" indent="0" algn="ctr">
              <a:buNone/>
              <a:defRPr sz="1300">
                <a:solidFill>
                  <a:schemeClr val="tx2"/>
                </a:solidFill>
              </a:defRPr>
            </a:lvl1pPr>
          </a:lstStyle>
          <a:p>
            <a:r>
              <a:rPr lang="nb-NO" noProof="0" dirty="0"/>
              <a:t>Klikk for å legge til en tabell</a:t>
            </a:r>
            <a:endParaRPr lang="en-US" noProof="0" dirty="0"/>
          </a:p>
        </p:txBody>
      </p:sp>
      <p:sp>
        <p:nvSpPr>
          <p:cNvPr id="21" name="Text Placeholder 4">
            <a:extLst>
              <a:ext uri="{FF2B5EF4-FFF2-40B4-BE49-F238E27FC236}">
                <a16:creationId xmlns:a16="http://schemas.microsoft.com/office/drawing/2014/main" id="{D83B98AF-7DED-4046-B050-23BFAD35D3DE}"/>
              </a:ext>
            </a:extLst>
          </p:cNvPr>
          <p:cNvSpPr>
            <a:spLocks noGrp="1"/>
          </p:cNvSpPr>
          <p:nvPr>
            <p:ph type="body" sz="quarter" idx="16" hasCustomPrompt="1"/>
          </p:nvPr>
        </p:nvSpPr>
        <p:spPr>
          <a:xfrm rot="5400000">
            <a:off x="9788686" y="1916687"/>
            <a:ext cx="4320000"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sp>
        <p:nvSpPr>
          <p:cNvPr id="2" name="Logotype">
            <a:extLst>
              <a:ext uri="{FF2B5EF4-FFF2-40B4-BE49-F238E27FC236}">
                <a16:creationId xmlns:a16="http://schemas.microsoft.com/office/drawing/2014/main" id="{2325D508-8A10-A3D4-A851-3AE81C9DF81C}"/>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7" name="Text Placeholder 7">
            <a:extLst>
              <a:ext uri="{FF2B5EF4-FFF2-40B4-BE49-F238E27FC236}">
                <a16:creationId xmlns:a16="http://schemas.microsoft.com/office/drawing/2014/main" id="{87978972-5B48-C772-1BDB-FFBE1390E476}"/>
              </a:ext>
            </a:extLst>
          </p:cNvPr>
          <p:cNvSpPr>
            <a:spLocks noGrp="1"/>
          </p:cNvSpPr>
          <p:nvPr>
            <p:ph type="body" sz="quarter" idx="25" hasCustomPrompt="1"/>
          </p:nvPr>
        </p:nvSpPr>
        <p:spPr>
          <a:xfrm>
            <a:off x="576262" y="291600"/>
            <a:ext cx="5180400" cy="180000"/>
          </a:xfrm>
        </p:spPr>
        <p:txBody>
          <a:bodyPr/>
          <a:lstStyle>
            <a:lvl1pPr marL="6350" indent="0">
              <a:buNone/>
              <a:defRPr sz="1200">
                <a:solidFill>
                  <a:schemeClr val="tx2"/>
                </a:solidFill>
              </a:defRPr>
            </a:lvl1pPr>
          </a:lstStyle>
          <a:p>
            <a:pPr lvl="0"/>
            <a:r>
              <a:rPr lang="nb-NO" dirty="0"/>
              <a:t>Klikk for å legge til kapittel</a:t>
            </a:r>
            <a:endParaRPr lang="en-US" dirty="0"/>
          </a:p>
        </p:txBody>
      </p:sp>
    </p:spTree>
    <p:extLst>
      <p:ext uri="{BB962C8B-B14F-4D97-AF65-F5344CB8AC3E}">
        <p14:creationId xmlns:p14="http://schemas.microsoft.com/office/powerpoint/2010/main" val="228654123"/>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 Tabell og tbilde">
    <p:bg>
      <p:bgRef idx="1001">
        <a:schemeClr val="bg1"/>
      </p:bgRef>
    </p:bg>
    <p:spTree>
      <p:nvGrpSpPr>
        <p:cNvPr id="1" name=""/>
        <p:cNvGrpSpPr/>
        <p:nvPr/>
      </p:nvGrpSpPr>
      <p:grpSpPr>
        <a:xfrm>
          <a:off x="0" y="0"/>
          <a:ext cx="0" cy="0"/>
          <a:chOff x="0" y="0"/>
          <a:chExt cx="0" cy="0"/>
        </a:xfrm>
      </p:grpSpPr>
      <p:sp>
        <p:nvSpPr>
          <p:cNvPr id="23" name="Picture Placeholder 10">
            <a:extLst>
              <a:ext uri="{FF2B5EF4-FFF2-40B4-BE49-F238E27FC236}">
                <a16:creationId xmlns:a16="http://schemas.microsoft.com/office/drawing/2014/main" id="{86E476F6-89CC-3C44-93CC-6B5D2DF6CACA}"/>
              </a:ext>
            </a:extLst>
          </p:cNvPr>
          <p:cNvSpPr>
            <a:spLocks noGrp="1"/>
          </p:cNvSpPr>
          <p:nvPr>
            <p:ph type="pic" sz="quarter" idx="18" hasCustomPrompt="1"/>
          </p:nvPr>
        </p:nvSpPr>
        <p:spPr>
          <a:xfrm>
            <a:off x="8142000" y="-1"/>
            <a:ext cx="4050000" cy="6868800"/>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solidFill>
        </p:spPr>
        <p:txBody>
          <a:bodyPr wrap="square" lIns="36000" tIns="36000" rIns="36000" bIns="36000">
            <a:noAutofit/>
          </a:bodyPr>
          <a:lstStyle>
            <a:lvl1pPr marL="0" indent="0" algn="ctr">
              <a:buNone/>
              <a:defRPr sz="1300">
                <a:solidFill>
                  <a:schemeClr val="tx2"/>
                </a:solidFill>
              </a:defRPr>
            </a:lvl1pPr>
          </a:lstStyle>
          <a:p>
            <a:r>
              <a:rPr lang="nb-NO" noProof="0" dirty="0"/>
              <a:t>Klikk på ikonet for å legge til et bilde</a:t>
            </a:r>
            <a:endParaRPr lang="en-US" noProof="0" dirty="0"/>
          </a:p>
        </p:txBody>
      </p:sp>
      <p:sp>
        <p:nvSpPr>
          <p:cNvPr id="3" name="Title 2">
            <a:extLst>
              <a:ext uri="{FF2B5EF4-FFF2-40B4-BE49-F238E27FC236}">
                <a16:creationId xmlns:a16="http://schemas.microsoft.com/office/drawing/2014/main" id="{9AA631E6-92DE-F7EE-1907-32DD85032824}"/>
              </a:ext>
            </a:extLst>
          </p:cNvPr>
          <p:cNvSpPr>
            <a:spLocks noGrp="1"/>
          </p:cNvSpPr>
          <p:nvPr>
            <p:ph type="title" hasCustomPrompt="1"/>
          </p:nvPr>
        </p:nvSpPr>
        <p:spPr>
          <a:xfrm>
            <a:off x="576000" y="730800"/>
            <a:ext cx="7253550" cy="860400"/>
          </a:xfrm>
        </p:spPr>
        <p:txBody>
          <a:bodyPr/>
          <a:lstStyle>
            <a:lvl1pPr>
              <a:defRPr>
                <a:solidFill>
                  <a:schemeClr val="tx2"/>
                </a:solidFill>
              </a:defRPr>
            </a:lvl1pPr>
          </a:lstStyle>
          <a:p>
            <a:r>
              <a:rPr lang="nb-NO" dirty="0"/>
              <a:t>Klikk for å legge til en overskrift på maksimalt to linjer</a:t>
            </a:r>
            <a:endParaRPr lang="en-US" dirty="0"/>
          </a:p>
        </p:txBody>
      </p:sp>
      <p:sp>
        <p:nvSpPr>
          <p:cNvPr id="22" name="Chart Placeholder 4">
            <a:extLst>
              <a:ext uri="{FF2B5EF4-FFF2-40B4-BE49-F238E27FC236}">
                <a16:creationId xmlns:a16="http://schemas.microsoft.com/office/drawing/2014/main" id="{C3D3CB84-4C51-4944-9D93-F993A25F730B}"/>
              </a:ext>
            </a:extLst>
          </p:cNvPr>
          <p:cNvSpPr>
            <a:spLocks noGrp="1"/>
          </p:cNvSpPr>
          <p:nvPr>
            <p:ph type="chart" sz="quarter" idx="20" hasCustomPrompt="1"/>
          </p:nvPr>
        </p:nvSpPr>
        <p:spPr>
          <a:xfrm>
            <a:off x="576264" y="2098674"/>
            <a:ext cx="7253286" cy="4037487"/>
          </a:xfrm>
        </p:spPr>
        <p:txBody>
          <a:bodyPr/>
          <a:lstStyle>
            <a:lvl1pPr marL="12700" indent="0" algn="ctr">
              <a:buNone/>
              <a:defRPr sz="1300">
                <a:solidFill>
                  <a:schemeClr val="tx2"/>
                </a:solidFill>
              </a:defRPr>
            </a:lvl1pPr>
          </a:lstStyle>
          <a:p>
            <a:r>
              <a:rPr lang="nb-NO" noProof="0" dirty="0"/>
              <a:t>Klikk for å legge til et diagram</a:t>
            </a:r>
            <a:endParaRPr lang="en-US" noProof="0" dirty="0"/>
          </a:p>
        </p:txBody>
      </p:sp>
      <p:sp>
        <p:nvSpPr>
          <p:cNvPr id="21" name="Text Placeholder 4">
            <a:extLst>
              <a:ext uri="{FF2B5EF4-FFF2-40B4-BE49-F238E27FC236}">
                <a16:creationId xmlns:a16="http://schemas.microsoft.com/office/drawing/2014/main" id="{1ADD6777-A5E1-8143-BB10-30B94A4DA550}"/>
              </a:ext>
            </a:extLst>
          </p:cNvPr>
          <p:cNvSpPr>
            <a:spLocks noGrp="1"/>
          </p:cNvSpPr>
          <p:nvPr>
            <p:ph type="body" sz="quarter" idx="16" hasCustomPrompt="1"/>
          </p:nvPr>
        </p:nvSpPr>
        <p:spPr>
          <a:xfrm rot="5400000">
            <a:off x="9788686" y="1916687"/>
            <a:ext cx="4320000"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sp>
        <p:nvSpPr>
          <p:cNvPr id="2" name="Logotype">
            <a:extLst>
              <a:ext uri="{FF2B5EF4-FFF2-40B4-BE49-F238E27FC236}">
                <a16:creationId xmlns:a16="http://schemas.microsoft.com/office/drawing/2014/main" id="{83562013-E2C5-4E56-9A6D-C95204A4D8B7}"/>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7" name="Text Placeholder 7">
            <a:extLst>
              <a:ext uri="{FF2B5EF4-FFF2-40B4-BE49-F238E27FC236}">
                <a16:creationId xmlns:a16="http://schemas.microsoft.com/office/drawing/2014/main" id="{996D6A50-EAF8-D4CD-C697-4EA0A0A9855E}"/>
              </a:ext>
            </a:extLst>
          </p:cNvPr>
          <p:cNvSpPr>
            <a:spLocks noGrp="1"/>
          </p:cNvSpPr>
          <p:nvPr>
            <p:ph type="body" sz="quarter" idx="25" hasCustomPrompt="1"/>
          </p:nvPr>
        </p:nvSpPr>
        <p:spPr>
          <a:xfrm>
            <a:off x="576262" y="291600"/>
            <a:ext cx="5180400" cy="180000"/>
          </a:xfrm>
        </p:spPr>
        <p:txBody>
          <a:bodyPr/>
          <a:lstStyle>
            <a:lvl1pPr marL="6350" indent="0">
              <a:buNone/>
              <a:defRPr sz="1200">
                <a:solidFill>
                  <a:schemeClr val="tx2"/>
                </a:solidFill>
              </a:defRPr>
            </a:lvl1pPr>
          </a:lstStyle>
          <a:p>
            <a:pPr lvl="0"/>
            <a:r>
              <a:rPr lang="nb-NO" dirty="0"/>
              <a:t>Klikk for å legge til kapittel</a:t>
            </a:r>
            <a:endParaRPr lang="en-US" dirty="0"/>
          </a:p>
        </p:txBody>
      </p:sp>
    </p:spTree>
    <p:extLst>
      <p:ext uri="{BB962C8B-B14F-4D97-AF65-F5344CB8AC3E}">
        <p14:creationId xmlns:p14="http://schemas.microsoft.com/office/powerpoint/2010/main" val="1416287141"/>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 Tekst, tabeller og bilde">
    <p:bg>
      <p:bgRef idx="1001">
        <a:schemeClr val="bg1"/>
      </p:bgRef>
    </p:bg>
    <p:spTree>
      <p:nvGrpSpPr>
        <p:cNvPr id="1" name=""/>
        <p:cNvGrpSpPr/>
        <p:nvPr/>
      </p:nvGrpSpPr>
      <p:grpSpPr>
        <a:xfrm>
          <a:off x="0" y="0"/>
          <a:ext cx="0" cy="0"/>
          <a:chOff x="0" y="0"/>
          <a:chExt cx="0" cy="0"/>
        </a:xfrm>
      </p:grpSpPr>
      <p:sp>
        <p:nvSpPr>
          <p:cNvPr id="23" name="Picture Placeholder 10">
            <a:extLst>
              <a:ext uri="{FF2B5EF4-FFF2-40B4-BE49-F238E27FC236}">
                <a16:creationId xmlns:a16="http://schemas.microsoft.com/office/drawing/2014/main" id="{86E476F6-89CC-3C44-93CC-6B5D2DF6CACA}"/>
              </a:ext>
            </a:extLst>
          </p:cNvPr>
          <p:cNvSpPr>
            <a:spLocks noGrp="1"/>
          </p:cNvSpPr>
          <p:nvPr>
            <p:ph type="pic" sz="quarter" idx="18" hasCustomPrompt="1"/>
          </p:nvPr>
        </p:nvSpPr>
        <p:spPr>
          <a:xfrm>
            <a:off x="8142000" y="-1"/>
            <a:ext cx="4050000" cy="6868800"/>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solidFill>
        </p:spPr>
        <p:txBody>
          <a:bodyPr wrap="square" lIns="36000" tIns="36000" rIns="36000" bIns="36000">
            <a:noAutofit/>
          </a:bodyPr>
          <a:lstStyle>
            <a:lvl1pPr marL="0" indent="0" algn="ctr">
              <a:buNone/>
              <a:defRPr sz="1300">
                <a:solidFill>
                  <a:schemeClr val="tx2"/>
                </a:solidFill>
              </a:defRPr>
            </a:lvl1pPr>
          </a:lstStyle>
          <a:p>
            <a:r>
              <a:rPr lang="nb-NO" noProof="0" dirty="0"/>
              <a:t>Klikk på ikonet for å legge til et bilde</a:t>
            </a:r>
            <a:endParaRPr lang="en-US" noProof="0" dirty="0"/>
          </a:p>
        </p:txBody>
      </p:sp>
      <p:sp>
        <p:nvSpPr>
          <p:cNvPr id="2" name="Title 2">
            <a:extLst>
              <a:ext uri="{FF2B5EF4-FFF2-40B4-BE49-F238E27FC236}">
                <a16:creationId xmlns:a16="http://schemas.microsoft.com/office/drawing/2014/main" id="{7DE0D550-F8E4-8847-962F-3ED61FCAE134}"/>
              </a:ext>
            </a:extLst>
          </p:cNvPr>
          <p:cNvSpPr>
            <a:spLocks noGrp="1"/>
          </p:cNvSpPr>
          <p:nvPr>
            <p:ph type="title" hasCustomPrompt="1"/>
          </p:nvPr>
        </p:nvSpPr>
        <p:spPr>
          <a:xfrm>
            <a:off x="576000" y="730800"/>
            <a:ext cx="7253550" cy="860400"/>
          </a:xfrm>
        </p:spPr>
        <p:txBody>
          <a:bodyPr/>
          <a:lstStyle>
            <a:lvl1pPr>
              <a:defRPr>
                <a:solidFill>
                  <a:schemeClr val="tx2"/>
                </a:solidFill>
              </a:defRPr>
            </a:lvl1pPr>
          </a:lstStyle>
          <a:p>
            <a:r>
              <a:rPr lang="nb-NO" dirty="0"/>
              <a:t>Klikk for å legge til en overskrift på maksimalt to linjer</a:t>
            </a:r>
            <a:endParaRPr lang="en-US" dirty="0"/>
          </a:p>
        </p:txBody>
      </p:sp>
      <p:sp>
        <p:nvSpPr>
          <p:cNvPr id="18" name="Text Placeholder 3">
            <a:extLst>
              <a:ext uri="{FF2B5EF4-FFF2-40B4-BE49-F238E27FC236}">
                <a16:creationId xmlns:a16="http://schemas.microsoft.com/office/drawing/2014/main" id="{C574831C-AC1A-BA45-BC5F-91DA4CC9D63F}"/>
              </a:ext>
            </a:extLst>
          </p:cNvPr>
          <p:cNvSpPr>
            <a:spLocks noGrp="1"/>
          </p:cNvSpPr>
          <p:nvPr>
            <p:ph type="body" sz="quarter" idx="22" hasCustomPrompt="1"/>
          </p:nvPr>
        </p:nvSpPr>
        <p:spPr>
          <a:xfrm>
            <a:off x="576000" y="2098800"/>
            <a:ext cx="3484823" cy="403066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b-NO" dirty="0"/>
              <a:t>Klikk for å legge til brødtekst</a:t>
            </a:r>
            <a:endParaRPr lang="en-US" dirty="0"/>
          </a:p>
        </p:txBody>
      </p:sp>
      <p:sp>
        <p:nvSpPr>
          <p:cNvPr id="22" name="Chart Placeholder 4">
            <a:extLst>
              <a:ext uri="{FF2B5EF4-FFF2-40B4-BE49-F238E27FC236}">
                <a16:creationId xmlns:a16="http://schemas.microsoft.com/office/drawing/2014/main" id="{C3D3CB84-4C51-4944-9D93-F993A25F730B}"/>
              </a:ext>
            </a:extLst>
          </p:cNvPr>
          <p:cNvSpPr>
            <a:spLocks noGrp="1"/>
          </p:cNvSpPr>
          <p:nvPr>
            <p:ph type="chart" sz="quarter" idx="20" hasCustomPrompt="1"/>
          </p:nvPr>
        </p:nvSpPr>
        <p:spPr>
          <a:xfrm>
            <a:off x="4359274" y="2098674"/>
            <a:ext cx="3470275" cy="1857091"/>
          </a:xfrm>
        </p:spPr>
        <p:txBody>
          <a:bodyPr/>
          <a:lstStyle>
            <a:lvl1pPr marL="12700" indent="0" algn="ctr">
              <a:buNone/>
              <a:defRPr sz="1300">
                <a:solidFill>
                  <a:schemeClr val="tx2"/>
                </a:solidFill>
              </a:defRPr>
            </a:lvl1pPr>
          </a:lstStyle>
          <a:p>
            <a:r>
              <a:rPr lang="nb-NO" noProof="0" dirty="0"/>
              <a:t>Klikk for å legge til et diagram</a:t>
            </a:r>
            <a:endParaRPr lang="en-US" noProof="0" dirty="0"/>
          </a:p>
        </p:txBody>
      </p:sp>
      <p:sp>
        <p:nvSpPr>
          <p:cNvPr id="25" name="Chart Placeholder 4">
            <a:extLst>
              <a:ext uri="{FF2B5EF4-FFF2-40B4-BE49-F238E27FC236}">
                <a16:creationId xmlns:a16="http://schemas.microsoft.com/office/drawing/2014/main" id="{DF83F763-96A7-2C49-9F33-C70E5E5252C4}"/>
              </a:ext>
            </a:extLst>
          </p:cNvPr>
          <p:cNvSpPr>
            <a:spLocks noGrp="1"/>
          </p:cNvSpPr>
          <p:nvPr>
            <p:ph type="chart" sz="quarter" idx="21" hasCustomPrompt="1"/>
          </p:nvPr>
        </p:nvSpPr>
        <p:spPr>
          <a:xfrm>
            <a:off x="4359274" y="4272247"/>
            <a:ext cx="3470275" cy="1857091"/>
          </a:xfrm>
        </p:spPr>
        <p:txBody>
          <a:bodyPr/>
          <a:lstStyle>
            <a:lvl1pPr marL="12700" indent="0" algn="ctr">
              <a:buNone/>
              <a:defRPr sz="1300">
                <a:solidFill>
                  <a:schemeClr val="tx2"/>
                </a:solidFill>
              </a:defRPr>
            </a:lvl1pPr>
          </a:lstStyle>
          <a:p>
            <a:r>
              <a:rPr lang="nb-NO" noProof="0" dirty="0"/>
              <a:t>Klikk for å legge til et diagram</a:t>
            </a:r>
            <a:endParaRPr lang="en-US" noProof="0" dirty="0"/>
          </a:p>
        </p:txBody>
      </p:sp>
      <p:sp>
        <p:nvSpPr>
          <p:cNvPr id="35" name="Text Placeholder 4">
            <a:extLst>
              <a:ext uri="{FF2B5EF4-FFF2-40B4-BE49-F238E27FC236}">
                <a16:creationId xmlns:a16="http://schemas.microsoft.com/office/drawing/2014/main" id="{9C805E04-BA5F-EB4F-95AF-95CA6B8E7B39}"/>
              </a:ext>
            </a:extLst>
          </p:cNvPr>
          <p:cNvSpPr>
            <a:spLocks noGrp="1"/>
          </p:cNvSpPr>
          <p:nvPr>
            <p:ph type="body" sz="quarter" idx="16" hasCustomPrompt="1"/>
          </p:nvPr>
        </p:nvSpPr>
        <p:spPr>
          <a:xfrm rot="5400000">
            <a:off x="9788686" y="1916687"/>
            <a:ext cx="4320000"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sp>
        <p:nvSpPr>
          <p:cNvPr id="3" name="Logotype">
            <a:extLst>
              <a:ext uri="{FF2B5EF4-FFF2-40B4-BE49-F238E27FC236}">
                <a16:creationId xmlns:a16="http://schemas.microsoft.com/office/drawing/2014/main" id="{15EEBC2A-F466-26F0-4CAD-382BF5B68C02}"/>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7" name="Text Placeholder 7">
            <a:extLst>
              <a:ext uri="{FF2B5EF4-FFF2-40B4-BE49-F238E27FC236}">
                <a16:creationId xmlns:a16="http://schemas.microsoft.com/office/drawing/2014/main" id="{72FD650B-9DE5-D12C-706F-E3B0AC7024A2}"/>
              </a:ext>
            </a:extLst>
          </p:cNvPr>
          <p:cNvSpPr>
            <a:spLocks noGrp="1"/>
          </p:cNvSpPr>
          <p:nvPr>
            <p:ph type="body" sz="quarter" idx="26" hasCustomPrompt="1"/>
          </p:nvPr>
        </p:nvSpPr>
        <p:spPr>
          <a:xfrm>
            <a:off x="576262" y="291600"/>
            <a:ext cx="5180400" cy="180000"/>
          </a:xfrm>
        </p:spPr>
        <p:txBody>
          <a:bodyPr/>
          <a:lstStyle>
            <a:lvl1pPr marL="6350" indent="0">
              <a:buNone/>
              <a:defRPr sz="1200">
                <a:solidFill>
                  <a:schemeClr val="tx2"/>
                </a:solidFill>
              </a:defRPr>
            </a:lvl1pPr>
          </a:lstStyle>
          <a:p>
            <a:pPr lvl="0"/>
            <a:r>
              <a:rPr lang="nb-NO" dirty="0"/>
              <a:t>Klikk for å legge til kapittel</a:t>
            </a:r>
            <a:endParaRPr lang="en-US" dirty="0"/>
          </a:p>
        </p:txBody>
      </p:sp>
    </p:spTree>
    <p:extLst>
      <p:ext uri="{BB962C8B-B14F-4D97-AF65-F5344CB8AC3E}">
        <p14:creationId xmlns:p14="http://schemas.microsoft.com/office/powerpoint/2010/main" val="298659591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Kapittelslide blå">
    <p:bg>
      <p:bgRef idx="1001">
        <a:schemeClr val="bg2"/>
      </p:bgRef>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C8947C0-B446-3666-F95B-5D72E6EE1C95}"/>
              </a:ext>
            </a:extLst>
          </p:cNvPr>
          <p:cNvSpPr>
            <a:spLocks noGrp="1"/>
          </p:cNvSpPr>
          <p:nvPr>
            <p:ph type="title" hasCustomPrompt="1"/>
          </p:nvPr>
        </p:nvSpPr>
        <p:spPr>
          <a:xfrm>
            <a:off x="576000" y="2635861"/>
            <a:ext cx="5520000" cy="1008135"/>
          </a:xfrm>
        </p:spPr>
        <p:txBody>
          <a:bodyPr anchor="b"/>
          <a:lstStyle>
            <a:lvl1pPr>
              <a:lnSpc>
                <a:spcPct val="85000"/>
              </a:lnSpc>
              <a:defRPr sz="3200" spc="40" baseline="0"/>
            </a:lvl1pPr>
          </a:lstStyle>
          <a:p>
            <a:r>
              <a:rPr lang="nb-NO" dirty="0"/>
              <a:t>Klikk for å legge til en overskrift på maksimalt to linjer</a:t>
            </a:r>
            <a:endParaRPr lang="en-US" dirty="0"/>
          </a:p>
        </p:txBody>
      </p:sp>
      <p:sp>
        <p:nvSpPr>
          <p:cNvPr id="7" name="Text Placeholder 3">
            <a:extLst>
              <a:ext uri="{FF2B5EF4-FFF2-40B4-BE49-F238E27FC236}">
                <a16:creationId xmlns:a16="http://schemas.microsoft.com/office/drawing/2014/main" id="{B3E48E8E-AA00-0557-BFB1-276B591238E6}"/>
              </a:ext>
            </a:extLst>
          </p:cNvPr>
          <p:cNvSpPr>
            <a:spLocks noGrp="1"/>
          </p:cNvSpPr>
          <p:nvPr>
            <p:ph type="body" sz="quarter" idx="15" hasCustomPrompt="1"/>
          </p:nvPr>
        </p:nvSpPr>
        <p:spPr>
          <a:xfrm>
            <a:off x="576000" y="3801285"/>
            <a:ext cx="3772163" cy="646331"/>
          </a:xfrm>
          <a:prstGeom prst="rect">
            <a:avLst/>
          </a:prstGeom>
        </p:spPr>
        <p:txBody>
          <a:bodyPr anchor="t">
            <a:noAutofit/>
          </a:bodyPr>
          <a:lstStyle>
            <a:lvl1pPr marL="0" indent="0">
              <a:lnSpc>
                <a:spcPct val="100000"/>
              </a:lnSpc>
              <a:spcBef>
                <a:spcPts val="0"/>
              </a:spcBef>
              <a:buNone/>
              <a:defRPr sz="1400" spc="70" baseline="0">
                <a:solidFill>
                  <a:schemeClr val="tx2"/>
                </a:solidFill>
              </a:defRPr>
            </a:lvl1pPr>
          </a:lstStyle>
          <a:p>
            <a:pPr lvl="0"/>
            <a:r>
              <a:rPr lang="nb-NO" noProof="0" dirty="0"/>
              <a:t>Klikk for å legge til navn eller kort informasjon</a:t>
            </a:r>
            <a:endParaRPr lang="en-US" noProof="0" dirty="0"/>
          </a:p>
        </p:txBody>
      </p:sp>
      <p:sp>
        <p:nvSpPr>
          <p:cNvPr id="2" name="Logotype">
            <a:extLst>
              <a:ext uri="{FF2B5EF4-FFF2-40B4-BE49-F238E27FC236}">
                <a16:creationId xmlns:a16="http://schemas.microsoft.com/office/drawing/2014/main" id="{7401ABD0-D741-7BB1-F56F-11EC903F5A62}"/>
              </a:ext>
            </a:extLst>
          </p:cNvPr>
          <p:cNvSpPr/>
          <p:nvPr/>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1"/>
          </a:solidFill>
          <a:ln w="6350" cap="flat">
            <a:noFill/>
            <a:prstDash val="solid"/>
            <a:miter/>
          </a:ln>
        </p:spPr>
        <p:txBody>
          <a:bodyPr wrap="square" rtlCol="0" anchor="ctr">
            <a:noAutofit/>
          </a:bodyPr>
          <a:lstStyle/>
          <a:p>
            <a:endParaRPr lang="en-US" noProof="0">
              <a:solidFill>
                <a:schemeClr val="tx1"/>
              </a:solidFill>
            </a:endParaRPr>
          </a:p>
        </p:txBody>
      </p:sp>
    </p:spTree>
    <p:extLst>
      <p:ext uri="{BB962C8B-B14F-4D97-AF65-F5344CB8AC3E}">
        <p14:creationId xmlns:p14="http://schemas.microsoft.com/office/powerpoint/2010/main" val="4132097082"/>
      </p:ext>
    </p:extLst>
  </p:cSld>
  <p:clrMapOvr>
    <a:overrideClrMapping bg1="dk1" tx1="lt1" bg2="dk2" tx2="lt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 Tekst og tabell">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6A39E5-E7FE-B854-3C3E-95D75ED2F1D5}"/>
              </a:ext>
            </a:extLst>
          </p:cNvPr>
          <p:cNvSpPr>
            <a:spLocks noGrp="1"/>
          </p:cNvSpPr>
          <p:nvPr>
            <p:ph type="title" hasCustomPrompt="1"/>
          </p:nvPr>
        </p:nvSpPr>
        <p:spPr>
          <a:xfrm>
            <a:off x="576000" y="730800"/>
            <a:ext cx="11039738" cy="860400"/>
          </a:xfrm>
        </p:spPr>
        <p:txBody>
          <a:bodyPr/>
          <a:lstStyle>
            <a:lvl1pPr>
              <a:defRPr>
                <a:solidFill>
                  <a:schemeClr val="tx2"/>
                </a:solidFill>
              </a:defRPr>
            </a:lvl1pPr>
          </a:lstStyle>
          <a:p>
            <a:r>
              <a:rPr lang="nb-NO" dirty="0"/>
              <a:t>Klikk for å legge til en overskrift på maksimalt to linjer</a:t>
            </a:r>
            <a:endParaRPr lang="en-US" dirty="0"/>
          </a:p>
        </p:txBody>
      </p:sp>
      <p:sp>
        <p:nvSpPr>
          <p:cNvPr id="18" name="Text Placeholder 3">
            <a:extLst>
              <a:ext uri="{FF2B5EF4-FFF2-40B4-BE49-F238E27FC236}">
                <a16:creationId xmlns:a16="http://schemas.microsoft.com/office/drawing/2014/main" id="{C574831C-AC1A-BA45-BC5F-91DA4CC9D63F}"/>
              </a:ext>
            </a:extLst>
          </p:cNvPr>
          <p:cNvSpPr>
            <a:spLocks noGrp="1"/>
          </p:cNvSpPr>
          <p:nvPr>
            <p:ph type="body" sz="quarter" idx="22" hasCustomPrompt="1"/>
          </p:nvPr>
        </p:nvSpPr>
        <p:spPr>
          <a:xfrm>
            <a:off x="576000" y="2098800"/>
            <a:ext cx="5377125" cy="403066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brødtekst</a:t>
            </a:r>
            <a:endParaRPr lang="en-US" noProof="0" dirty="0"/>
          </a:p>
        </p:txBody>
      </p:sp>
      <p:sp>
        <p:nvSpPr>
          <p:cNvPr id="22" name="Chart Placeholder 4">
            <a:extLst>
              <a:ext uri="{FF2B5EF4-FFF2-40B4-BE49-F238E27FC236}">
                <a16:creationId xmlns:a16="http://schemas.microsoft.com/office/drawing/2014/main" id="{C3D3CB84-4C51-4944-9D93-F993A25F730B}"/>
              </a:ext>
            </a:extLst>
          </p:cNvPr>
          <p:cNvSpPr>
            <a:spLocks noGrp="1"/>
          </p:cNvSpPr>
          <p:nvPr>
            <p:ph type="chart" sz="quarter" idx="20" hasCustomPrompt="1"/>
          </p:nvPr>
        </p:nvSpPr>
        <p:spPr>
          <a:xfrm>
            <a:off x="6249988" y="2098674"/>
            <a:ext cx="5354003" cy="4030663"/>
          </a:xfrm>
        </p:spPr>
        <p:txBody>
          <a:bodyPr/>
          <a:lstStyle>
            <a:lvl1pPr marL="12700" indent="0" algn="ctr">
              <a:buNone/>
              <a:defRPr sz="1300">
                <a:solidFill>
                  <a:schemeClr val="tx2"/>
                </a:solidFill>
              </a:defRPr>
            </a:lvl1pPr>
          </a:lstStyle>
          <a:p>
            <a:r>
              <a:rPr lang="nb-NO" noProof="0" dirty="0"/>
              <a:t>Klikk for å legge til et diagram</a:t>
            </a:r>
            <a:endParaRPr lang="en-US" noProof="0" dirty="0"/>
          </a:p>
        </p:txBody>
      </p:sp>
      <p:sp>
        <p:nvSpPr>
          <p:cNvPr id="2" name="Logotype">
            <a:extLst>
              <a:ext uri="{FF2B5EF4-FFF2-40B4-BE49-F238E27FC236}">
                <a16:creationId xmlns:a16="http://schemas.microsoft.com/office/drawing/2014/main" id="{624F8E11-9B43-76A1-9E76-2679364770E5}"/>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7" name="Text Placeholder 7">
            <a:extLst>
              <a:ext uri="{FF2B5EF4-FFF2-40B4-BE49-F238E27FC236}">
                <a16:creationId xmlns:a16="http://schemas.microsoft.com/office/drawing/2014/main" id="{626C22C8-54C6-33FF-D5CB-CF8B17202C21}"/>
              </a:ext>
            </a:extLst>
          </p:cNvPr>
          <p:cNvSpPr>
            <a:spLocks noGrp="1"/>
          </p:cNvSpPr>
          <p:nvPr>
            <p:ph type="body" sz="quarter" idx="26" hasCustomPrompt="1"/>
          </p:nvPr>
        </p:nvSpPr>
        <p:spPr>
          <a:xfrm>
            <a:off x="576262" y="291600"/>
            <a:ext cx="5180400" cy="180000"/>
          </a:xfrm>
        </p:spPr>
        <p:txBody>
          <a:bodyPr/>
          <a:lstStyle>
            <a:lvl1pPr marL="6350" indent="0">
              <a:buNone/>
              <a:defRPr sz="1200">
                <a:solidFill>
                  <a:schemeClr val="tx2"/>
                </a:solidFill>
              </a:defRPr>
            </a:lvl1pPr>
          </a:lstStyle>
          <a:p>
            <a:pPr lvl="0"/>
            <a:r>
              <a:rPr lang="nb-NO" dirty="0"/>
              <a:t>Klikk for å legge til kapittel</a:t>
            </a:r>
            <a:endParaRPr lang="en-US" dirty="0"/>
          </a:p>
        </p:txBody>
      </p:sp>
    </p:spTree>
    <p:extLst>
      <p:ext uri="{BB962C8B-B14F-4D97-AF65-F5344CB8AC3E}">
        <p14:creationId xmlns:p14="http://schemas.microsoft.com/office/powerpoint/2010/main" val="1192814272"/>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 Tre kolonner tekst, diagram">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C4FB4AE-A68A-A8F1-8224-BEFBA157D942}"/>
              </a:ext>
            </a:extLst>
          </p:cNvPr>
          <p:cNvSpPr>
            <a:spLocks noGrp="1"/>
          </p:cNvSpPr>
          <p:nvPr>
            <p:ph type="title" hasCustomPrompt="1"/>
          </p:nvPr>
        </p:nvSpPr>
        <p:spPr>
          <a:xfrm>
            <a:off x="576000" y="730800"/>
            <a:ext cx="11039738" cy="860400"/>
          </a:xfrm>
        </p:spPr>
        <p:txBody>
          <a:bodyPr/>
          <a:lstStyle>
            <a:lvl1pPr>
              <a:defRPr>
                <a:solidFill>
                  <a:schemeClr val="tx2"/>
                </a:solidFill>
              </a:defRPr>
            </a:lvl1pPr>
          </a:lstStyle>
          <a:p>
            <a:r>
              <a:rPr lang="nb-NO" dirty="0"/>
              <a:t>Klikk for å legge til en overskrift på maksimalt to linjer</a:t>
            </a:r>
            <a:endParaRPr lang="en-US" dirty="0"/>
          </a:p>
        </p:txBody>
      </p:sp>
      <p:sp>
        <p:nvSpPr>
          <p:cNvPr id="20" name="Text Placeholder 3">
            <a:extLst>
              <a:ext uri="{FF2B5EF4-FFF2-40B4-BE49-F238E27FC236}">
                <a16:creationId xmlns:a16="http://schemas.microsoft.com/office/drawing/2014/main" id="{C66EF980-A725-2949-B97A-749850FCDB51}"/>
              </a:ext>
            </a:extLst>
          </p:cNvPr>
          <p:cNvSpPr>
            <a:spLocks noGrp="1"/>
          </p:cNvSpPr>
          <p:nvPr>
            <p:ph type="body" sz="quarter" idx="23" hasCustomPrompt="1"/>
          </p:nvPr>
        </p:nvSpPr>
        <p:spPr>
          <a:xfrm>
            <a:off x="576001" y="2464310"/>
            <a:ext cx="3481650" cy="3665028"/>
          </a:xfrm>
        </p:spPr>
        <p:txBody>
          <a:bodyPr numCol="1"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brødtekst</a:t>
            </a:r>
            <a:endParaRPr lang="en-US" noProof="0" dirty="0"/>
          </a:p>
        </p:txBody>
      </p:sp>
      <p:sp>
        <p:nvSpPr>
          <p:cNvPr id="24" name="Text Placeholder 3">
            <a:extLst>
              <a:ext uri="{FF2B5EF4-FFF2-40B4-BE49-F238E27FC236}">
                <a16:creationId xmlns:a16="http://schemas.microsoft.com/office/drawing/2014/main" id="{68F64643-0934-E544-8EF3-DDF27D23990C}"/>
              </a:ext>
            </a:extLst>
          </p:cNvPr>
          <p:cNvSpPr>
            <a:spLocks noGrp="1"/>
          </p:cNvSpPr>
          <p:nvPr>
            <p:ph type="body" sz="quarter" idx="25" hasCustomPrompt="1"/>
          </p:nvPr>
        </p:nvSpPr>
        <p:spPr>
          <a:xfrm>
            <a:off x="4360822" y="2464310"/>
            <a:ext cx="3481650" cy="3665028"/>
          </a:xfrm>
        </p:spPr>
        <p:txBody>
          <a:bodyPr numCol="1"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brødtekst</a:t>
            </a:r>
            <a:endParaRPr lang="en-US" noProof="0" dirty="0"/>
          </a:p>
        </p:txBody>
      </p:sp>
      <p:sp>
        <p:nvSpPr>
          <p:cNvPr id="18" name="Text Placeholder 7">
            <a:extLst>
              <a:ext uri="{FF2B5EF4-FFF2-40B4-BE49-F238E27FC236}">
                <a16:creationId xmlns:a16="http://schemas.microsoft.com/office/drawing/2014/main" id="{CCF0A91F-C49F-E041-B82D-A6DDF705351D}"/>
              </a:ext>
            </a:extLst>
          </p:cNvPr>
          <p:cNvSpPr>
            <a:spLocks noGrp="1"/>
          </p:cNvSpPr>
          <p:nvPr>
            <p:ph type="body" sz="quarter" idx="19" hasCustomPrompt="1"/>
          </p:nvPr>
        </p:nvSpPr>
        <p:spPr>
          <a:xfrm>
            <a:off x="576001" y="2098800"/>
            <a:ext cx="3481650" cy="278640"/>
          </a:xfrm>
        </p:spPr>
        <p:txBody>
          <a:bodyPr numCol="1"/>
          <a:lstStyle>
            <a:lvl1pPr marL="0" indent="0">
              <a:lnSpc>
                <a:spcPct val="100000"/>
              </a:lnSpc>
              <a:spcBef>
                <a:spcPts val="0"/>
              </a:spcBef>
              <a:spcAft>
                <a:spcPts val="1000"/>
              </a:spcAft>
              <a:buNone/>
              <a:defRPr sz="1600" b="1" spc="40" baseline="0">
                <a:solidFill>
                  <a:schemeClr val="tx2"/>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nb-NO" noProof="0" dirty="0"/>
              <a:t>Klikk for å legge til en kort overskrift</a:t>
            </a:r>
            <a:endParaRPr lang="en-US" noProof="0" dirty="0"/>
          </a:p>
        </p:txBody>
      </p:sp>
      <p:sp>
        <p:nvSpPr>
          <p:cNvPr id="21" name="Text Placeholder 7">
            <a:extLst>
              <a:ext uri="{FF2B5EF4-FFF2-40B4-BE49-F238E27FC236}">
                <a16:creationId xmlns:a16="http://schemas.microsoft.com/office/drawing/2014/main" id="{C002EC38-A2CD-9441-A63D-21CB0A77532B}"/>
              </a:ext>
            </a:extLst>
          </p:cNvPr>
          <p:cNvSpPr>
            <a:spLocks noGrp="1"/>
          </p:cNvSpPr>
          <p:nvPr>
            <p:ph type="body" sz="quarter" idx="24" hasCustomPrompt="1"/>
          </p:nvPr>
        </p:nvSpPr>
        <p:spPr>
          <a:xfrm>
            <a:off x="4360822" y="2098800"/>
            <a:ext cx="3481650" cy="278640"/>
          </a:xfrm>
        </p:spPr>
        <p:txBody>
          <a:bodyPr numCol="1"/>
          <a:lstStyle>
            <a:lvl1pPr marL="0" indent="0">
              <a:lnSpc>
                <a:spcPct val="100000"/>
              </a:lnSpc>
              <a:spcBef>
                <a:spcPts val="0"/>
              </a:spcBef>
              <a:spcAft>
                <a:spcPts val="1000"/>
              </a:spcAft>
              <a:buNone/>
              <a:defRPr sz="1600" b="1" spc="40" baseline="0">
                <a:solidFill>
                  <a:schemeClr val="tx2"/>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nb-NO" noProof="0" dirty="0"/>
              <a:t>Klikk for å legge til en kort overskrift</a:t>
            </a:r>
            <a:endParaRPr lang="en-US" noProof="0" dirty="0"/>
          </a:p>
        </p:txBody>
      </p:sp>
      <p:sp>
        <p:nvSpPr>
          <p:cNvPr id="25" name="Chart Placeholder 4">
            <a:extLst>
              <a:ext uri="{FF2B5EF4-FFF2-40B4-BE49-F238E27FC236}">
                <a16:creationId xmlns:a16="http://schemas.microsoft.com/office/drawing/2014/main" id="{6FF95646-AD27-8440-B493-6779ED154EB6}"/>
              </a:ext>
            </a:extLst>
          </p:cNvPr>
          <p:cNvSpPr>
            <a:spLocks noGrp="1"/>
          </p:cNvSpPr>
          <p:nvPr>
            <p:ph type="chart" sz="quarter" idx="21" hasCustomPrompt="1"/>
          </p:nvPr>
        </p:nvSpPr>
        <p:spPr>
          <a:xfrm>
            <a:off x="8145463" y="2098674"/>
            <a:ext cx="3470275" cy="1857091"/>
          </a:xfrm>
        </p:spPr>
        <p:txBody>
          <a:bodyPr/>
          <a:lstStyle>
            <a:lvl1pPr marL="12700" indent="0" algn="ctr">
              <a:buNone/>
              <a:defRPr sz="1300">
                <a:solidFill>
                  <a:schemeClr val="tx2"/>
                </a:solidFill>
              </a:defRPr>
            </a:lvl1pPr>
          </a:lstStyle>
          <a:p>
            <a:r>
              <a:rPr lang="nb-NO" noProof="0" dirty="0"/>
              <a:t>Klikk for å legge til et diagram</a:t>
            </a:r>
            <a:endParaRPr lang="en-US" noProof="0" dirty="0"/>
          </a:p>
        </p:txBody>
      </p:sp>
      <p:sp>
        <p:nvSpPr>
          <p:cNvPr id="26" name="Chart Placeholder 4">
            <a:extLst>
              <a:ext uri="{FF2B5EF4-FFF2-40B4-BE49-F238E27FC236}">
                <a16:creationId xmlns:a16="http://schemas.microsoft.com/office/drawing/2014/main" id="{4B757421-2FBC-E741-A174-86B2942AFE57}"/>
              </a:ext>
            </a:extLst>
          </p:cNvPr>
          <p:cNvSpPr>
            <a:spLocks noGrp="1"/>
          </p:cNvSpPr>
          <p:nvPr>
            <p:ph type="chart" sz="quarter" idx="22" hasCustomPrompt="1"/>
          </p:nvPr>
        </p:nvSpPr>
        <p:spPr>
          <a:xfrm>
            <a:off x="8145463" y="4272247"/>
            <a:ext cx="3470275" cy="1857091"/>
          </a:xfrm>
        </p:spPr>
        <p:txBody>
          <a:bodyPr/>
          <a:lstStyle>
            <a:lvl1pPr marL="12700" indent="0" algn="ctr">
              <a:buNone/>
              <a:defRPr sz="1300">
                <a:solidFill>
                  <a:schemeClr val="tx2"/>
                </a:solidFill>
              </a:defRPr>
            </a:lvl1pPr>
          </a:lstStyle>
          <a:p>
            <a:r>
              <a:rPr lang="nb-NO" noProof="0" dirty="0"/>
              <a:t>Klikk for å legge til et diagram</a:t>
            </a:r>
            <a:endParaRPr lang="en-US" noProof="0" dirty="0"/>
          </a:p>
        </p:txBody>
      </p:sp>
      <p:sp>
        <p:nvSpPr>
          <p:cNvPr id="2" name="Logotype">
            <a:extLst>
              <a:ext uri="{FF2B5EF4-FFF2-40B4-BE49-F238E27FC236}">
                <a16:creationId xmlns:a16="http://schemas.microsoft.com/office/drawing/2014/main" id="{C30A9B5F-F3EA-811B-AB03-20AF27D6CA25}"/>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7" name="Text Placeholder 7">
            <a:extLst>
              <a:ext uri="{FF2B5EF4-FFF2-40B4-BE49-F238E27FC236}">
                <a16:creationId xmlns:a16="http://schemas.microsoft.com/office/drawing/2014/main" id="{B6739834-0FD2-9B5A-2718-B1C9CA5E740E}"/>
              </a:ext>
            </a:extLst>
          </p:cNvPr>
          <p:cNvSpPr>
            <a:spLocks noGrp="1"/>
          </p:cNvSpPr>
          <p:nvPr>
            <p:ph type="body" sz="quarter" idx="29" hasCustomPrompt="1"/>
          </p:nvPr>
        </p:nvSpPr>
        <p:spPr>
          <a:xfrm>
            <a:off x="576262" y="291600"/>
            <a:ext cx="5180400" cy="180000"/>
          </a:xfrm>
        </p:spPr>
        <p:txBody>
          <a:bodyPr/>
          <a:lstStyle>
            <a:lvl1pPr marL="6350" indent="0">
              <a:buNone/>
              <a:defRPr sz="1200">
                <a:solidFill>
                  <a:schemeClr val="tx2"/>
                </a:solidFill>
              </a:defRPr>
            </a:lvl1pPr>
          </a:lstStyle>
          <a:p>
            <a:pPr lvl="0"/>
            <a:r>
              <a:rPr lang="nb-NO" dirty="0"/>
              <a:t>Klikk for å legge til kapittel</a:t>
            </a:r>
            <a:endParaRPr lang="en-US" dirty="0"/>
          </a:p>
        </p:txBody>
      </p:sp>
    </p:spTree>
    <p:extLst>
      <p:ext uri="{BB962C8B-B14F-4D97-AF65-F5344CB8AC3E}">
        <p14:creationId xmlns:p14="http://schemas.microsoft.com/office/powerpoint/2010/main" val="904696652"/>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 Stort diagram">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061ABB-C4DD-8E03-F3D0-FDD64C7EE7FE}"/>
              </a:ext>
            </a:extLst>
          </p:cNvPr>
          <p:cNvSpPr>
            <a:spLocks noGrp="1"/>
          </p:cNvSpPr>
          <p:nvPr>
            <p:ph type="title" hasCustomPrompt="1"/>
          </p:nvPr>
        </p:nvSpPr>
        <p:spPr>
          <a:xfrm>
            <a:off x="576000" y="730800"/>
            <a:ext cx="11039738" cy="860400"/>
          </a:xfrm>
        </p:spPr>
        <p:txBody>
          <a:bodyPr/>
          <a:lstStyle>
            <a:lvl1pPr>
              <a:defRPr>
                <a:solidFill>
                  <a:schemeClr val="tx2"/>
                </a:solidFill>
              </a:defRPr>
            </a:lvl1pPr>
          </a:lstStyle>
          <a:p>
            <a:r>
              <a:rPr lang="nb-NO" dirty="0"/>
              <a:t>Klikk for å legge til en overskrift på maksimalt to linjer</a:t>
            </a:r>
            <a:endParaRPr lang="en-US" dirty="0"/>
          </a:p>
        </p:txBody>
      </p:sp>
      <p:sp>
        <p:nvSpPr>
          <p:cNvPr id="22" name="Chart Placeholder 4">
            <a:extLst>
              <a:ext uri="{FF2B5EF4-FFF2-40B4-BE49-F238E27FC236}">
                <a16:creationId xmlns:a16="http://schemas.microsoft.com/office/drawing/2014/main" id="{C3D3CB84-4C51-4944-9D93-F993A25F730B}"/>
              </a:ext>
            </a:extLst>
          </p:cNvPr>
          <p:cNvSpPr>
            <a:spLocks noGrp="1"/>
          </p:cNvSpPr>
          <p:nvPr>
            <p:ph type="chart" sz="quarter" idx="20" hasCustomPrompt="1"/>
          </p:nvPr>
        </p:nvSpPr>
        <p:spPr>
          <a:xfrm>
            <a:off x="576264" y="2098674"/>
            <a:ext cx="11039474" cy="4037487"/>
          </a:xfrm>
        </p:spPr>
        <p:txBody>
          <a:bodyPr/>
          <a:lstStyle>
            <a:lvl1pPr marL="12700" indent="0" algn="ctr">
              <a:buNone/>
              <a:defRPr sz="1300">
                <a:solidFill>
                  <a:schemeClr val="tx2"/>
                </a:solidFill>
              </a:defRPr>
            </a:lvl1pPr>
          </a:lstStyle>
          <a:p>
            <a:r>
              <a:rPr lang="nb-NO" noProof="0" dirty="0"/>
              <a:t>Klikk for å legge til et diagram</a:t>
            </a:r>
            <a:endParaRPr lang="en-US" noProof="0" dirty="0"/>
          </a:p>
        </p:txBody>
      </p:sp>
      <p:sp>
        <p:nvSpPr>
          <p:cNvPr id="2" name="Logotype">
            <a:extLst>
              <a:ext uri="{FF2B5EF4-FFF2-40B4-BE49-F238E27FC236}">
                <a16:creationId xmlns:a16="http://schemas.microsoft.com/office/drawing/2014/main" id="{E772C247-7CA1-2D58-C17A-C70FF5863B68}"/>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7" name="Text Placeholder 7">
            <a:extLst>
              <a:ext uri="{FF2B5EF4-FFF2-40B4-BE49-F238E27FC236}">
                <a16:creationId xmlns:a16="http://schemas.microsoft.com/office/drawing/2014/main" id="{67C504F3-0C6D-E0C6-A200-6D558FDAA067}"/>
              </a:ext>
            </a:extLst>
          </p:cNvPr>
          <p:cNvSpPr>
            <a:spLocks noGrp="1"/>
          </p:cNvSpPr>
          <p:nvPr>
            <p:ph type="body" sz="quarter" idx="25" hasCustomPrompt="1"/>
          </p:nvPr>
        </p:nvSpPr>
        <p:spPr>
          <a:xfrm>
            <a:off x="576262" y="291600"/>
            <a:ext cx="5180400" cy="180000"/>
          </a:xfrm>
        </p:spPr>
        <p:txBody>
          <a:bodyPr/>
          <a:lstStyle>
            <a:lvl1pPr marL="6350" indent="0">
              <a:buNone/>
              <a:defRPr sz="1200">
                <a:solidFill>
                  <a:schemeClr val="tx2"/>
                </a:solidFill>
              </a:defRPr>
            </a:lvl1pPr>
          </a:lstStyle>
          <a:p>
            <a:pPr lvl="0"/>
            <a:r>
              <a:rPr lang="nb-NO" dirty="0"/>
              <a:t>Klikk for å legge til kapittel</a:t>
            </a:r>
            <a:endParaRPr lang="en-US" dirty="0"/>
          </a:p>
        </p:txBody>
      </p:sp>
    </p:spTree>
    <p:extLst>
      <p:ext uri="{BB962C8B-B14F-4D97-AF65-F5344CB8AC3E}">
        <p14:creationId xmlns:p14="http://schemas.microsoft.com/office/powerpoint/2010/main" val="2285851876"/>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 Full Tabell">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D84FD8-77CE-6E46-8A1D-04D3B262BFE1}"/>
              </a:ext>
            </a:extLst>
          </p:cNvPr>
          <p:cNvSpPr>
            <a:spLocks noGrp="1"/>
          </p:cNvSpPr>
          <p:nvPr>
            <p:ph type="title" hasCustomPrompt="1"/>
          </p:nvPr>
        </p:nvSpPr>
        <p:spPr>
          <a:xfrm>
            <a:off x="576000" y="730800"/>
            <a:ext cx="11039738" cy="860400"/>
          </a:xfrm>
        </p:spPr>
        <p:txBody>
          <a:bodyPr/>
          <a:lstStyle>
            <a:lvl1pPr>
              <a:defRPr>
                <a:solidFill>
                  <a:schemeClr val="tx2"/>
                </a:solidFill>
              </a:defRPr>
            </a:lvl1pPr>
          </a:lstStyle>
          <a:p>
            <a:r>
              <a:rPr lang="nb-NO" dirty="0"/>
              <a:t>Klikk for å legge til en overskrift på maksimalt to linjer</a:t>
            </a:r>
            <a:endParaRPr lang="en-US" dirty="0"/>
          </a:p>
        </p:txBody>
      </p:sp>
      <p:sp>
        <p:nvSpPr>
          <p:cNvPr id="26" name="Table Placeholder 5">
            <a:extLst>
              <a:ext uri="{FF2B5EF4-FFF2-40B4-BE49-F238E27FC236}">
                <a16:creationId xmlns:a16="http://schemas.microsoft.com/office/drawing/2014/main" id="{3BFD68C4-B563-2D4A-A4B9-CA7F194CE4D4}"/>
              </a:ext>
            </a:extLst>
          </p:cNvPr>
          <p:cNvSpPr>
            <a:spLocks noGrp="1"/>
          </p:cNvSpPr>
          <p:nvPr>
            <p:ph type="tbl" sz="quarter" idx="19" hasCustomPrompt="1"/>
          </p:nvPr>
        </p:nvSpPr>
        <p:spPr>
          <a:xfrm>
            <a:off x="576264" y="2098801"/>
            <a:ext cx="11039474" cy="4037362"/>
          </a:xfrm>
        </p:spPr>
        <p:txBody>
          <a:bodyPr/>
          <a:lstStyle>
            <a:lvl1pPr marL="12700" indent="0" algn="ctr">
              <a:buNone/>
              <a:defRPr sz="1300">
                <a:solidFill>
                  <a:schemeClr val="tx2"/>
                </a:solidFill>
              </a:defRPr>
            </a:lvl1pPr>
          </a:lstStyle>
          <a:p>
            <a:r>
              <a:rPr lang="nb-NO" noProof="0" dirty="0"/>
              <a:t>Klikk for å legge til en tabell</a:t>
            </a:r>
            <a:endParaRPr lang="en-US" noProof="0" dirty="0"/>
          </a:p>
        </p:txBody>
      </p:sp>
      <p:sp>
        <p:nvSpPr>
          <p:cNvPr id="2" name="Logotype">
            <a:extLst>
              <a:ext uri="{FF2B5EF4-FFF2-40B4-BE49-F238E27FC236}">
                <a16:creationId xmlns:a16="http://schemas.microsoft.com/office/drawing/2014/main" id="{B2EFD969-619A-E8CC-927A-EE5014BFFF57}"/>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7" name="Text Placeholder 7">
            <a:extLst>
              <a:ext uri="{FF2B5EF4-FFF2-40B4-BE49-F238E27FC236}">
                <a16:creationId xmlns:a16="http://schemas.microsoft.com/office/drawing/2014/main" id="{1752A535-D016-8E0D-3B99-A7FC19910029}"/>
              </a:ext>
            </a:extLst>
          </p:cNvPr>
          <p:cNvSpPr>
            <a:spLocks noGrp="1"/>
          </p:cNvSpPr>
          <p:nvPr>
            <p:ph type="body" sz="quarter" idx="25" hasCustomPrompt="1"/>
          </p:nvPr>
        </p:nvSpPr>
        <p:spPr>
          <a:xfrm>
            <a:off x="576262" y="291600"/>
            <a:ext cx="5180400" cy="180000"/>
          </a:xfrm>
        </p:spPr>
        <p:txBody>
          <a:bodyPr/>
          <a:lstStyle>
            <a:lvl1pPr marL="6350" indent="0">
              <a:buNone/>
              <a:defRPr sz="1200">
                <a:solidFill>
                  <a:schemeClr val="tx2"/>
                </a:solidFill>
              </a:defRPr>
            </a:lvl1pPr>
          </a:lstStyle>
          <a:p>
            <a:pPr lvl="0"/>
            <a:r>
              <a:rPr lang="nb-NO" dirty="0"/>
              <a:t>Klikk for å legge til kapittel</a:t>
            </a:r>
            <a:endParaRPr lang="en-US" dirty="0"/>
          </a:p>
        </p:txBody>
      </p:sp>
    </p:spTree>
    <p:extLst>
      <p:ext uri="{BB962C8B-B14F-4D97-AF65-F5344CB8AC3E}">
        <p14:creationId xmlns:p14="http://schemas.microsoft.com/office/powerpoint/2010/main" val="4206882800"/>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 Tekst To kolonner Blå/Grå">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B0EEA37-C5A1-04F7-AD98-6E3227AED3EB}"/>
              </a:ext>
            </a:extLst>
          </p:cNvPr>
          <p:cNvSpPr>
            <a:spLocks noGrp="1"/>
          </p:cNvSpPr>
          <p:nvPr>
            <p:ph type="title" hasCustomPrompt="1"/>
          </p:nvPr>
        </p:nvSpPr>
        <p:spPr>
          <a:xfrm>
            <a:off x="576000" y="730800"/>
            <a:ext cx="11039738" cy="361741"/>
          </a:xfrm>
        </p:spPr>
        <p:txBody>
          <a:bodyPr/>
          <a:lstStyle>
            <a:lvl1pPr>
              <a:defRPr>
                <a:solidFill>
                  <a:schemeClr val="tx2"/>
                </a:solidFill>
              </a:defRPr>
            </a:lvl1pPr>
          </a:lstStyle>
          <a:p>
            <a:r>
              <a:rPr lang="nb-NO" dirty="0"/>
              <a:t>Klikk for å legge til en overskrift på maksimalt én linje</a:t>
            </a:r>
            <a:endParaRPr lang="en-US" dirty="0"/>
          </a:p>
        </p:txBody>
      </p:sp>
      <p:sp>
        <p:nvSpPr>
          <p:cNvPr id="24" name="Rektangel 44">
            <a:extLst>
              <a:ext uri="{FF2B5EF4-FFF2-40B4-BE49-F238E27FC236}">
                <a16:creationId xmlns:a16="http://schemas.microsoft.com/office/drawing/2014/main" id="{27844A3D-8243-2143-85B5-BB3E1585307B}"/>
              </a:ext>
            </a:extLst>
          </p:cNvPr>
          <p:cNvSpPr/>
          <p:nvPr userDrawn="1"/>
        </p:nvSpPr>
        <p:spPr>
          <a:xfrm>
            <a:off x="587718" y="1507524"/>
            <a:ext cx="5365407" cy="46234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tx2"/>
              </a:solidFill>
            </a:endParaRPr>
          </a:p>
        </p:txBody>
      </p:sp>
      <p:sp>
        <p:nvSpPr>
          <p:cNvPr id="27" name="Rektangel 43">
            <a:extLst>
              <a:ext uri="{FF2B5EF4-FFF2-40B4-BE49-F238E27FC236}">
                <a16:creationId xmlns:a16="http://schemas.microsoft.com/office/drawing/2014/main" id="{D2047841-A38E-E04D-92A9-4F647F6B7944}"/>
              </a:ext>
            </a:extLst>
          </p:cNvPr>
          <p:cNvSpPr/>
          <p:nvPr userDrawn="1"/>
        </p:nvSpPr>
        <p:spPr>
          <a:xfrm>
            <a:off x="6238875" y="1507524"/>
            <a:ext cx="5382444" cy="46234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tx1"/>
              </a:solidFill>
            </a:endParaRPr>
          </a:p>
        </p:txBody>
      </p:sp>
      <p:sp>
        <p:nvSpPr>
          <p:cNvPr id="23" name="Text Placeholder 3">
            <a:extLst>
              <a:ext uri="{FF2B5EF4-FFF2-40B4-BE49-F238E27FC236}">
                <a16:creationId xmlns:a16="http://schemas.microsoft.com/office/drawing/2014/main" id="{82839781-9E89-2E4B-BF5A-FCFE0FEEAF53}"/>
              </a:ext>
            </a:extLst>
          </p:cNvPr>
          <p:cNvSpPr>
            <a:spLocks noGrp="1"/>
          </p:cNvSpPr>
          <p:nvPr>
            <p:ph type="body" sz="quarter" idx="23" hasCustomPrompt="1"/>
          </p:nvPr>
        </p:nvSpPr>
        <p:spPr>
          <a:xfrm>
            <a:off x="996819" y="2178069"/>
            <a:ext cx="4545239" cy="3665028"/>
          </a:xfrm>
        </p:spPr>
        <p:txBody>
          <a:bodyPr numCol="1" spcCol="288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brødtekst</a:t>
            </a:r>
            <a:endParaRPr lang="en-US" noProof="0" dirty="0"/>
          </a:p>
        </p:txBody>
      </p:sp>
      <p:sp>
        <p:nvSpPr>
          <p:cNvPr id="26" name="Text Placeholder 3">
            <a:extLst>
              <a:ext uri="{FF2B5EF4-FFF2-40B4-BE49-F238E27FC236}">
                <a16:creationId xmlns:a16="http://schemas.microsoft.com/office/drawing/2014/main" id="{A69AB6DF-EAFF-2242-82F5-78B1D08532CF}"/>
              </a:ext>
            </a:extLst>
          </p:cNvPr>
          <p:cNvSpPr>
            <a:spLocks noGrp="1"/>
          </p:cNvSpPr>
          <p:nvPr>
            <p:ph type="body" sz="quarter" idx="25" hasCustomPrompt="1"/>
          </p:nvPr>
        </p:nvSpPr>
        <p:spPr>
          <a:xfrm>
            <a:off x="6657478" y="2178069"/>
            <a:ext cx="4545239" cy="3665028"/>
          </a:xfrm>
        </p:spPr>
        <p:txBody>
          <a:bodyPr numCol="1"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brødtekst</a:t>
            </a:r>
            <a:endParaRPr lang="en-US" noProof="0" dirty="0"/>
          </a:p>
        </p:txBody>
      </p:sp>
      <p:sp>
        <p:nvSpPr>
          <p:cNvPr id="22" name="Text Placeholder 7">
            <a:extLst>
              <a:ext uri="{FF2B5EF4-FFF2-40B4-BE49-F238E27FC236}">
                <a16:creationId xmlns:a16="http://schemas.microsoft.com/office/drawing/2014/main" id="{5B47F0ED-B34E-F740-BB96-31AB716AB214}"/>
              </a:ext>
            </a:extLst>
          </p:cNvPr>
          <p:cNvSpPr>
            <a:spLocks noGrp="1"/>
          </p:cNvSpPr>
          <p:nvPr>
            <p:ph type="body" sz="quarter" idx="21" hasCustomPrompt="1"/>
          </p:nvPr>
        </p:nvSpPr>
        <p:spPr>
          <a:xfrm>
            <a:off x="996819" y="1812559"/>
            <a:ext cx="4545239" cy="278640"/>
          </a:xfrm>
        </p:spPr>
        <p:txBody>
          <a:bodyPr numCol="1"/>
          <a:lstStyle>
            <a:lvl1pPr marL="0" indent="0">
              <a:lnSpc>
                <a:spcPct val="100000"/>
              </a:lnSpc>
              <a:spcBef>
                <a:spcPts val="0"/>
              </a:spcBef>
              <a:spcAft>
                <a:spcPts val="1000"/>
              </a:spcAft>
              <a:buNone/>
              <a:defRPr sz="1600" b="1" spc="40" baseline="0">
                <a:solidFill>
                  <a:schemeClr val="bg1"/>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nb-NO" noProof="0" dirty="0"/>
              <a:t>Klikk for å legge til en kort overskrift</a:t>
            </a:r>
            <a:endParaRPr lang="en-US" noProof="0" dirty="0"/>
          </a:p>
        </p:txBody>
      </p:sp>
      <p:sp>
        <p:nvSpPr>
          <p:cNvPr id="25" name="Text Placeholder 7">
            <a:extLst>
              <a:ext uri="{FF2B5EF4-FFF2-40B4-BE49-F238E27FC236}">
                <a16:creationId xmlns:a16="http://schemas.microsoft.com/office/drawing/2014/main" id="{A6ACECAA-6C52-1F44-BE0A-70D683814D99}"/>
              </a:ext>
            </a:extLst>
          </p:cNvPr>
          <p:cNvSpPr>
            <a:spLocks noGrp="1"/>
          </p:cNvSpPr>
          <p:nvPr>
            <p:ph type="body" sz="quarter" idx="24" hasCustomPrompt="1"/>
          </p:nvPr>
        </p:nvSpPr>
        <p:spPr>
          <a:xfrm>
            <a:off x="6657478" y="1812559"/>
            <a:ext cx="4545239" cy="278640"/>
          </a:xfrm>
        </p:spPr>
        <p:txBody>
          <a:bodyPr numCol="1"/>
          <a:lstStyle>
            <a:lvl1pPr marL="0" indent="0">
              <a:lnSpc>
                <a:spcPct val="100000"/>
              </a:lnSpc>
              <a:spcBef>
                <a:spcPts val="0"/>
              </a:spcBef>
              <a:spcAft>
                <a:spcPts val="1000"/>
              </a:spcAft>
              <a:buNone/>
              <a:defRPr sz="1600" b="1" spc="40" baseline="0">
                <a:solidFill>
                  <a:schemeClr val="tx2"/>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nb-NO" noProof="0" dirty="0"/>
              <a:t>Klikk for å legge til en kort overskrift</a:t>
            </a:r>
            <a:endParaRPr lang="en-US" noProof="0" dirty="0"/>
          </a:p>
        </p:txBody>
      </p:sp>
      <p:sp>
        <p:nvSpPr>
          <p:cNvPr id="2" name="Logotype">
            <a:extLst>
              <a:ext uri="{FF2B5EF4-FFF2-40B4-BE49-F238E27FC236}">
                <a16:creationId xmlns:a16="http://schemas.microsoft.com/office/drawing/2014/main" id="{2F894128-2590-77BA-C008-03CFDE4606EB}"/>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7" name="Text Placeholder 7">
            <a:extLst>
              <a:ext uri="{FF2B5EF4-FFF2-40B4-BE49-F238E27FC236}">
                <a16:creationId xmlns:a16="http://schemas.microsoft.com/office/drawing/2014/main" id="{527E0876-74DC-8886-2656-1C7B423A8C1D}"/>
              </a:ext>
            </a:extLst>
          </p:cNvPr>
          <p:cNvSpPr>
            <a:spLocks noGrp="1"/>
          </p:cNvSpPr>
          <p:nvPr>
            <p:ph type="body" sz="quarter" idx="29" hasCustomPrompt="1"/>
          </p:nvPr>
        </p:nvSpPr>
        <p:spPr>
          <a:xfrm>
            <a:off x="576262" y="291600"/>
            <a:ext cx="5180400" cy="180000"/>
          </a:xfrm>
        </p:spPr>
        <p:txBody>
          <a:bodyPr/>
          <a:lstStyle>
            <a:lvl1pPr marL="6350" indent="0">
              <a:buNone/>
              <a:defRPr sz="1200">
                <a:solidFill>
                  <a:schemeClr val="tx2"/>
                </a:solidFill>
              </a:defRPr>
            </a:lvl1pPr>
          </a:lstStyle>
          <a:p>
            <a:pPr lvl="0"/>
            <a:r>
              <a:rPr lang="nb-NO" dirty="0"/>
              <a:t>Klikk for å legge til kapittel</a:t>
            </a:r>
            <a:endParaRPr lang="en-US" dirty="0"/>
          </a:p>
        </p:txBody>
      </p:sp>
    </p:spTree>
    <p:extLst>
      <p:ext uri="{BB962C8B-B14F-4D97-AF65-F5344CB8AC3E}">
        <p14:creationId xmlns:p14="http://schemas.microsoft.com/office/powerpoint/2010/main" val="44947498"/>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 Tekst To kolonner Grønn/grå">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A518CC0-16D0-3BE2-BFC2-055EEA6D7107}"/>
              </a:ext>
            </a:extLst>
          </p:cNvPr>
          <p:cNvSpPr>
            <a:spLocks noGrp="1"/>
          </p:cNvSpPr>
          <p:nvPr>
            <p:ph type="title" hasCustomPrompt="1"/>
          </p:nvPr>
        </p:nvSpPr>
        <p:spPr>
          <a:xfrm>
            <a:off x="576000" y="730800"/>
            <a:ext cx="11039738" cy="361741"/>
          </a:xfrm>
        </p:spPr>
        <p:txBody>
          <a:bodyPr/>
          <a:lstStyle>
            <a:lvl1pPr>
              <a:defRPr>
                <a:solidFill>
                  <a:schemeClr val="tx2"/>
                </a:solidFill>
              </a:defRPr>
            </a:lvl1pPr>
          </a:lstStyle>
          <a:p>
            <a:r>
              <a:rPr lang="nb-NO" dirty="0"/>
              <a:t>Klikk for å legge til en overskrift på maksimalt én linje</a:t>
            </a:r>
            <a:endParaRPr lang="en-US" dirty="0"/>
          </a:p>
        </p:txBody>
      </p:sp>
      <p:sp>
        <p:nvSpPr>
          <p:cNvPr id="24" name="Rektangel 44">
            <a:extLst>
              <a:ext uri="{FF2B5EF4-FFF2-40B4-BE49-F238E27FC236}">
                <a16:creationId xmlns:a16="http://schemas.microsoft.com/office/drawing/2014/main" id="{27844A3D-8243-2143-85B5-BB3E1585307B}"/>
              </a:ext>
            </a:extLst>
          </p:cNvPr>
          <p:cNvSpPr/>
          <p:nvPr userDrawn="1"/>
        </p:nvSpPr>
        <p:spPr>
          <a:xfrm>
            <a:off x="587718" y="1507524"/>
            <a:ext cx="5365407" cy="462348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tx2"/>
              </a:solidFill>
            </a:endParaRPr>
          </a:p>
        </p:txBody>
      </p:sp>
      <p:sp>
        <p:nvSpPr>
          <p:cNvPr id="27" name="Rektangel 43">
            <a:extLst>
              <a:ext uri="{FF2B5EF4-FFF2-40B4-BE49-F238E27FC236}">
                <a16:creationId xmlns:a16="http://schemas.microsoft.com/office/drawing/2014/main" id="{D2047841-A38E-E04D-92A9-4F647F6B7944}"/>
              </a:ext>
            </a:extLst>
          </p:cNvPr>
          <p:cNvSpPr/>
          <p:nvPr userDrawn="1"/>
        </p:nvSpPr>
        <p:spPr>
          <a:xfrm>
            <a:off x="6238875" y="1507524"/>
            <a:ext cx="5382444" cy="46234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tx1"/>
              </a:solidFill>
            </a:endParaRPr>
          </a:p>
        </p:txBody>
      </p:sp>
      <p:sp>
        <p:nvSpPr>
          <p:cNvPr id="23" name="Text Placeholder 3">
            <a:extLst>
              <a:ext uri="{FF2B5EF4-FFF2-40B4-BE49-F238E27FC236}">
                <a16:creationId xmlns:a16="http://schemas.microsoft.com/office/drawing/2014/main" id="{91A18B88-BC29-1545-A005-7757B0356CFF}"/>
              </a:ext>
            </a:extLst>
          </p:cNvPr>
          <p:cNvSpPr>
            <a:spLocks noGrp="1"/>
          </p:cNvSpPr>
          <p:nvPr>
            <p:ph type="body" sz="quarter" idx="23" hasCustomPrompt="1"/>
          </p:nvPr>
        </p:nvSpPr>
        <p:spPr>
          <a:xfrm>
            <a:off x="996819" y="2178069"/>
            <a:ext cx="4545239" cy="3665028"/>
          </a:xfrm>
        </p:spPr>
        <p:txBody>
          <a:bodyPr numCol="1" spcCol="288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brødtekst</a:t>
            </a:r>
            <a:endParaRPr lang="en-US" noProof="0" dirty="0"/>
          </a:p>
        </p:txBody>
      </p:sp>
      <p:sp>
        <p:nvSpPr>
          <p:cNvPr id="29" name="Text Placeholder 3">
            <a:extLst>
              <a:ext uri="{FF2B5EF4-FFF2-40B4-BE49-F238E27FC236}">
                <a16:creationId xmlns:a16="http://schemas.microsoft.com/office/drawing/2014/main" id="{814F133D-F0F6-F94F-9E60-968BEDC32C44}"/>
              </a:ext>
            </a:extLst>
          </p:cNvPr>
          <p:cNvSpPr>
            <a:spLocks noGrp="1"/>
          </p:cNvSpPr>
          <p:nvPr>
            <p:ph type="body" sz="quarter" idx="25" hasCustomPrompt="1"/>
          </p:nvPr>
        </p:nvSpPr>
        <p:spPr>
          <a:xfrm>
            <a:off x="6657478" y="2178069"/>
            <a:ext cx="4545239" cy="3665028"/>
          </a:xfrm>
        </p:spPr>
        <p:txBody>
          <a:bodyPr numCol="1"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brødtekst</a:t>
            </a:r>
            <a:endParaRPr lang="en-US" noProof="0" dirty="0"/>
          </a:p>
        </p:txBody>
      </p:sp>
      <p:sp>
        <p:nvSpPr>
          <p:cNvPr id="22" name="Text Placeholder 7">
            <a:extLst>
              <a:ext uri="{FF2B5EF4-FFF2-40B4-BE49-F238E27FC236}">
                <a16:creationId xmlns:a16="http://schemas.microsoft.com/office/drawing/2014/main" id="{4B605BB7-B2F3-B84E-B03B-86DFCB3BA50D}"/>
              </a:ext>
            </a:extLst>
          </p:cNvPr>
          <p:cNvSpPr>
            <a:spLocks noGrp="1"/>
          </p:cNvSpPr>
          <p:nvPr>
            <p:ph type="body" sz="quarter" idx="21" hasCustomPrompt="1"/>
          </p:nvPr>
        </p:nvSpPr>
        <p:spPr>
          <a:xfrm>
            <a:off x="996819" y="1812559"/>
            <a:ext cx="4545239" cy="278640"/>
          </a:xfrm>
        </p:spPr>
        <p:txBody>
          <a:bodyPr numCol="1"/>
          <a:lstStyle>
            <a:lvl1pPr marL="0" indent="0">
              <a:lnSpc>
                <a:spcPct val="100000"/>
              </a:lnSpc>
              <a:spcBef>
                <a:spcPts val="0"/>
              </a:spcBef>
              <a:spcAft>
                <a:spcPts val="1000"/>
              </a:spcAft>
              <a:buNone/>
              <a:defRPr sz="1600" b="1" spc="40" baseline="0">
                <a:solidFill>
                  <a:schemeClr val="tx1"/>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nb-NO" noProof="0" dirty="0"/>
              <a:t>Klikk for å legge til en kort overskrift</a:t>
            </a:r>
            <a:endParaRPr lang="en-US" noProof="0" dirty="0"/>
          </a:p>
        </p:txBody>
      </p:sp>
      <p:sp>
        <p:nvSpPr>
          <p:cNvPr id="26" name="Text Placeholder 7">
            <a:extLst>
              <a:ext uri="{FF2B5EF4-FFF2-40B4-BE49-F238E27FC236}">
                <a16:creationId xmlns:a16="http://schemas.microsoft.com/office/drawing/2014/main" id="{23B7487A-37EB-5B4D-AD31-7D94C9D39783}"/>
              </a:ext>
            </a:extLst>
          </p:cNvPr>
          <p:cNvSpPr>
            <a:spLocks noGrp="1"/>
          </p:cNvSpPr>
          <p:nvPr>
            <p:ph type="body" sz="quarter" idx="24" hasCustomPrompt="1"/>
          </p:nvPr>
        </p:nvSpPr>
        <p:spPr>
          <a:xfrm>
            <a:off x="6657478" y="1812559"/>
            <a:ext cx="4545239" cy="278640"/>
          </a:xfrm>
        </p:spPr>
        <p:txBody>
          <a:bodyPr numCol="1"/>
          <a:lstStyle>
            <a:lvl1pPr marL="0" indent="0">
              <a:lnSpc>
                <a:spcPct val="100000"/>
              </a:lnSpc>
              <a:spcBef>
                <a:spcPts val="0"/>
              </a:spcBef>
              <a:spcAft>
                <a:spcPts val="1000"/>
              </a:spcAft>
              <a:buNone/>
              <a:defRPr sz="1600" b="1" spc="40" baseline="0">
                <a:solidFill>
                  <a:schemeClr val="tx2"/>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nb-NO" noProof="0" dirty="0"/>
              <a:t>Klikk for å legge til en kort overskrift</a:t>
            </a:r>
            <a:endParaRPr lang="en-US" noProof="0" dirty="0"/>
          </a:p>
        </p:txBody>
      </p:sp>
      <p:sp>
        <p:nvSpPr>
          <p:cNvPr id="2" name="Logotype">
            <a:extLst>
              <a:ext uri="{FF2B5EF4-FFF2-40B4-BE49-F238E27FC236}">
                <a16:creationId xmlns:a16="http://schemas.microsoft.com/office/drawing/2014/main" id="{BF6ADA07-DB37-0028-2DC0-0AF1D93383D2}"/>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
        <p:nvSpPr>
          <p:cNvPr id="7" name="Text Placeholder 7">
            <a:extLst>
              <a:ext uri="{FF2B5EF4-FFF2-40B4-BE49-F238E27FC236}">
                <a16:creationId xmlns:a16="http://schemas.microsoft.com/office/drawing/2014/main" id="{83ECA3E2-BBF9-CA8F-300B-AE79144F270B}"/>
              </a:ext>
            </a:extLst>
          </p:cNvPr>
          <p:cNvSpPr>
            <a:spLocks noGrp="1"/>
          </p:cNvSpPr>
          <p:nvPr>
            <p:ph type="body" sz="quarter" idx="29" hasCustomPrompt="1"/>
          </p:nvPr>
        </p:nvSpPr>
        <p:spPr>
          <a:xfrm>
            <a:off x="576262" y="291600"/>
            <a:ext cx="5180400" cy="180000"/>
          </a:xfrm>
        </p:spPr>
        <p:txBody>
          <a:bodyPr/>
          <a:lstStyle>
            <a:lvl1pPr marL="6350" indent="0">
              <a:buNone/>
              <a:defRPr sz="1200">
                <a:solidFill>
                  <a:schemeClr val="tx2"/>
                </a:solidFill>
              </a:defRPr>
            </a:lvl1pPr>
          </a:lstStyle>
          <a:p>
            <a:pPr lvl="0"/>
            <a:r>
              <a:rPr lang="nb-NO" dirty="0"/>
              <a:t>Klikk for å legge til kapittel</a:t>
            </a:r>
            <a:endParaRPr lang="en-US" dirty="0"/>
          </a:p>
        </p:txBody>
      </p:sp>
    </p:spTree>
    <p:extLst>
      <p:ext uri="{BB962C8B-B14F-4D97-AF65-F5344CB8AC3E}">
        <p14:creationId xmlns:p14="http://schemas.microsoft.com/office/powerpoint/2010/main" val="1212245555"/>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om">
    <p:bg>
      <p:bgRef idx="1001">
        <a:schemeClr val="bg1"/>
      </p:bgRef>
    </p:bg>
    <p:spTree>
      <p:nvGrpSpPr>
        <p:cNvPr id="1" name=""/>
        <p:cNvGrpSpPr/>
        <p:nvPr/>
      </p:nvGrpSpPr>
      <p:grpSpPr>
        <a:xfrm>
          <a:off x="0" y="0"/>
          <a:ext cx="0" cy="0"/>
          <a:chOff x="0" y="0"/>
          <a:chExt cx="0" cy="0"/>
        </a:xfrm>
      </p:grpSpPr>
      <p:sp>
        <p:nvSpPr>
          <p:cNvPr id="8" name="Logotype">
            <a:extLst>
              <a:ext uri="{FF2B5EF4-FFF2-40B4-BE49-F238E27FC236}">
                <a16:creationId xmlns:a16="http://schemas.microsoft.com/office/drawing/2014/main" id="{BAB37936-9E45-0459-8025-6AD58CC2C436}"/>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Tree>
    <p:extLst>
      <p:ext uri="{BB962C8B-B14F-4D97-AF65-F5344CB8AC3E}">
        <p14:creationId xmlns:p14="http://schemas.microsoft.com/office/powerpoint/2010/main" val="3723952200"/>
      </p:ext>
    </p:extLst>
  </p:cSld>
  <p:clrMapOvr>
    <a:overrideClrMapping bg1="lt1" tx1="dk1" bg2="lt2" tx2="dk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 Generic Image Start">
    <p:bg>
      <p:bgPr>
        <a:solidFill>
          <a:schemeClr val="bg1"/>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F25FCAC-9D7B-3242-B85D-0E4AD5A08447}"/>
              </a:ext>
            </a:extLst>
          </p:cNvPr>
          <p:cNvSpPr>
            <a:spLocks noGrp="1"/>
          </p:cNvSpPr>
          <p:nvPr>
            <p:ph type="pic" sz="quarter" idx="13" hasCustomPrompt="1"/>
          </p:nvPr>
        </p:nvSpPr>
        <p:spPr>
          <a:xfrm>
            <a:off x="2" y="2"/>
            <a:ext cx="12191999" cy="6857999"/>
          </a:xfrm>
          <a:custGeom>
            <a:avLst/>
            <a:gdLst>
              <a:gd name="connsiteX0" fmla="*/ 4964326 w 12191999"/>
              <a:gd name="connsiteY0" fmla="*/ 3115140 h 6857999"/>
              <a:gd name="connsiteX1" fmla="*/ 5103655 w 12191999"/>
              <a:gd name="connsiteY1" fmla="*/ 3528679 h 6857999"/>
              <a:gd name="connsiteX2" fmla="*/ 4829444 w 12191999"/>
              <a:gd name="connsiteY2" fmla="*/ 3528679 h 6857999"/>
              <a:gd name="connsiteX3" fmla="*/ 9196063 w 12191999"/>
              <a:gd name="connsiteY3" fmla="*/ 3115140 h 6857999"/>
              <a:gd name="connsiteX4" fmla="*/ 9335392 w 12191999"/>
              <a:gd name="connsiteY4" fmla="*/ 3528679 h 6857999"/>
              <a:gd name="connsiteX5" fmla="*/ 9061181 w 12191999"/>
              <a:gd name="connsiteY5" fmla="*/ 3528679 h 6857999"/>
              <a:gd name="connsiteX6" fmla="*/ 5595751 w 12191999"/>
              <a:gd name="connsiteY6" fmla="*/ 2890584 h 6857999"/>
              <a:gd name="connsiteX7" fmla="*/ 5595751 w 12191999"/>
              <a:gd name="connsiteY7" fmla="*/ 3968157 h 6857999"/>
              <a:gd name="connsiteX8" fmla="*/ 5845505 w 12191999"/>
              <a:gd name="connsiteY8" fmla="*/ 3968157 h 6857999"/>
              <a:gd name="connsiteX9" fmla="*/ 5845505 w 12191999"/>
              <a:gd name="connsiteY9" fmla="*/ 3303382 h 6857999"/>
              <a:gd name="connsiteX10" fmla="*/ 6274608 w 12191999"/>
              <a:gd name="connsiteY10" fmla="*/ 3965934 h 6857999"/>
              <a:gd name="connsiteX11" fmla="*/ 6274608 w 12191999"/>
              <a:gd name="connsiteY11" fmla="*/ 3968157 h 6857999"/>
              <a:gd name="connsiteX12" fmla="*/ 6533255 w 12191999"/>
              <a:gd name="connsiteY12" fmla="*/ 3968157 h 6857999"/>
              <a:gd name="connsiteX13" fmla="*/ 6532514 w 12191999"/>
              <a:gd name="connsiteY13" fmla="*/ 3735449 h 6857999"/>
              <a:gd name="connsiteX14" fmla="*/ 6531032 w 12191999"/>
              <a:gd name="connsiteY14" fmla="*/ 2890584 h 6857999"/>
              <a:gd name="connsiteX15" fmla="*/ 6282760 w 12191999"/>
              <a:gd name="connsiteY15" fmla="*/ 2890584 h 6857999"/>
              <a:gd name="connsiteX16" fmla="*/ 6282760 w 12191999"/>
              <a:gd name="connsiteY16" fmla="*/ 3567958 h 6857999"/>
              <a:gd name="connsiteX17" fmla="*/ 5849952 w 12191999"/>
              <a:gd name="connsiteY17" fmla="*/ 2890584 h 6857999"/>
              <a:gd name="connsiteX18" fmla="*/ 4802022 w 12191999"/>
              <a:gd name="connsiteY18" fmla="*/ 2890584 h 6857999"/>
              <a:gd name="connsiteX19" fmla="*/ 4429245 w 12191999"/>
              <a:gd name="connsiteY19" fmla="*/ 3968157 h 6857999"/>
              <a:gd name="connsiteX20" fmla="*/ 4692339 w 12191999"/>
              <a:gd name="connsiteY20" fmla="*/ 3968157 h 6857999"/>
              <a:gd name="connsiteX21" fmla="*/ 4760520 w 12191999"/>
              <a:gd name="connsiteY21" fmla="*/ 3748048 h 6857999"/>
              <a:gd name="connsiteX22" fmla="*/ 5173319 w 12191999"/>
              <a:gd name="connsiteY22" fmla="*/ 3748048 h 6857999"/>
              <a:gd name="connsiteX23" fmla="*/ 5243725 w 12191999"/>
              <a:gd name="connsiteY23" fmla="*/ 3968157 h 6857999"/>
              <a:gd name="connsiteX24" fmla="*/ 5503113 w 12191999"/>
              <a:gd name="connsiteY24" fmla="*/ 3968157 h 6857999"/>
              <a:gd name="connsiteX25" fmla="*/ 5119218 w 12191999"/>
              <a:gd name="connsiteY25" fmla="*/ 2890584 h 6857999"/>
              <a:gd name="connsiteX26" fmla="*/ 2791392 w 12191999"/>
              <a:gd name="connsiteY26" fmla="*/ 2890584 h 6857999"/>
              <a:gd name="connsiteX27" fmla="*/ 2457151 w 12191999"/>
              <a:gd name="connsiteY27" fmla="*/ 3218154 h 6857999"/>
              <a:gd name="connsiteX28" fmla="*/ 2791392 w 12191999"/>
              <a:gd name="connsiteY28" fmla="*/ 3532385 h 6857999"/>
              <a:gd name="connsiteX29" fmla="*/ 3046334 w 12191999"/>
              <a:gd name="connsiteY29" fmla="*/ 3532385 h 6857999"/>
              <a:gd name="connsiteX30" fmla="*/ 3143419 w 12191999"/>
              <a:gd name="connsiteY30" fmla="*/ 3632434 h 6857999"/>
              <a:gd name="connsiteX31" fmla="*/ 3046334 w 12191999"/>
              <a:gd name="connsiteY31" fmla="*/ 3732484 h 6857999"/>
              <a:gd name="connsiteX32" fmla="*/ 2500136 w 12191999"/>
              <a:gd name="connsiteY32" fmla="*/ 3732484 h 6857999"/>
              <a:gd name="connsiteX33" fmla="*/ 2500136 w 12191999"/>
              <a:gd name="connsiteY33" fmla="*/ 3968157 h 6857999"/>
              <a:gd name="connsiteX34" fmla="*/ 3036699 w 12191999"/>
              <a:gd name="connsiteY34" fmla="*/ 3968157 h 6857999"/>
              <a:gd name="connsiteX35" fmla="*/ 3375386 w 12191999"/>
              <a:gd name="connsiteY35" fmla="*/ 3632434 h 6857999"/>
              <a:gd name="connsiteX36" fmla="*/ 3084871 w 12191999"/>
              <a:gd name="connsiteY36" fmla="*/ 3318204 h 6857999"/>
              <a:gd name="connsiteX37" fmla="*/ 2791392 w 12191999"/>
              <a:gd name="connsiteY37" fmla="*/ 3318204 h 6857999"/>
              <a:gd name="connsiteX38" fmla="*/ 2689860 w 12191999"/>
              <a:gd name="connsiteY38" fmla="*/ 3218154 h 6857999"/>
              <a:gd name="connsiteX39" fmla="*/ 2791392 w 12191999"/>
              <a:gd name="connsiteY39" fmla="*/ 3118105 h 6857999"/>
              <a:gd name="connsiteX40" fmla="*/ 3300534 w 12191999"/>
              <a:gd name="connsiteY40" fmla="*/ 3118105 h 6857999"/>
              <a:gd name="connsiteX41" fmla="*/ 3300534 w 12191999"/>
              <a:gd name="connsiteY41" fmla="*/ 2890584 h 6857999"/>
              <a:gd name="connsiteX42" fmla="*/ 9033760 w 12191999"/>
              <a:gd name="connsiteY42" fmla="*/ 2890583 h 6857999"/>
              <a:gd name="connsiteX43" fmla="*/ 8661723 w 12191999"/>
              <a:gd name="connsiteY43" fmla="*/ 3968157 h 6857999"/>
              <a:gd name="connsiteX44" fmla="*/ 8924817 w 12191999"/>
              <a:gd name="connsiteY44" fmla="*/ 3968157 h 6857999"/>
              <a:gd name="connsiteX45" fmla="*/ 8992999 w 12191999"/>
              <a:gd name="connsiteY45" fmla="*/ 3748048 h 6857999"/>
              <a:gd name="connsiteX46" fmla="*/ 9405797 w 12191999"/>
              <a:gd name="connsiteY46" fmla="*/ 3748048 h 6857999"/>
              <a:gd name="connsiteX47" fmla="*/ 9476203 w 12191999"/>
              <a:gd name="connsiteY47" fmla="*/ 3968157 h 6857999"/>
              <a:gd name="connsiteX48" fmla="*/ 9734850 w 12191999"/>
              <a:gd name="connsiteY48" fmla="*/ 3968157 h 6857999"/>
              <a:gd name="connsiteX49" fmla="*/ 9350955 w 12191999"/>
              <a:gd name="connsiteY49" fmla="*/ 2890583 h 6857999"/>
              <a:gd name="connsiteX50" fmla="*/ 7018682 w 12191999"/>
              <a:gd name="connsiteY50" fmla="*/ 2890583 h 6857999"/>
              <a:gd name="connsiteX51" fmla="*/ 6684441 w 12191999"/>
              <a:gd name="connsiteY51" fmla="*/ 3218154 h 6857999"/>
              <a:gd name="connsiteX52" fmla="*/ 7018682 w 12191999"/>
              <a:gd name="connsiteY52" fmla="*/ 3532385 h 6857999"/>
              <a:gd name="connsiteX53" fmla="*/ 7273623 w 12191999"/>
              <a:gd name="connsiteY53" fmla="*/ 3532385 h 6857999"/>
              <a:gd name="connsiteX54" fmla="*/ 7370709 w 12191999"/>
              <a:gd name="connsiteY54" fmla="*/ 3632434 h 6857999"/>
              <a:gd name="connsiteX55" fmla="*/ 7273623 w 12191999"/>
              <a:gd name="connsiteY55" fmla="*/ 3732484 h 6857999"/>
              <a:gd name="connsiteX56" fmla="*/ 6728167 w 12191999"/>
              <a:gd name="connsiteY56" fmla="*/ 3732484 h 6857999"/>
              <a:gd name="connsiteX57" fmla="*/ 6728167 w 12191999"/>
              <a:gd name="connsiteY57" fmla="*/ 3968157 h 6857999"/>
              <a:gd name="connsiteX58" fmla="*/ 7264730 w 12191999"/>
              <a:gd name="connsiteY58" fmla="*/ 3968157 h 6857999"/>
              <a:gd name="connsiteX59" fmla="*/ 7603417 w 12191999"/>
              <a:gd name="connsiteY59" fmla="*/ 3632434 h 6857999"/>
              <a:gd name="connsiteX60" fmla="*/ 7312161 w 12191999"/>
              <a:gd name="connsiteY60" fmla="*/ 3318204 h 6857999"/>
              <a:gd name="connsiteX61" fmla="*/ 7018682 w 12191999"/>
              <a:gd name="connsiteY61" fmla="*/ 3318204 h 6857999"/>
              <a:gd name="connsiteX62" fmla="*/ 6917150 w 12191999"/>
              <a:gd name="connsiteY62" fmla="*/ 3218154 h 6857999"/>
              <a:gd name="connsiteX63" fmla="*/ 7018682 w 12191999"/>
              <a:gd name="connsiteY63" fmla="*/ 3118104 h 6857999"/>
              <a:gd name="connsiteX64" fmla="*/ 7527824 w 12191999"/>
              <a:gd name="connsiteY64" fmla="*/ 3118104 h 6857999"/>
              <a:gd name="connsiteX65" fmla="*/ 7527824 w 12191999"/>
              <a:gd name="connsiteY65" fmla="*/ 2890583 h 6857999"/>
              <a:gd name="connsiteX66" fmla="*/ 3520644 w 12191999"/>
              <a:gd name="connsiteY66" fmla="*/ 2889843 h 6857999"/>
              <a:gd name="connsiteX67" fmla="*/ 3520644 w 12191999"/>
              <a:gd name="connsiteY67" fmla="*/ 3968157 h 6857999"/>
              <a:gd name="connsiteX68" fmla="*/ 3768916 w 12191999"/>
              <a:gd name="connsiteY68" fmla="*/ 3968157 h 6857999"/>
              <a:gd name="connsiteX69" fmla="*/ 3768916 w 12191999"/>
              <a:gd name="connsiteY69" fmla="*/ 3513116 h 6857999"/>
              <a:gd name="connsiteX70" fmla="*/ 4123167 w 12191999"/>
              <a:gd name="connsiteY70" fmla="*/ 3968157 h 6857999"/>
              <a:gd name="connsiteX71" fmla="*/ 4413681 w 12191999"/>
              <a:gd name="connsiteY71" fmla="*/ 3968157 h 6857999"/>
              <a:gd name="connsiteX72" fmla="*/ 4005330 w 12191999"/>
              <a:gd name="connsiteY72" fmla="*/ 3429370 h 6857999"/>
              <a:gd name="connsiteX73" fmla="*/ 4413681 w 12191999"/>
              <a:gd name="connsiteY73" fmla="*/ 2889843 h 6857999"/>
              <a:gd name="connsiteX74" fmla="*/ 4123167 w 12191999"/>
              <a:gd name="connsiteY74" fmla="*/ 2889843 h 6857999"/>
              <a:gd name="connsiteX75" fmla="*/ 3768916 w 12191999"/>
              <a:gd name="connsiteY75" fmla="*/ 3344884 h 6857999"/>
              <a:gd name="connsiteX76" fmla="*/ 3768916 w 12191999"/>
              <a:gd name="connsiteY76" fmla="*/ 2889843 h 6857999"/>
              <a:gd name="connsiteX77" fmla="*/ 7752381 w 12191999"/>
              <a:gd name="connsiteY77" fmla="*/ 2889842 h 6857999"/>
              <a:gd name="connsiteX78" fmla="*/ 7752381 w 12191999"/>
              <a:gd name="connsiteY78" fmla="*/ 3968157 h 6857999"/>
              <a:gd name="connsiteX79" fmla="*/ 8001394 w 12191999"/>
              <a:gd name="connsiteY79" fmla="*/ 3968157 h 6857999"/>
              <a:gd name="connsiteX80" fmla="*/ 8001394 w 12191999"/>
              <a:gd name="connsiteY80" fmla="*/ 3513116 h 6857999"/>
              <a:gd name="connsiteX81" fmla="*/ 8355645 w 12191999"/>
              <a:gd name="connsiteY81" fmla="*/ 3968157 h 6857999"/>
              <a:gd name="connsiteX82" fmla="*/ 8645419 w 12191999"/>
              <a:gd name="connsiteY82" fmla="*/ 3968157 h 6857999"/>
              <a:gd name="connsiteX83" fmla="*/ 8237809 w 12191999"/>
              <a:gd name="connsiteY83" fmla="*/ 3429370 h 6857999"/>
              <a:gd name="connsiteX84" fmla="*/ 8645419 w 12191999"/>
              <a:gd name="connsiteY84" fmla="*/ 2889842 h 6857999"/>
              <a:gd name="connsiteX85" fmla="*/ 8355645 w 12191999"/>
              <a:gd name="connsiteY85" fmla="*/ 2889842 h 6857999"/>
              <a:gd name="connsiteX86" fmla="*/ 8001394 w 12191999"/>
              <a:gd name="connsiteY86" fmla="*/ 3344884 h 6857999"/>
              <a:gd name="connsiteX87" fmla="*/ 8001394 w 12191999"/>
              <a:gd name="connsiteY87" fmla="*/ 2889842 h 6857999"/>
              <a:gd name="connsiteX88" fmla="*/ 0 w 12191999"/>
              <a:gd name="connsiteY88" fmla="*/ 0 h 6857999"/>
              <a:gd name="connsiteX89" fmla="*/ 12191999 w 12191999"/>
              <a:gd name="connsiteY89" fmla="*/ 0 h 6857999"/>
              <a:gd name="connsiteX90" fmla="*/ 12191999 w 12191999"/>
              <a:gd name="connsiteY90" fmla="*/ 6857999 h 6857999"/>
              <a:gd name="connsiteX91" fmla="*/ 0 w 12191999"/>
              <a:gd name="connsiteY91"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9" h="6857999">
                <a:moveTo>
                  <a:pt x="4964326" y="3115140"/>
                </a:moveTo>
                <a:lnTo>
                  <a:pt x="5103655" y="3528679"/>
                </a:lnTo>
                <a:lnTo>
                  <a:pt x="4829444" y="3528679"/>
                </a:lnTo>
                <a:close/>
                <a:moveTo>
                  <a:pt x="9196063" y="3115140"/>
                </a:moveTo>
                <a:lnTo>
                  <a:pt x="9335392" y="3528679"/>
                </a:lnTo>
                <a:lnTo>
                  <a:pt x="9061181" y="3528679"/>
                </a:lnTo>
                <a:close/>
                <a:moveTo>
                  <a:pt x="5595751" y="2890584"/>
                </a:moveTo>
                <a:lnTo>
                  <a:pt x="5595751" y="3968157"/>
                </a:lnTo>
                <a:lnTo>
                  <a:pt x="5845505" y="3968157"/>
                </a:lnTo>
                <a:lnTo>
                  <a:pt x="5845505" y="3303382"/>
                </a:lnTo>
                <a:lnTo>
                  <a:pt x="6274608" y="3965934"/>
                </a:lnTo>
                <a:lnTo>
                  <a:pt x="6274608" y="3968157"/>
                </a:lnTo>
                <a:lnTo>
                  <a:pt x="6533255" y="3968157"/>
                </a:lnTo>
                <a:lnTo>
                  <a:pt x="6532514" y="3735449"/>
                </a:lnTo>
                <a:lnTo>
                  <a:pt x="6531032" y="2890584"/>
                </a:lnTo>
                <a:lnTo>
                  <a:pt x="6282760" y="2890584"/>
                </a:lnTo>
                <a:lnTo>
                  <a:pt x="6282760" y="3567958"/>
                </a:lnTo>
                <a:lnTo>
                  <a:pt x="5849952" y="2890584"/>
                </a:lnTo>
                <a:close/>
                <a:moveTo>
                  <a:pt x="4802022" y="2890584"/>
                </a:moveTo>
                <a:lnTo>
                  <a:pt x="4429245" y="3968157"/>
                </a:lnTo>
                <a:lnTo>
                  <a:pt x="4692339" y="3968157"/>
                </a:lnTo>
                <a:lnTo>
                  <a:pt x="4760520" y="3748048"/>
                </a:lnTo>
                <a:lnTo>
                  <a:pt x="5173319" y="3748048"/>
                </a:lnTo>
                <a:lnTo>
                  <a:pt x="5243725" y="3968157"/>
                </a:lnTo>
                <a:lnTo>
                  <a:pt x="5503113" y="3968157"/>
                </a:lnTo>
                <a:lnTo>
                  <a:pt x="5119218" y="2890584"/>
                </a:lnTo>
                <a:close/>
                <a:moveTo>
                  <a:pt x="2791392" y="2890584"/>
                </a:moveTo>
                <a:cubicBezTo>
                  <a:pt x="2583140" y="2890584"/>
                  <a:pt x="2457151" y="3012125"/>
                  <a:pt x="2457151" y="3218154"/>
                </a:cubicBezTo>
                <a:cubicBezTo>
                  <a:pt x="2457151" y="3424184"/>
                  <a:pt x="2603150" y="3532385"/>
                  <a:pt x="2791392" y="3532385"/>
                </a:cubicBezTo>
                <a:lnTo>
                  <a:pt x="3046334" y="3532385"/>
                </a:lnTo>
                <a:cubicBezTo>
                  <a:pt x="3110810" y="3532385"/>
                  <a:pt x="3143419" y="3581298"/>
                  <a:pt x="3143419" y="3632434"/>
                </a:cubicBezTo>
                <a:cubicBezTo>
                  <a:pt x="3143419" y="3685053"/>
                  <a:pt x="3110810" y="3732484"/>
                  <a:pt x="3046334" y="3732484"/>
                </a:cubicBezTo>
                <a:lnTo>
                  <a:pt x="2500136" y="3732484"/>
                </a:lnTo>
                <a:lnTo>
                  <a:pt x="2500136" y="3968157"/>
                </a:lnTo>
                <a:lnTo>
                  <a:pt x="3036699" y="3968157"/>
                </a:lnTo>
                <a:cubicBezTo>
                  <a:pt x="3249398" y="3968157"/>
                  <a:pt x="3375386" y="3851062"/>
                  <a:pt x="3375386" y="3632434"/>
                </a:cubicBezTo>
                <a:cubicBezTo>
                  <a:pt x="3375386" y="3435299"/>
                  <a:pt x="3249398" y="3318204"/>
                  <a:pt x="3084871" y="3318204"/>
                </a:cubicBezTo>
                <a:lnTo>
                  <a:pt x="2791392" y="3318204"/>
                </a:lnTo>
                <a:cubicBezTo>
                  <a:pt x="2722468" y="3318204"/>
                  <a:pt x="2689860" y="3270773"/>
                  <a:pt x="2689860" y="3218154"/>
                </a:cubicBezTo>
                <a:cubicBezTo>
                  <a:pt x="2689860" y="3165536"/>
                  <a:pt x="2722468" y="3118105"/>
                  <a:pt x="2791392" y="3118105"/>
                </a:cubicBezTo>
                <a:lnTo>
                  <a:pt x="3300534" y="3118105"/>
                </a:lnTo>
                <a:lnTo>
                  <a:pt x="3300534" y="2890584"/>
                </a:lnTo>
                <a:close/>
                <a:moveTo>
                  <a:pt x="9033760" y="2890583"/>
                </a:moveTo>
                <a:lnTo>
                  <a:pt x="8661723" y="3968157"/>
                </a:lnTo>
                <a:lnTo>
                  <a:pt x="8924817" y="3968157"/>
                </a:lnTo>
                <a:lnTo>
                  <a:pt x="8992999" y="3748048"/>
                </a:lnTo>
                <a:lnTo>
                  <a:pt x="9405797" y="3748048"/>
                </a:lnTo>
                <a:lnTo>
                  <a:pt x="9476203" y="3968157"/>
                </a:lnTo>
                <a:lnTo>
                  <a:pt x="9734850" y="3968157"/>
                </a:lnTo>
                <a:lnTo>
                  <a:pt x="9350955" y="2890583"/>
                </a:lnTo>
                <a:close/>
                <a:moveTo>
                  <a:pt x="7018682" y="2890583"/>
                </a:moveTo>
                <a:cubicBezTo>
                  <a:pt x="6811171" y="2890583"/>
                  <a:pt x="6684441" y="3012125"/>
                  <a:pt x="6684441" y="3218154"/>
                </a:cubicBezTo>
                <a:cubicBezTo>
                  <a:pt x="6684441" y="3424183"/>
                  <a:pt x="6830440" y="3532385"/>
                  <a:pt x="7018682" y="3532385"/>
                </a:cubicBezTo>
                <a:lnTo>
                  <a:pt x="7273623" y="3532385"/>
                </a:lnTo>
                <a:cubicBezTo>
                  <a:pt x="7338100" y="3532385"/>
                  <a:pt x="7370709" y="3581298"/>
                  <a:pt x="7370709" y="3632434"/>
                </a:cubicBezTo>
                <a:cubicBezTo>
                  <a:pt x="7370709" y="3685053"/>
                  <a:pt x="7338100" y="3732484"/>
                  <a:pt x="7273623" y="3732484"/>
                </a:cubicBezTo>
                <a:lnTo>
                  <a:pt x="6728167" y="3732484"/>
                </a:lnTo>
                <a:lnTo>
                  <a:pt x="6728167" y="3968157"/>
                </a:lnTo>
                <a:lnTo>
                  <a:pt x="7264730" y="3968157"/>
                </a:lnTo>
                <a:cubicBezTo>
                  <a:pt x="7477429" y="3968157"/>
                  <a:pt x="7603417" y="3851062"/>
                  <a:pt x="7603417" y="3632434"/>
                </a:cubicBezTo>
                <a:cubicBezTo>
                  <a:pt x="7603417" y="3435299"/>
                  <a:pt x="7476687" y="3318204"/>
                  <a:pt x="7312161" y="3318204"/>
                </a:cubicBezTo>
                <a:lnTo>
                  <a:pt x="7018682" y="3318204"/>
                </a:lnTo>
                <a:cubicBezTo>
                  <a:pt x="6949758" y="3318204"/>
                  <a:pt x="6917150" y="3270773"/>
                  <a:pt x="6917150" y="3218154"/>
                </a:cubicBezTo>
                <a:cubicBezTo>
                  <a:pt x="6917150" y="3165535"/>
                  <a:pt x="6949758" y="3118104"/>
                  <a:pt x="7018682" y="3118104"/>
                </a:cubicBezTo>
                <a:lnTo>
                  <a:pt x="7527824" y="3118104"/>
                </a:lnTo>
                <a:lnTo>
                  <a:pt x="7527824" y="2890583"/>
                </a:lnTo>
                <a:close/>
                <a:moveTo>
                  <a:pt x="3520644" y="2889843"/>
                </a:moveTo>
                <a:lnTo>
                  <a:pt x="3520644" y="3968157"/>
                </a:lnTo>
                <a:lnTo>
                  <a:pt x="3768916" y="3968157"/>
                </a:lnTo>
                <a:lnTo>
                  <a:pt x="3768916" y="3513116"/>
                </a:lnTo>
                <a:lnTo>
                  <a:pt x="4123167" y="3968157"/>
                </a:lnTo>
                <a:lnTo>
                  <a:pt x="4413681" y="3968157"/>
                </a:lnTo>
                <a:lnTo>
                  <a:pt x="4005330" y="3429370"/>
                </a:lnTo>
                <a:lnTo>
                  <a:pt x="4413681" y="2889843"/>
                </a:lnTo>
                <a:lnTo>
                  <a:pt x="4123167" y="2889843"/>
                </a:lnTo>
                <a:lnTo>
                  <a:pt x="3768916" y="3344884"/>
                </a:lnTo>
                <a:lnTo>
                  <a:pt x="3768916" y="2889843"/>
                </a:lnTo>
                <a:close/>
                <a:moveTo>
                  <a:pt x="7752381" y="2889842"/>
                </a:moveTo>
                <a:lnTo>
                  <a:pt x="7752381" y="3968157"/>
                </a:lnTo>
                <a:lnTo>
                  <a:pt x="8001394" y="3968157"/>
                </a:lnTo>
                <a:lnTo>
                  <a:pt x="8001394" y="3513116"/>
                </a:lnTo>
                <a:lnTo>
                  <a:pt x="8355645" y="3968157"/>
                </a:lnTo>
                <a:lnTo>
                  <a:pt x="8645419" y="3968157"/>
                </a:lnTo>
                <a:lnTo>
                  <a:pt x="8237809" y="3429370"/>
                </a:lnTo>
                <a:lnTo>
                  <a:pt x="8645419" y="2889842"/>
                </a:lnTo>
                <a:lnTo>
                  <a:pt x="8355645" y="2889842"/>
                </a:lnTo>
                <a:lnTo>
                  <a:pt x="8001394" y="3344884"/>
                </a:lnTo>
                <a:lnTo>
                  <a:pt x="8001394" y="2889842"/>
                </a:lnTo>
                <a:close/>
                <a:moveTo>
                  <a:pt x="0" y="0"/>
                </a:moveTo>
                <a:lnTo>
                  <a:pt x="12191999" y="0"/>
                </a:lnTo>
                <a:lnTo>
                  <a:pt x="12191999" y="6857999"/>
                </a:lnTo>
                <a:lnTo>
                  <a:pt x="0" y="6857999"/>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Click on the icon to add an image</a:t>
            </a:r>
          </a:p>
        </p:txBody>
      </p:sp>
      <p:sp>
        <p:nvSpPr>
          <p:cNvPr id="7" name="textruta 5">
            <a:extLst>
              <a:ext uri="{FF2B5EF4-FFF2-40B4-BE49-F238E27FC236}">
                <a16:creationId xmlns:a16="http://schemas.microsoft.com/office/drawing/2014/main" id="{DD15DF14-DC97-0441-A680-C2968AEFA306}"/>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8" name="textruta 7">
            <a:extLst>
              <a:ext uri="{FF2B5EF4-FFF2-40B4-BE49-F238E27FC236}">
                <a16:creationId xmlns:a16="http://schemas.microsoft.com/office/drawing/2014/main" id="{E0537F98-ABDA-2B41-84CF-74F9E5F3D4D6}"/>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9" name="Rektangel 8">
            <a:extLst>
              <a:ext uri="{FF2B5EF4-FFF2-40B4-BE49-F238E27FC236}">
                <a16:creationId xmlns:a16="http://schemas.microsoft.com/office/drawing/2014/main" id="{2969CE8A-3B45-0F4A-88EC-7412D4614DB6}"/>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Rektangel 9">
            <a:extLst>
              <a:ext uri="{FF2B5EF4-FFF2-40B4-BE49-F238E27FC236}">
                <a16:creationId xmlns:a16="http://schemas.microsoft.com/office/drawing/2014/main" id="{12D09706-7225-E047-9047-32D75A378EAF}"/>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Platshållare för datum 3">
            <a:extLst>
              <a:ext uri="{FF2B5EF4-FFF2-40B4-BE49-F238E27FC236}">
                <a16:creationId xmlns:a16="http://schemas.microsoft.com/office/drawing/2014/main" id="{F74004CF-C3E5-3943-9A9D-0E34F13D0C8C}"/>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F9EC52A9-F9BB-4DC4-A418-E45F73F01687}" type="datetime1">
              <a:rPr lang="en-US" noProof="0" smtClean="0"/>
              <a:t>11/7/2025</a:t>
            </a:fld>
            <a:endParaRPr lang="en-US" noProof="0"/>
          </a:p>
        </p:txBody>
      </p:sp>
      <p:sp>
        <p:nvSpPr>
          <p:cNvPr id="12" name="Platshållare för sidfot 4">
            <a:extLst>
              <a:ext uri="{FF2B5EF4-FFF2-40B4-BE49-F238E27FC236}">
                <a16:creationId xmlns:a16="http://schemas.microsoft.com/office/drawing/2014/main" id="{7C78A853-3A62-1149-8811-A74301AE818D}"/>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nb-NO" noProof="0"/>
              <a:t>Skanska Norge Hovedpresentasjon - desember 2022</a:t>
            </a:r>
            <a:endParaRPr lang="en-US" noProof="0"/>
          </a:p>
        </p:txBody>
      </p:sp>
      <p:sp>
        <p:nvSpPr>
          <p:cNvPr id="13" name="Platshållare för bildnummer 5">
            <a:extLst>
              <a:ext uri="{FF2B5EF4-FFF2-40B4-BE49-F238E27FC236}">
                <a16:creationId xmlns:a16="http://schemas.microsoft.com/office/drawing/2014/main" id="{A5B2B420-68E9-D240-9BB2-E641E29E3B8A}"/>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5" name="Text Placeholder 4">
            <a:extLst>
              <a:ext uri="{FF2B5EF4-FFF2-40B4-BE49-F238E27FC236}">
                <a16:creationId xmlns:a16="http://schemas.microsoft.com/office/drawing/2014/main" id="{802D05FC-CE7D-3C4B-99E7-04400D2B953E}"/>
              </a:ext>
            </a:extLst>
          </p:cNvPr>
          <p:cNvSpPr>
            <a:spLocks noGrp="1"/>
          </p:cNvSpPr>
          <p:nvPr>
            <p:ph type="body" sz="quarter" idx="14"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6549926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 Title Start Image">
    <p:bg>
      <p:bgPr>
        <a:solidFill>
          <a:schemeClr val="bg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65EEAE91-E57E-6747-89AA-18B1431204B2}"/>
              </a:ext>
            </a:extLst>
          </p:cNvPr>
          <p:cNvSpPr>
            <a:spLocks noGrp="1"/>
          </p:cNvSpPr>
          <p:nvPr>
            <p:ph type="pic" sz="quarter" idx="13" hasCustomPrompt="1"/>
          </p:nvPr>
        </p:nvSpPr>
        <p:spPr>
          <a:xfrm>
            <a:off x="3" y="3"/>
            <a:ext cx="12191998" cy="6857998"/>
          </a:xfrm>
          <a:custGeom>
            <a:avLst/>
            <a:gdLst>
              <a:gd name="connsiteX0" fmla="*/ 936965 w 12191998"/>
              <a:gd name="connsiteY0" fmla="*/ 389410 h 6857998"/>
              <a:gd name="connsiteX1" fmla="*/ 957275 w 12191998"/>
              <a:gd name="connsiteY1" fmla="*/ 449691 h 6857998"/>
              <a:gd name="connsiteX2" fmla="*/ 917304 w 12191998"/>
              <a:gd name="connsiteY2" fmla="*/ 449691 h 6857998"/>
              <a:gd name="connsiteX3" fmla="*/ 1553818 w 12191998"/>
              <a:gd name="connsiteY3" fmla="*/ 389410 h 6857998"/>
              <a:gd name="connsiteX4" fmla="*/ 1574127 w 12191998"/>
              <a:gd name="connsiteY4" fmla="*/ 449690 h 6857998"/>
              <a:gd name="connsiteX5" fmla="*/ 1534156 w 12191998"/>
              <a:gd name="connsiteY5" fmla="*/ 449690 h 6857998"/>
              <a:gd name="connsiteX6" fmla="*/ 1029007 w 12191998"/>
              <a:gd name="connsiteY6" fmla="*/ 356677 h 6857998"/>
              <a:gd name="connsiteX7" fmla="*/ 1029007 w 12191998"/>
              <a:gd name="connsiteY7" fmla="*/ 513753 h 6857998"/>
              <a:gd name="connsiteX8" fmla="*/ 1065413 w 12191998"/>
              <a:gd name="connsiteY8" fmla="*/ 513753 h 6857998"/>
              <a:gd name="connsiteX9" fmla="*/ 1065413 w 12191998"/>
              <a:gd name="connsiteY9" fmla="*/ 416850 h 6857998"/>
              <a:gd name="connsiteX10" fmla="*/ 1127963 w 12191998"/>
              <a:gd name="connsiteY10" fmla="*/ 513429 h 6857998"/>
              <a:gd name="connsiteX11" fmla="*/ 1127963 w 12191998"/>
              <a:gd name="connsiteY11" fmla="*/ 513753 h 6857998"/>
              <a:gd name="connsiteX12" fmla="*/ 1165665 w 12191998"/>
              <a:gd name="connsiteY12" fmla="*/ 513753 h 6857998"/>
              <a:gd name="connsiteX13" fmla="*/ 1165557 w 12191998"/>
              <a:gd name="connsiteY13" fmla="*/ 479831 h 6857998"/>
              <a:gd name="connsiteX14" fmla="*/ 1165341 w 12191998"/>
              <a:gd name="connsiteY14" fmla="*/ 356677 h 6857998"/>
              <a:gd name="connsiteX15" fmla="*/ 1129151 w 12191998"/>
              <a:gd name="connsiteY15" fmla="*/ 356677 h 6857998"/>
              <a:gd name="connsiteX16" fmla="*/ 1129151 w 12191998"/>
              <a:gd name="connsiteY16" fmla="*/ 455416 h 6857998"/>
              <a:gd name="connsiteX17" fmla="*/ 1066062 w 12191998"/>
              <a:gd name="connsiteY17" fmla="*/ 356677 h 6857998"/>
              <a:gd name="connsiteX18" fmla="*/ 913306 w 12191998"/>
              <a:gd name="connsiteY18" fmla="*/ 356677 h 6857998"/>
              <a:gd name="connsiteX19" fmla="*/ 858967 w 12191998"/>
              <a:gd name="connsiteY19" fmla="*/ 513753 h 6857998"/>
              <a:gd name="connsiteX20" fmla="*/ 897318 w 12191998"/>
              <a:gd name="connsiteY20" fmla="*/ 513753 h 6857998"/>
              <a:gd name="connsiteX21" fmla="*/ 907257 w 12191998"/>
              <a:gd name="connsiteY21" fmla="*/ 481668 h 6857998"/>
              <a:gd name="connsiteX22" fmla="*/ 967430 w 12191998"/>
              <a:gd name="connsiteY22" fmla="*/ 481668 h 6857998"/>
              <a:gd name="connsiteX23" fmla="*/ 977693 w 12191998"/>
              <a:gd name="connsiteY23" fmla="*/ 513753 h 6857998"/>
              <a:gd name="connsiteX24" fmla="*/ 1015503 w 12191998"/>
              <a:gd name="connsiteY24" fmla="*/ 513753 h 6857998"/>
              <a:gd name="connsiteX25" fmla="*/ 959543 w 12191998"/>
              <a:gd name="connsiteY25" fmla="*/ 356677 h 6857998"/>
              <a:gd name="connsiteX26" fmla="*/ 620219 w 12191998"/>
              <a:gd name="connsiteY26" fmla="*/ 356677 h 6857998"/>
              <a:gd name="connsiteX27" fmla="*/ 571498 w 12191998"/>
              <a:gd name="connsiteY27" fmla="*/ 404426 h 6857998"/>
              <a:gd name="connsiteX28" fmla="*/ 620219 w 12191998"/>
              <a:gd name="connsiteY28" fmla="*/ 450231 h 6857998"/>
              <a:gd name="connsiteX29" fmla="*/ 657382 w 12191998"/>
              <a:gd name="connsiteY29" fmla="*/ 450231 h 6857998"/>
              <a:gd name="connsiteX30" fmla="*/ 671534 w 12191998"/>
              <a:gd name="connsiteY30" fmla="*/ 464815 h 6857998"/>
              <a:gd name="connsiteX31" fmla="*/ 657382 w 12191998"/>
              <a:gd name="connsiteY31" fmla="*/ 479399 h 6857998"/>
              <a:gd name="connsiteX32" fmla="*/ 577764 w 12191998"/>
              <a:gd name="connsiteY32" fmla="*/ 479399 h 6857998"/>
              <a:gd name="connsiteX33" fmla="*/ 577764 w 12191998"/>
              <a:gd name="connsiteY33" fmla="*/ 513753 h 6857998"/>
              <a:gd name="connsiteX34" fmla="*/ 655977 w 12191998"/>
              <a:gd name="connsiteY34" fmla="*/ 513753 h 6857998"/>
              <a:gd name="connsiteX35" fmla="*/ 705347 w 12191998"/>
              <a:gd name="connsiteY35" fmla="*/ 464815 h 6857998"/>
              <a:gd name="connsiteX36" fmla="*/ 662999 w 12191998"/>
              <a:gd name="connsiteY36" fmla="*/ 419010 h 6857998"/>
              <a:gd name="connsiteX37" fmla="*/ 620219 w 12191998"/>
              <a:gd name="connsiteY37" fmla="*/ 419010 h 6857998"/>
              <a:gd name="connsiteX38" fmla="*/ 605419 w 12191998"/>
              <a:gd name="connsiteY38" fmla="*/ 404426 h 6857998"/>
              <a:gd name="connsiteX39" fmla="*/ 620219 w 12191998"/>
              <a:gd name="connsiteY39" fmla="*/ 389842 h 6857998"/>
              <a:gd name="connsiteX40" fmla="*/ 694436 w 12191998"/>
              <a:gd name="connsiteY40" fmla="*/ 389842 h 6857998"/>
              <a:gd name="connsiteX41" fmla="*/ 694436 w 12191998"/>
              <a:gd name="connsiteY41" fmla="*/ 356677 h 6857998"/>
              <a:gd name="connsiteX42" fmla="*/ 1530159 w 12191998"/>
              <a:gd name="connsiteY42" fmla="*/ 356676 h 6857998"/>
              <a:gd name="connsiteX43" fmla="*/ 1475928 w 12191998"/>
              <a:gd name="connsiteY43" fmla="*/ 513752 h 6857998"/>
              <a:gd name="connsiteX44" fmla="*/ 1514278 w 12191998"/>
              <a:gd name="connsiteY44" fmla="*/ 513752 h 6857998"/>
              <a:gd name="connsiteX45" fmla="*/ 1524217 w 12191998"/>
              <a:gd name="connsiteY45" fmla="*/ 481668 h 6857998"/>
              <a:gd name="connsiteX46" fmla="*/ 1584390 w 12191998"/>
              <a:gd name="connsiteY46" fmla="*/ 481668 h 6857998"/>
              <a:gd name="connsiteX47" fmla="*/ 1594653 w 12191998"/>
              <a:gd name="connsiteY47" fmla="*/ 513752 h 6857998"/>
              <a:gd name="connsiteX48" fmla="*/ 1632356 w 12191998"/>
              <a:gd name="connsiteY48" fmla="*/ 513752 h 6857998"/>
              <a:gd name="connsiteX49" fmla="*/ 1576396 w 12191998"/>
              <a:gd name="connsiteY49" fmla="*/ 356676 h 6857998"/>
              <a:gd name="connsiteX50" fmla="*/ 1236424 w 12191998"/>
              <a:gd name="connsiteY50" fmla="*/ 356676 h 6857998"/>
              <a:gd name="connsiteX51" fmla="*/ 1187702 w 12191998"/>
              <a:gd name="connsiteY51" fmla="*/ 404426 h 6857998"/>
              <a:gd name="connsiteX52" fmla="*/ 1236424 w 12191998"/>
              <a:gd name="connsiteY52" fmla="*/ 450231 h 6857998"/>
              <a:gd name="connsiteX53" fmla="*/ 1273587 w 12191998"/>
              <a:gd name="connsiteY53" fmla="*/ 450231 h 6857998"/>
              <a:gd name="connsiteX54" fmla="*/ 1287739 w 12191998"/>
              <a:gd name="connsiteY54" fmla="*/ 464815 h 6857998"/>
              <a:gd name="connsiteX55" fmla="*/ 1273587 w 12191998"/>
              <a:gd name="connsiteY55" fmla="*/ 479399 h 6857998"/>
              <a:gd name="connsiteX56" fmla="*/ 1194076 w 12191998"/>
              <a:gd name="connsiteY56" fmla="*/ 479399 h 6857998"/>
              <a:gd name="connsiteX57" fmla="*/ 1194076 w 12191998"/>
              <a:gd name="connsiteY57" fmla="*/ 513752 h 6857998"/>
              <a:gd name="connsiteX58" fmla="*/ 1272290 w 12191998"/>
              <a:gd name="connsiteY58" fmla="*/ 513752 h 6857998"/>
              <a:gd name="connsiteX59" fmla="*/ 1321660 w 12191998"/>
              <a:gd name="connsiteY59" fmla="*/ 464815 h 6857998"/>
              <a:gd name="connsiteX60" fmla="*/ 1279204 w 12191998"/>
              <a:gd name="connsiteY60" fmla="*/ 419010 h 6857998"/>
              <a:gd name="connsiteX61" fmla="*/ 1236424 w 12191998"/>
              <a:gd name="connsiteY61" fmla="*/ 419010 h 6857998"/>
              <a:gd name="connsiteX62" fmla="*/ 1221624 w 12191998"/>
              <a:gd name="connsiteY62" fmla="*/ 404426 h 6857998"/>
              <a:gd name="connsiteX63" fmla="*/ 1236424 w 12191998"/>
              <a:gd name="connsiteY63" fmla="*/ 389842 h 6857998"/>
              <a:gd name="connsiteX64" fmla="*/ 1310641 w 12191998"/>
              <a:gd name="connsiteY64" fmla="*/ 389842 h 6857998"/>
              <a:gd name="connsiteX65" fmla="*/ 1310641 w 12191998"/>
              <a:gd name="connsiteY65" fmla="*/ 356676 h 6857998"/>
              <a:gd name="connsiteX66" fmla="*/ 726522 w 12191998"/>
              <a:gd name="connsiteY66" fmla="*/ 356568 h 6857998"/>
              <a:gd name="connsiteX67" fmla="*/ 726522 w 12191998"/>
              <a:gd name="connsiteY67" fmla="*/ 513752 h 6857998"/>
              <a:gd name="connsiteX68" fmla="*/ 762712 w 12191998"/>
              <a:gd name="connsiteY68" fmla="*/ 513752 h 6857998"/>
              <a:gd name="connsiteX69" fmla="*/ 762712 w 12191998"/>
              <a:gd name="connsiteY69" fmla="*/ 447422 h 6857998"/>
              <a:gd name="connsiteX70" fmla="*/ 814351 w 12191998"/>
              <a:gd name="connsiteY70" fmla="*/ 513752 h 6857998"/>
              <a:gd name="connsiteX71" fmla="*/ 856699 w 12191998"/>
              <a:gd name="connsiteY71" fmla="*/ 513752 h 6857998"/>
              <a:gd name="connsiteX72" fmla="*/ 797174 w 12191998"/>
              <a:gd name="connsiteY72" fmla="*/ 435214 h 6857998"/>
              <a:gd name="connsiteX73" fmla="*/ 856699 w 12191998"/>
              <a:gd name="connsiteY73" fmla="*/ 356568 h 6857998"/>
              <a:gd name="connsiteX74" fmla="*/ 814351 w 12191998"/>
              <a:gd name="connsiteY74" fmla="*/ 356568 h 6857998"/>
              <a:gd name="connsiteX75" fmla="*/ 762712 w 12191998"/>
              <a:gd name="connsiteY75" fmla="*/ 422899 h 6857998"/>
              <a:gd name="connsiteX76" fmla="*/ 762712 w 12191998"/>
              <a:gd name="connsiteY76" fmla="*/ 356568 h 6857998"/>
              <a:gd name="connsiteX77" fmla="*/ 1343374 w 12191998"/>
              <a:gd name="connsiteY77" fmla="*/ 356568 h 6857998"/>
              <a:gd name="connsiteX78" fmla="*/ 1343374 w 12191998"/>
              <a:gd name="connsiteY78" fmla="*/ 513752 h 6857998"/>
              <a:gd name="connsiteX79" fmla="*/ 1379673 w 12191998"/>
              <a:gd name="connsiteY79" fmla="*/ 513752 h 6857998"/>
              <a:gd name="connsiteX80" fmla="*/ 1379673 w 12191998"/>
              <a:gd name="connsiteY80" fmla="*/ 447422 h 6857998"/>
              <a:gd name="connsiteX81" fmla="*/ 1431311 w 12191998"/>
              <a:gd name="connsiteY81" fmla="*/ 513752 h 6857998"/>
              <a:gd name="connsiteX82" fmla="*/ 1473551 w 12191998"/>
              <a:gd name="connsiteY82" fmla="*/ 513752 h 6857998"/>
              <a:gd name="connsiteX83" fmla="*/ 1414134 w 12191998"/>
              <a:gd name="connsiteY83" fmla="*/ 435214 h 6857998"/>
              <a:gd name="connsiteX84" fmla="*/ 1473551 w 12191998"/>
              <a:gd name="connsiteY84" fmla="*/ 356568 h 6857998"/>
              <a:gd name="connsiteX85" fmla="*/ 1431311 w 12191998"/>
              <a:gd name="connsiteY85" fmla="*/ 356568 h 6857998"/>
              <a:gd name="connsiteX86" fmla="*/ 1379673 w 12191998"/>
              <a:gd name="connsiteY86" fmla="*/ 422899 h 6857998"/>
              <a:gd name="connsiteX87" fmla="*/ 1379673 w 12191998"/>
              <a:gd name="connsiteY87" fmla="*/ 356568 h 6857998"/>
              <a:gd name="connsiteX88" fmla="*/ 0 w 12191998"/>
              <a:gd name="connsiteY88" fmla="*/ 0 h 6857998"/>
              <a:gd name="connsiteX89" fmla="*/ 12191998 w 12191998"/>
              <a:gd name="connsiteY89" fmla="*/ 0 h 6857998"/>
              <a:gd name="connsiteX90" fmla="*/ 12191998 w 12191998"/>
              <a:gd name="connsiteY90" fmla="*/ 6857998 h 6857998"/>
              <a:gd name="connsiteX91" fmla="*/ 0 w 12191998"/>
              <a:gd name="connsiteY91"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8" h="6857998">
                <a:moveTo>
                  <a:pt x="936965" y="389410"/>
                </a:moveTo>
                <a:lnTo>
                  <a:pt x="957275" y="449691"/>
                </a:lnTo>
                <a:lnTo>
                  <a:pt x="917304" y="449691"/>
                </a:lnTo>
                <a:close/>
                <a:moveTo>
                  <a:pt x="1553818" y="389410"/>
                </a:moveTo>
                <a:lnTo>
                  <a:pt x="1574127" y="449690"/>
                </a:lnTo>
                <a:lnTo>
                  <a:pt x="1534156" y="449690"/>
                </a:lnTo>
                <a:close/>
                <a:moveTo>
                  <a:pt x="1029007" y="356677"/>
                </a:moveTo>
                <a:lnTo>
                  <a:pt x="1029007" y="513753"/>
                </a:lnTo>
                <a:lnTo>
                  <a:pt x="1065413" y="513753"/>
                </a:lnTo>
                <a:lnTo>
                  <a:pt x="1065413" y="416850"/>
                </a:lnTo>
                <a:lnTo>
                  <a:pt x="1127963" y="513429"/>
                </a:lnTo>
                <a:lnTo>
                  <a:pt x="1127963" y="513753"/>
                </a:lnTo>
                <a:lnTo>
                  <a:pt x="1165665" y="513753"/>
                </a:lnTo>
                <a:lnTo>
                  <a:pt x="1165557" y="479831"/>
                </a:lnTo>
                <a:lnTo>
                  <a:pt x="1165341" y="356677"/>
                </a:lnTo>
                <a:lnTo>
                  <a:pt x="1129151" y="356677"/>
                </a:lnTo>
                <a:lnTo>
                  <a:pt x="1129151" y="455416"/>
                </a:lnTo>
                <a:lnTo>
                  <a:pt x="1066062" y="356677"/>
                </a:lnTo>
                <a:close/>
                <a:moveTo>
                  <a:pt x="913306" y="356677"/>
                </a:moveTo>
                <a:lnTo>
                  <a:pt x="858967" y="513753"/>
                </a:lnTo>
                <a:lnTo>
                  <a:pt x="897318" y="513753"/>
                </a:lnTo>
                <a:lnTo>
                  <a:pt x="907257" y="481668"/>
                </a:lnTo>
                <a:lnTo>
                  <a:pt x="967430" y="481668"/>
                </a:lnTo>
                <a:lnTo>
                  <a:pt x="977693" y="513753"/>
                </a:lnTo>
                <a:lnTo>
                  <a:pt x="1015503" y="513753"/>
                </a:lnTo>
                <a:lnTo>
                  <a:pt x="959543" y="356677"/>
                </a:lnTo>
                <a:close/>
                <a:moveTo>
                  <a:pt x="620219" y="356677"/>
                </a:moveTo>
                <a:cubicBezTo>
                  <a:pt x="589863" y="356677"/>
                  <a:pt x="571498" y="374393"/>
                  <a:pt x="571498" y="404426"/>
                </a:cubicBezTo>
                <a:cubicBezTo>
                  <a:pt x="571498" y="434458"/>
                  <a:pt x="592780" y="450231"/>
                  <a:pt x="620219" y="450231"/>
                </a:cubicBezTo>
                <a:lnTo>
                  <a:pt x="657382" y="450231"/>
                </a:lnTo>
                <a:cubicBezTo>
                  <a:pt x="666780" y="450231"/>
                  <a:pt x="671534" y="457361"/>
                  <a:pt x="671534" y="464815"/>
                </a:cubicBezTo>
                <a:cubicBezTo>
                  <a:pt x="671534" y="472485"/>
                  <a:pt x="666780" y="479399"/>
                  <a:pt x="657382" y="479399"/>
                </a:cubicBezTo>
                <a:lnTo>
                  <a:pt x="577764" y="479399"/>
                </a:lnTo>
                <a:lnTo>
                  <a:pt x="577764" y="513753"/>
                </a:lnTo>
                <a:lnTo>
                  <a:pt x="655977" y="513753"/>
                </a:lnTo>
                <a:cubicBezTo>
                  <a:pt x="686982" y="513753"/>
                  <a:pt x="705347" y="496684"/>
                  <a:pt x="705347" y="464815"/>
                </a:cubicBezTo>
                <a:cubicBezTo>
                  <a:pt x="705347" y="436079"/>
                  <a:pt x="686982" y="419010"/>
                  <a:pt x="662999" y="419010"/>
                </a:cubicBezTo>
                <a:lnTo>
                  <a:pt x="620219" y="419010"/>
                </a:lnTo>
                <a:cubicBezTo>
                  <a:pt x="610173" y="419010"/>
                  <a:pt x="605419" y="412096"/>
                  <a:pt x="605419" y="404426"/>
                </a:cubicBezTo>
                <a:cubicBezTo>
                  <a:pt x="605419" y="396756"/>
                  <a:pt x="610173" y="389842"/>
                  <a:pt x="620219" y="389842"/>
                </a:cubicBezTo>
                <a:lnTo>
                  <a:pt x="694436" y="389842"/>
                </a:lnTo>
                <a:lnTo>
                  <a:pt x="694436" y="356677"/>
                </a:lnTo>
                <a:close/>
                <a:moveTo>
                  <a:pt x="1530159" y="356676"/>
                </a:moveTo>
                <a:lnTo>
                  <a:pt x="1475928" y="513752"/>
                </a:lnTo>
                <a:lnTo>
                  <a:pt x="1514278" y="513752"/>
                </a:lnTo>
                <a:lnTo>
                  <a:pt x="1524217" y="481668"/>
                </a:lnTo>
                <a:lnTo>
                  <a:pt x="1584390" y="481668"/>
                </a:lnTo>
                <a:lnTo>
                  <a:pt x="1594653" y="513752"/>
                </a:lnTo>
                <a:lnTo>
                  <a:pt x="1632356" y="513752"/>
                </a:lnTo>
                <a:lnTo>
                  <a:pt x="1576396" y="356676"/>
                </a:lnTo>
                <a:close/>
                <a:moveTo>
                  <a:pt x="1236424" y="356676"/>
                </a:moveTo>
                <a:cubicBezTo>
                  <a:pt x="1206176" y="356676"/>
                  <a:pt x="1187702" y="374393"/>
                  <a:pt x="1187702" y="404426"/>
                </a:cubicBezTo>
                <a:cubicBezTo>
                  <a:pt x="1187702" y="434458"/>
                  <a:pt x="1208984" y="450231"/>
                  <a:pt x="1236424" y="450231"/>
                </a:cubicBezTo>
                <a:lnTo>
                  <a:pt x="1273587" y="450231"/>
                </a:lnTo>
                <a:cubicBezTo>
                  <a:pt x="1282985" y="450231"/>
                  <a:pt x="1287739" y="457360"/>
                  <a:pt x="1287739" y="464815"/>
                </a:cubicBezTo>
                <a:cubicBezTo>
                  <a:pt x="1287739" y="472485"/>
                  <a:pt x="1282985" y="479399"/>
                  <a:pt x="1273587" y="479399"/>
                </a:cubicBezTo>
                <a:lnTo>
                  <a:pt x="1194076" y="479399"/>
                </a:lnTo>
                <a:lnTo>
                  <a:pt x="1194076" y="513752"/>
                </a:lnTo>
                <a:lnTo>
                  <a:pt x="1272290" y="513752"/>
                </a:lnTo>
                <a:cubicBezTo>
                  <a:pt x="1303295" y="513752"/>
                  <a:pt x="1321660" y="496684"/>
                  <a:pt x="1321660" y="464815"/>
                </a:cubicBezTo>
                <a:cubicBezTo>
                  <a:pt x="1321660" y="436079"/>
                  <a:pt x="1303187" y="419010"/>
                  <a:pt x="1279204" y="419010"/>
                </a:cubicBezTo>
                <a:lnTo>
                  <a:pt x="1236424" y="419010"/>
                </a:lnTo>
                <a:cubicBezTo>
                  <a:pt x="1226377" y="419010"/>
                  <a:pt x="1221624" y="412096"/>
                  <a:pt x="1221624" y="404426"/>
                </a:cubicBezTo>
                <a:cubicBezTo>
                  <a:pt x="1221624" y="396756"/>
                  <a:pt x="1226377" y="389842"/>
                  <a:pt x="1236424" y="389842"/>
                </a:cubicBezTo>
                <a:lnTo>
                  <a:pt x="1310641" y="389842"/>
                </a:lnTo>
                <a:lnTo>
                  <a:pt x="1310641" y="356676"/>
                </a:lnTo>
                <a:close/>
                <a:moveTo>
                  <a:pt x="726522" y="356568"/>
                </a:moveTo>
                <a:lnTo>
                  <a:pt x="726522" y="513752"/>
                </a:lnTo>
                <a:lnTo>
                  <a:pt x="762712" y="513752"/>
                </a:lnTo>
                <a:lnTo>
                  <a:pt x="762712" y="447422"/>
                </a:lnTo>
                <a:lnTo>
                  <a:pt x="814351" y="513752"/>
                </a:lnTo>
                <a:lnTo>
                  <a:pt x="856699" y="513752"/>
                </a:lnTo>
                <a:lnTo>
                  <a:pt x="797174" y="435214"/>
                </a:lnTo>
                <a:lnTo>
                  <a:pt x="856699" y="356568"/>
                </a:lnTo>
                <a:lnTo>
                  <a:pt x="814351" y="356568"/>
                </a:lnTo>
                <a:lnTo>
                  <a:pt x="762712" y="422899"/>
                </a:lnTo>
                <a:lnTo>
                  <a:pt x="762712" y="356568"/>
                </a:lnTo>
                <a:close/>
                <a:moveTo>
                  <a:pt x="1343374" y="356568"/>
                </a:moveTo>
                <a:lnTo>
                  <a:pt x="1343374" y="513752"/>
                </a:lnTo>
                <a:lnTo>
                  <a:pt x="1379673" y="513752"/>
                </a:lnTo>
                <a:lnTo>
                  <a:pt x="1379673" y="447422"/>
                </a:lnTo>
                <a:lnTo>
                  <a:pt x="1431311" y="513752"/>
                </a:lnTo>
                <a:lnTo>
                  <a:pt x="1473551" y="513752"/>
                </a:lnTo>
                <a:lnTo>
                  <a:pt x="1414134" y="435214"/>
                </a:lnTo>
                <a:lnTo>
                  <a:pt x="1473551" y="356568"/>
                </a:lnTo>
                <a:lnTo>
                  <a:pt x="1431311" y="356568"/>
                </a:lnTo>
                <a:lnTo>
                  <a:pt x="1379673" y="422899"/>
                </a:lnTo>
                <a:lnTo>
                  <a:pt x="1379673" y="356568"/>
                </a:lnTo>
                <a:close/>
                <a:moveTo>
                  <a:pt x="0" y="0"/>
                </a:moveTo>
                <a:lnTo>
                  <a:pt x="12191998" y="0"/>
                </a:lnTo>
                <a:lnTo>
                  <a:pt x="12191998" y="6857998"/>
                </a:lnTo>
                <a:lnTo>
                  <a:pt x="0" y="6857998"/>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4" name="Text Placeholder 18">
            <a:extLst>
              <a:ext uri="{FF2B5EF4-FFF2-40B4-BE49-F238E27FC236}">
                <a16:creationId xmlns:a16="http://schemas.microsoft.com/office/drawing/2014/main" id="{CB22D302-BA64-604C-A387-9C7AFEFF2E74}"/>
              </a:ext>
            </a:extLst>
          </p:cNvPr>
          <p:cNvSpPr>
            <a:spLocks noGrp="1"/>
          </p:cNvSpPr>
          <p:nvPr>
            <p:ph type="body" sz="quarter" idx="14" hasCustomPrompt="1"/>
          </p:nvPr>
        </p:nvSpPr>
        <p:spPr>
          <a:xfrm>
            <a:off x="576000" y="1845591"/>
            <a:ext cx="5665788" cy="1903912"/>
          </a:xfrm>
          <a:prstGeom prst="rect">
            <a:avLst/>
          </a:prstGeom>
        </p:spPr>
        <p:txBody>
          <a:bodyPr anchor="b">
            <a:noAutofit/>
          </a:bodyPr>
          <a:lstStyle>
            <a:lvl1pPr marL="0" indent="0">
              <a:lnSpc>
                <a:spcPct val="85000"/>
              </a:lnSpc>
              <a:spcBef>
                <a:spcPts val="0"/>
              </a:spcBef>
              <a:buNone/>
              <a:defRPr sz="4200" spc="40" baseline="0">
                <a:solidFill>
                  <a:schemeClr val="bg1"/>
                </a:solidFill>
              </a:defRPr>
            </a:lvl1pPr>
          </a:lstStyle>
          <a:p>
            <a:pPr lvl="0"/>
            <a:r>
              <a:rPr lang="en-US" noProof="0"/>
              <a:t>Click to add a headline </a:t>
            </a:r>
            <a:br>
              <a:rPr lang="en-US" noProof="0"/>
            </a:br>
            <a:r>
              <a:rPr lang="en-US" noProof="0"/>
              <a:t>of maximum two lines</a:t>
            </a:r>
          </a:p>
        </p:txBody>
      </p:sp>
      <p:sp>
        <p:nvSpPr>
          <p:cNvPr id="15" name="Text Placeholder 18">
            <a:extLst>
              <a:ext uri="{FF2B5EF4-FFF2-40B4-BE49-F238E27FC236}">
                <a16:creationId xmlns:a16="http://schemas.microsoft.com/office/drawing/2014/main" id="{4ADADDBC-B851-244D-89BA-2589CA8A6CD4}"/>
              </a:ext>
            </a:extLst>
          </p:cNvPr>
          <p:cNvSpPr>
            <a:spLocks noGrp="1"/>
          </p:cNvSpPr>
          <p:nvPr>
            <p:ph type="body" sz="quarter" idx="15" hasCustomPrompt="1"/>
          </p:nvPr>
        </p:nvSpPr>
        <p:spPr>
          <a:xfrm>
            <a:off x="576000" y="3915585"/>
            <a:ext cx="3773171" cy="646331"/>
          </a:xfrm>
          <a:prstGeom prst="rect">
            <a:avLst/>
          </a:prstGeom>
        </p:spPr>
        <p:txBody>
          <a:bodyPr anchor="t">
            <a:noAutofit/>
          </a:bodyPr>
          <a:lstStyle>
            <a:lvl1pPr marL="0" indent="0">
              <a:lnSpc>
                <a:spcPct val="100000"/>
              </a:lnSpc>
              <a:spcBef>
                <a:spcPts val="0"/>
              </a:spcBef>
              <a:buNone/>
              <a:defRPr sz="1400" spc="70" baseline="0">
                <a:solidFill>
                  <a:schemeClr val="bg1"/>
                </a:solidFill>
              </a:defRPr>
            </a:lvl1pPr>
          </a:lstStyle>
          <a:p>
            <a:pPr lvl="0"/>
            <a:r>
              <a:rPr lang="en-US" noProof="0"/>
              <a:t>Click to add name </a:t>
            </a:r>
            <a:br>
              <a:rPr lang="en-US" noProof="0"/>
            </a:br>
            <a:r>
              <a:rPr lang="en-US" noProof="0"/>
              <a:t>Title, Business Unit</a:t>
            </a:r>
          </a:p>
          <a:p>
            <a:pPr lvl="0"/>
            <a:r>
              <a:rPr lang="en-US" noProof="0"/>
              <a:t>And Date</a:t>
            </a:r>
          </a:p>
        </p:txBody>
      </p:sp>
      <p:sp>
        <p:nvSpPr>
          <p:cNvPr id="8" name="textruta 5">
            <a:extLst>
              <a:ext uri="{FF2B5EF4-FFF2-40B4-BE49-F238E27FC236}">
                <a16:creationId xmlns:a16="http://schemas.microsoft.com/office/drawing/2014/main" id="{51D675F3-1889-4447-B0F4-FBE407433188}"/>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018DEEF0-DD94-5249-9246-FD6718231BD2}"/>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0C1C4400-D3B5-244D-A4E9-12F13E258CD7}"/>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862FDDFE-BBE6-8844-9178-35DB0AD8FE9D}"/>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Platshållare för datum 3">
            <a:extLst>
              <a:ext uri="{FF2B5EF4-FFF2-40B4-BE49-F238E27FC236}">
                <a16:creationId xmlns:a16="http://schemas.microsoft.com/office/drawing/2014/main" id="{195EB315-6F9E-484B-A621-D47DB0C06E40}"/>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6061F496-E45C-4F9B-9E61-24509F846C57}" type="datetime1">
              <a:rPr lang="en-US" smtClean="0"/>
              <a:t>11/7/2025</a:t>
            </a:fld>
            <a:endParaRPr lang="en-US"/>
          </a:p>
        </p:txBody>
      </p:sp>
      <p:sp>
        <p:nvSpPr>
          <p:cNvPr id="13" name="Platshållare för sidfot 4">
            <a:extLst>
              <a:ext uri="{FF2B5EF4-FFF2-40B4-BE49-F238E27FC236}">
                <a16:creationId xmlns:a16="http://schemas.microsoft.com/office/drawing/2014/main" id="{4A76CA1A-DCA3-D54D-9099-F20574E0CA54}"/>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nb-NO"/>
              <a:t>Skanska Norge Hovedpresentasjon - desember 2022</a:t>
            </a:r>
            <a:endParaRPr lang="en-US"/>
          </a:p>
        </p:txBody>
      </p:sp>
      <p:sp>
        <p:nvSpPr>
          <p:cNvPr id="17" name="Platshållare för bildnummer 5">
            <a:extLst>
              <a:ext uri="{FF2B5EF4-FFF2-40B4-BE49-F238E27FC236}">
                <a16:creationId xmlns:a16="http://schemas.microsoft.com/office/drawing/2014/main" id="{0EF7CEB3-535F-8445-A05D-266E083AD06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19" name="Text Placeholder 4">
            <a:extLst>
              <a:ext uri="{FF2B5EF4-FFF2-40B4-BE49-F238E27FC236}">
                <a16:creationId xmlns:a16="http://schemas.microsoft.com/office/drawing/2014/main" id="{781C0485-B54D-504A-8E1C-DA7CC3C0FF1B}"/>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19672224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 Title Start Image Blue">
    <p:bg>
      <p:bgPr>
        <a:solidFill>
          <a:schemeClr val="tx2"/>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65EEAE91-E57E-6747-89AA-18B1431204B2}"/>
              </a:ext>
            </a:extLst>
          </p:cNvPr>
          <p:cNvSpPr>
            <a:spLocks noGrp="1"/>
          </p:cNvSpPr>
          <p:nvPr>
            <p:ph type="pic" sz="quarter" idx="13" hasCustomPrompt="1"/>
          </p:nvPr>
        </p:nvSpPr>
        <p:spPr>
          <a:xfrm>
            <a:off x="3" y="3"/>
            <a:ext cx="12191998" cy="6857998"/>
          </a:xfrm>
          <a:custGeom>
            <a:avLst/>
            <a:gdLst>
              <a:gd name="connsiteX0" fmla="*/ 936965 w 12191998"/>
              <a:gd name="connsiteY0" fmla="*/ 389410 h 6857998"/>
              <a:gd name="connsiteX1" fmla="*/ 957275 w 12191998"/>
              <a:gd name="connsiteY1" fmla="*/ 449691 h 6857998"/>
              <a:gd name="connsiteX2" fmla="*/ 917304 w 12191998"/>
              <a:gd name="connsiteY2" fmla="*/ 449691 h 6857998"/>
              <a:gd name="connsiteX3" fmla="*/ 1553818 w 12191998"/>
              <a:gd name="connsiteY3" fmla="*/ 389410 h 6857998"/>
              <a:gd name="connsiteX4" fmla="*/ 1574127 w 12191998"/>
              <a:gd name="connsiteY4" fmla="*/ 449690 h 6857998"/>
              <a:gd name="connsiteX5" fmla="*/ 1534156 w 12191998"/>
              <a:gd name="connsiteY5" fmla="*/ 449690 h 6857998"/>
              <a:gd name="connsiteX6" fmla="*/ 1029007 w 12191998"/>
              <a:gd name="connsiteY6" fmla="*/ 356677 h 6857998"/>
              <a:gd name="connsiteX7" fmla="*/ 1029007 w 12191998"/>
              <a:gd name="connsiteY7" fmla="*/ 513753 h 6857998"/>
              <a:gd name="connsiteX8" fmla="*/ 1065413 w 12191998"/>
              <a:gd name="connsiteY8" fmla="*/ 513753 h 6857998"/>
              <a:gd name="connsiteX9" fmla="*/ 1065413 w 12191998"/>
              <a:gd name="connsiteY9" fmla="*/ 416850 h 6857998"/>
              <a:gd name="connsiteX10" fmla="*/ 1127963 w 12191998"/>
              <a:gd name="connsiteY10" fmla="*/ 513429 h 6857998"/>
              <a:gd name="connsiteX11" fmla="*/ 1127963 w 12191998"/>
              <a:gd name="connsiteY11" fmla="*/ 513753 h 6857998"/>
              <a:gd name="connsiteX12" fmla="*/ 1165665 w 12191998"/>
              <a:gd name="connsiteY12" fmla="*/ 513753 h 6857998"/>
              <a:gd name="connsiteX13" fmla="*/ 1165557 w 12191998"/>
              <a:gd name="connsiteY13" fmla="*/ 479831 h 6857998"/>
              <a:gd name="connsiteX14" fmla="*/ 1165341 w 12191998"/>
              <a:gd name="connsiteY14" fmla="*/ 356677 h 6857998"/>
              <a:gd name="connsiteX15" fmla="*/ 1129151 w 12191998"/>
              <a:gd name="connsiteY15" fmla="*/ 356677 h 6857998"/>
              <a:gd name="connsiteX16" fmla="*/ 1129151 w 12191998"/>
              <a:gd name="connsiteY16" fmla="*/ 455416 h 6857998"/>
              <a:gd name="connsiteX17" fmla="*/ 1066062 w 12191998"/>
              <a:gd name="connsiteY17" fmla="*/ 356677 h 6857998"/>
              <a:gd name="connsiteX18" fmla="*/ 913306 w 12191998"/>
              <a:gd name="connsiteY18" fmla="*/ 356677 h 6857998"/>
              <a:gd name="connsiteX19" fmla="*/ 858967 w 12191998"/>
              <a:gd name="connsiteY19" fmla="*/ 513753 h 6857998"/>
              <a:gd name="connsiteX20" fmla="*/ 897318 w 12191998"/>
              <a:gd name="connsiteY20" fmla="*/ 513753 h 6857998"/>
              <a:gd name="connsiteX21" fmla="*/ 907257 w 12191998"/>
              <a:gd name="connsiteY21" fmla="*/ 481668 h 6857998"/>
              <a:gd name="connsiteX22" fmla="*/ 967430 w 12191998"/>
              <a:gd name="connsiteY22" fmla="*/ 481668 h 6857998"/>
              <a:gd name="connsiteX23" fmla="*/ 977693 w 12191998"/>
              <a:gd name="connsiteY23" fmla="*/ 513753 h 6857998"/>
              <a:gd name="connsiteX24" fmla="*/ 1015503 w 12191998"/>
              <a:gd name="connsiteY24" fmla="*/ 513753 h 6857998"/>
              <a:gd name="connsiteX25" fmla="*/ 959543 w 12191998"/>
              <a:gd name="connsiteY25" fmla="*/ 356677 h 6857998"/>
              <a:gd name="connsiteX26" fmla="*/ 620219 w 12191998"/>
              <a:gd name="connsiteY26" fmla="*/ 356677 h 6857998"/>
              <a:gd name="connsiteX27" fmla="*/ 571498 w 12191998"/>
              <a:gd name="connsiteY27" fmla="*/ 404426 h 6857998"/>
              <a:gd name="connsiteX28" fmla="*/ 620219 w 12191998"/>
              <a:gd name="connsiteY28" fmla="*/ 450231 h 6857998"/>
              <a:gd name="connsiteX29" fmla="*/ 657382 w 12191998"/>
              <a:gd name="connsiteY29" fmla="*/ 450231 h 6857998"/>
              <a:gd name="connsiteX30" fmla="*/ 671534 w 12191998"/>
              <a:gd name="connsiteY30" fmla="*/ 464815 h 6857998"/>
              <a:gd name="connsiteX31" fmla="*/ 657382 w 12191998"/>
              <a:gd name="connsiteY31" fmla="*/ 479399 h 6857998"/>
              <a:gd name="connsiteX32" fmla="*/ 577764 w 12191998"/>
              <a:gd name="connsiteY32" fmla="*/ 479399 h 6857998"/>
              <a:gd name="connsiteX33" fmla="*/ 577764 w 12191998"/>
              <a:gd name="connsiteY33" fmla="*/ 513753 h 6857998"/>
              <a:gd name="connsiteX34" fmla="*/ 655977 w 12191998"/>
              <a:gd name="connsiteY34" fmla="*/ 513753 h 6857998"/>
              <a:gd name="connsiteX35" fmla="*/ 705347 w 12191998"/>
              <a:gd name="connsiteY35" fmla="*/ 464815 h 6857998"/>
              <a:gd name="connsiteX36" fmla="*/ 662999 w 12191998"/>
              <a:gd name="connsiteY36" fmla="*/ 419010 h 6857998"/>
              <a:gd name="connsiteX37" fmla="*/ 620219 w 12191998"/>
              <a:gd name="connsiteY37" fmla="*/ 419010 h 6857998"/>
              <a:gd name="connsiteX38" fmla="*/ 605419 w 12191998"/>
              <a:gd name="connsiteY38" fmla="*/ 404426 h 6857998"/>
              <a:gd name="connsiteX39" fmla="*/ 620219 w 12191998"/>
              <a:gd name="connsiteY39" fmla="*/ 389842 h 6857998"/>
              <a:gd name="connsiteX40" fmla="*/ 694436 w 12191998"/>
              <a:gd name="connsiteY40" fmla="*/ 389842 h 6857998"/>
              <a:gd name="connsiteX41" fmla="*/ 694436 w 12191998"/>
              <a:gd name="connsiteY41" fmla="*/ 356677 h 6857998"/>
              <a:gd name="connsiteX42" fmla="*/ 1530159 w 12191998"/>
              <a:gd name="connsiteY42" fmla="*/ 356676 h 6857998"/>
              <a:gd name="connsiteX43" fmla="*/ 1475928 w 12191998"/>
              <a:gd name="connsiteY43" fmla="*/ 513752 h 6857998"/>
              <a:gd name="connsiteX44" fmla="*/ 1514278 w 12191998"/>
              <a:gd name="connsiteY44" fmla="*/ 513752 h 6857998"/>
              <a:gd name="connsiteX45" fmla="*/ 1524217 w 12191998"/>
              <a:gd name="connsiteY45" fmla="*/ 481668 h 6857998"/>
              <a:gd name="connsiteX46" fmla="*/ 1584390 w 12191998"/>
              <a:gd name="connsiteY46" fmla="*/ 481668 h 6857998"/>
              <a:gd name="connsiteX47" fmla="*/ 1594653 w 12191998"/>
              <a:gd name="connsiteY47" fmla="*/ 513752 h 6857998"/>
              <a:gd name="connsiteX48" fmla="*/ 1632356 w 12191998"/>
              <a:gd name="connsiteY48" fmla="*/ 513752 h 6857998"/>
              <a:gd name="connsiteX49" fmla="*/ 1576396 w 12191998"/>
              <a:gd name="connsiteY49" fmla="*/ 356676 h 6857998"/>
              <a:gd name="connsiteX50" fmla="*/ 1236424 w 12191998"/>
              <a:gd name="connsiteY50" fmla="*/ 356676 h 6857998"/>
              <a:gd name="connsiteX51" fmla="*/ 1187702 w 12191998"/>
              <a:gd name="connsiteY51" fmla="*/ 404426 h 6857998"/>
              <a:gd name="connsiteX52" fmla="*/ 1236424 w 12191998"/>
              <a:gd name="connsiteY52" fmla="*/ 450231 h 6857998"/>
              <a:gd name="connsiteX53" fmla="*/ 1273587 w 12191998"/>
              <a:gd name="connsiteY53" fmla="*/ 450231 h 6857998"/>
              <a:gd name="connsiteX54" fmla="*/ 1287739 w 12191998"/>
              <a:gd name="connsiteY54" fmla="*/ 464815 h 6857998"/>
              <a:gd name="connsiteX55" fmla="*/ 1273587 w 12191998"/>
              <a:gd name="connsiteY55" fmla="*/ 479399 h 6857998"/>
              <a:gd name="connsiteX56" fmla="*/ 1194076 w 12191998"/>
              <a:gd name="connsiteY56" fmla="*/ 479399 h 6857998"/>
              <a:gd name="connsiteX57" fmla="*/ 1194076 w 12191998"/>
              <a:gd name="connsiteY57" fmla="*/ 513752 h 6857998"/>
              <a:gd name="connsiteX58" fmla="*/ 1272290 w 12191998"/>
              <a:gd name="connsiteY58" fmla="*/ 513752 h 6857998"/>
              <a:gd name="connsiteX59" fmla="*/ 1321660 w 12191998"/>
              <a:gd name="connsiteY59" fmla="*/ 464815 h 6857998"/>
              <a:gd name="connsiteX60" fmla="*/ 1279204 w 12191998"/>
              <a:gd name="connsiteY60" fmla="*/ 419010 h 6857998"/>
              <a:gd name="connsiteX61" fmla="*/ 1236424 w 12191998"/>
              <a:gd name="connsiteY61" fmla="*/ 419010 h 6857998"/>
              <a:gd name="connsiteX62" fmla="*/ 1221624 w 12191998"/>
              <a:gd name="connsiteY62" fmla="*/ 404426 h 6857998"/>
              <a:gd name="connsiteX63" fmla="*/ 1236424 w 12191998"/>
              <a:gd name="connsiteY63" fmla="*/ 389842 h 6857998"/>
              <a:gd name="connsiteX64" fmla="*/ 1310641 w 12191998"/>
              <a:gd name="connsiteY64" fmla="*/ 389842 h 6857998"/>
              <a:gd name="connsiteX65" fmla="*/ 1310641 w 12191998"/>
              <a:gd name="connsiteY65" fmla="*/ 356676 h 6857998"/>
              <a:gd name="connsiteX66" fmla="*/ 726522 w 12191998"/>
              <a:gd name="connsiteY66" fmla="*/ 356568 h 6857998"/>
              <a:gd name="connsiteX67" fmla="*/ 726522 w 12191998"/>
              <a:gd name="connsiteY67" fmla="*/ 513752 h 6857998"/>
              <a:gd name="connsiteX68" fmla="*/ 762712 w 12191998"/>
              <a:gd name="connsiteY68" fmla="*/ 513752 h 6857998"/>
              <a:gd name="connsiteX69" fmla="*/ 762712 w 12191998"/>
              <a:gd name="connsiteY69" fmla="*/ 447422 h 6857998"/>
              <a:gd name="connsiteX70" fmla="*/ 814351 w 12191998"/>
              <a:gd name="connsiteY70" fmla="*/ 513752 h 6857998"/>
              <a:gd name="connsiteX71" fmla="*/ 856699 w 12191998"/>
              <a:gd name="connsiteY71" fmla="*/ 513752 h 6857998"/>
              <a:gd name="connsiteX72" fmla="*/ 797174 w 12191998"/>
              <a:gd name="connsiteY72" fmla="*/ 435214 h 6857998"/>
              <a:gd name="connsiteX73" fmla="*/ 856699 w 12191998"/>
              <a:gd name="connsiteY73" fmla="*/ 356568 h 6857998"/>
              <a:gd name="connsiteX74" fmla="*/ 814351 w 12191998"/>
              <a:gd name="connsiteY74" fmla="*/ 356568 h 6857998"/>
              <a:gd name="connsiteX75" fmla="*/ 762712 w 12191998"/>
              <a:gd name="connsiteY75" fmla="*/ 422899 h 6857998"/>
              <a:gd name="connsiteX76" fmla="*/ 762712 w 12191998"/>
              <a:gd name="connsiteY76" fmla="*/ 356568 h 6857998"/>
              <a:gd name="connsiteX77" fmla="*/ 1343374 w 12191998"/>
              <a:gd name="connsiteY77" fmla="*/ 356568 h 6857998"/>
              <a:gd name="connsiteX78" fmla="*/ 1343374 w 12191998"/>
              <a:gd name="connsiteY78" fmla="*/ 513752 h 6857998"/>
              <a:gd name="connsiteX79" fmla="*/ 1379673 w 12191998"/>
              <a:gd name="connsiteY79" fmla="*/ 513752 h 6857998"/>
              <a:gd name="connsiteX80" fmla="*/ 1379673 w 12191998"/>
              <a:gd name="connsiteY80" fmla="*/ 447422 h 6857998"/>
              <a:gd name="connsiteX81" fmla="*/ 1431311 w 12191998"/>
              <a:gd name="connsiteY81" fmla="*/ 513752 h 6857998"/>
              <a:gd name="connsiteX82" fmla="*/ 1473551 w 12191998"/>
              <a:gd name="connsiteY82" fmla="*/ 513752 h 6857998"/>
              <a:gd name="connsiteX83" fmla="*/ 1414134 w 12191998"/>
              <a:gd name="connsiteY83" fmla="*/ 435214 h 6857998"/>
              <a:gd name="connsiteX84" fmla="*/ 1473551 w 12191998"/>
              <a:gd name="connsiteY84" fmla="*/ 356568 h 6857998"/>
              <a:gd name="connsiteX85" fmla="*/ 1431311 w 12191998"/>
              <a:gd name="connsiteY85" fmla="*/ 356568 h 6857998"/>
              <a:gd name="connsiteX86" fmla="*/ 1379673 w 12191998"/>
              <a:gd name="connsiteY86" fmla="*/ 422899 h 6857998"/>
              <a:gd name="connsiteX87" fmla="*/ 1379673 w 12191998"/>
              <a:gd name="connsiteY87" fmla="*/ 356568 h 6857998"/>
              <a:gd name="connsiteX88" fmla="*/ 0 w 12191998"/>
              <a:gd name="connsiteY88" fmla="*/ 0 h 6857998"/>
              <a:gd name="connsiteX89" fmla="*/ 12191998 w 12191998"/>
              <a:gd name="connsiteY89" fmla="*/ 0 h 6857998"/>
              <a:gd name="connsiteX90" fmla="*/ 12191998 w 12191998"/>
              <a:gd name="connsiteY90" fmla="*/ 6857998 h 6857998"/>
              <a:gd name="connsiteX91" fmla="*/ 0 w 12191998"/>
              <a:gd name="connsiteY91"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8" h="6857998">
                <a:moveTo>
                  <a:pt x="936965" y="389410"/>
                </a:moveTo>
                <a:lnTo>
                  <a:pt x="957275" y="449691"/>
                </a:lnTo>
                <a:lnTo>
                  <a:pt x="917304" y="449691"/>
                </a:lnTo>
                <a:close/>
                <a:moveTo>
                  <a:pt x="1553818" y="389410"/>
                </a:moveTo>
                <a:lnTo>
                  <a:pt x="1574127" y="449690"/>
                </a:lnTo>
                <a:lnTo>
                  <a:pt x="1534156" y="449690"/>
                </a:lnTo>
                <a:close/>
                <a:moveTo>
                  <a:pt x="1029007" y="356677"/>
                </a:moveTo>
                <a:lnTo>
                  <a:pt x="1029007" y="513753"/>
                </a:lnTo>
                <a:lnTo>
                  <a:pt x="1065413" y="513753"/>
                </a:lnTo>
                <a:lnTo>
                  <a:pt x="1065413" y="416850"/>
                </a:lnTo>
                <a:lnTo>
                  <a:pt x="1127963" y="513429"/>
                </a:lnTo>
                <a:lnTo>
                  <a:pt x="1127963" y="513753"/>
                </a:lnTo>
                <a:lnTo>
                  <a:pt x="1165665" y="513753"/>
                </a:lnTo>
                <a:lnTo>
                  <a:pt x="1165557" y="479831"/>
                </a:lnTo>
                <a:lnTo>
                  <a:pt x="1165341" y="356677"/>
                </a:lnTo>
                <a:lnTo>
                  <a:pt x="1129151" y="356677"/>
                </a:lnTo>
                <a:lnTo>
                  <a:pt x="1129151" y="455416"/>
                </a:lnTo>
                <a:lnTo>
                  <a:pt x="1066062" y="356677"/>
                </a:lnTo>
                <a:close/>
                <a:moveTo>
                  <a:pt x="913306" y="356677"/>
                </a:moveTo>
                <a:lnTo>
                  <a:pt x="858967" y="513753"/>
                </a:lnTo>
                <a:lnTo>
                  <a:pt x="897318" y="513753"/>
                </a:lnTo>
                <a:lnTo>
                  <a:pt x="907257" y="481668"/>
                </a:lnTo>
                <a:lnTo>
                  <a:pt x="967430" y="481668"/>
                </a:lnTo>
                <a:lnTo>
                  <a:pt x="977693" y="513753"/>
                </a:lnTo>
                <a:lnTo>
                  <a:pt x="1015503" y="513753"/>
                </a:lnTo>
                <a:lnTo>
                  <a:pt x="959543" y="356677"/>
                </a:lnTo>
                <a:close/>
                <a:moveTo>
                  <a:pt x="620219" y="356677"/>
                </a:moveTo>
                <a:cubicBezTo>
                  <a:pt x="589863" y="356677"/>
                  <a:pt x="571498" y="374393"/>
                  <a:pt x="571498" y="404426"/>
                </a:cubicBezTo>
                <a:cubicBezTo>
                  <a:pt x="571498" y="434458"/>
                  <a:pt x="592780" y="450231"/>
                  <a:pt x="620219" y="450231"/>
                </a:cubicBezTo>
                <a:lnTo>
                  <a:pt x="657382" y="450231"/>
                </a:lnTo>
                <a:cubicBezTo>
                  <a:pt x="666780" y="450231"/>
                  <a:pt x="671534" y="457361"/>
                  <a:pt x="671534" y="464815"/>
                </a:cubicBezTo>
                <a:cubicBezTo>
                  <a:pt x="671534" y="472485"/>
                  <a:pt x="666780" y="479399"/>
                  <a:pt x="657382" y="479399"/>
                </a:cubicBezTo>
                <a:lnTo>
                  <a:pt x="577764" y="479399"/>
                </a:lnTo>
                <a:lnTo>
                  <a:pt x="577764" y="513753"/>
                </a:lnTo>
                <a:lnTo>
                  <a:pt x="655977" y="513753"/>
                </a:lnTo>
                <a:cubicBezTo>
                  <a:pt x="686982" y="513753"/>
                  <a:pt x="705347" y="496684"/>
                  <a:pt x="705347" y="464815"/>
                </a:cubicBezTo>
                <a:cubicBezTo>
                  <a:pt x="705347" y="436079"/>
                  <a:pt x="686982" y="419010"/>
                  <a:pt x="662999" y="419010"/>
                </a:cubicBezTo>
                <a:lnTo>
                  <a:pt x="620219" y="419010"/>
                </a:lnTo>
                <a:cubicBezTo>
                  <a:pt x="610173" y="419010"/>
                  <a:pt x="605419" y="412096"/>
                  <a:pt x="605419" y="404426"/>
                </a:cubicBezTo>
                <a:cubicBezTo>
                  <a:pt x="605419" y="396756"/>
                  <a:pt x="610173" y="389842"/>
                  <a:pt x="620219" y="389842"/>
                </a:cubicBezTo>
                <a:lnTo>
                  <a:pt x="694436" y="389842"/>
                </a:lnTo>
                <a:lnTo>
                  <a:pt x="694436" y="356677"/>
                </a:lnTo>
                <a:close/>
                <a:moveTo>
                  <a:pt x="1530159" y="356676"/>
                </a:moveTo>
                <a:lnTo>
                  <a:pt x="1475928" y="513752"/>
                </a:lnTo>
                <a:lnTo>
                  <a:pt x="1514278" y="513752"/>
                </a:lnTo>
                <a:lnTo>
                  <a:pt x="1524217" y="481668"/>
                </a:lnTo>
                <a:lnTo>
                  <a:pt x="1584390" y="481668"/>
                </a:lnTo>
                <a:lnTo>
                  <a:pt x="1594653" y="513752"/>
                </a:lnTo>
                <a:lnTo>
                  <a:pt x="1632356" y="513752"/>
                </a:lnTo>
                <a:lnTo>
                  <a:pt x="1576396" y="356676"/>
                </a:lnTo>
                <a:close/>
                <a:moveTo>
                  <a:pt x="1236424" y="356676"/>
                </a:moveTo>
                <a:cubicBezTo>
                  <a:pt x="1206176" y="356676"/>
                  <a:pt x="1187702" y="374393"/>
                  <a:pt x="1187702" y="404426"/>
                </a:cubicBezTo>
                <a:cubicBezTo>
                  <a:pt x="1187702" y="434458"/>
                  <a:pt x="1208984" y="450231"/>
                  <a:pt x="1236424" y="450231"/>
                </a:cubicBezTo>
                <a:lnTo>
                  <a:pt x="1273587" y="450231"/>
                </a:lnTo>
                <a:cubicBezTo>
                  <a:pt x="1282985" y="450231"/>
                  <a:pt x="1287739" y="457360"/>
                  <a:pt x="1287739" y="464815"/>
                </a:cubicBezTo>
                <a:cubicBezTo>
                  <a:pt x="1287739" y="472485"/>
                  <a:pt x="1282985" y="479399"/>
                  <a:pt x="1273587" y="479399"/>
                </a:cubicBezTo>
                <a:lnTo>
                  <a:pt x="1194076" y="479399"/>
                </a:lnTo>
                <a:lnTo>
                  <a:pt x="1194076" y="513752"/>
                </a:lnTo>
                <a:lnTo>
                  <a:pt x="1272290" y="513752"/>
                </a:lnTo>
                <a:cubicBezTo>
                  <a:pt x="1303295" y="513752"/>
                  <a:pt x="1321660" y="496684"/>
                  <a:pt x="1321660" y="464815"/>
                </a:cubicBezTo>
                <a:cubicBezTo>
                  <a:pt x="1321660" y="436079"/>
                  <a:pt x="1303187" y="419010"/>
                  <a:pt x="1279204" y="419010"/>
                </a:cubicBezTo>
                <a:lnTo>
                  <a:pt x="1236424" y="419010"/>
                </a:lnTo>
                <a:cubicBezTo>
                  <a:pt x="1226377" y="419010"/>
                  <a:pt x="1221624" y="412096"/>
                  <a:pt x="1221624" y="404426"/>
                </a:cubicBezTo>
                <a:cubicBezTo>
                  <a:pt x="1221624" y="396756"/>
                  <a:pt x="1226377" y="389842"/>
                  <a:pt x="1236424" y="389842"/>
                </a:cubicBezTo>
                <a:lnTo>
                  <a:pt x="1310641" y="389842"/>
                </a:lnTo>
                <a:lnTo>
                  <a:pt x="1310641" y="356676"/>
                </a:lnTo>
                <a:close/>
                <a:moveTo>
                  <a:pt x="726522" y="356568"/>
                </a:moveTo>
                <a:lnTo>
                  <a:pt x="726522" y="513752"/>
                </a:lnTo>
                <a:lnTo>
                  <a:pt x="762712" y="513752"/>
                </a:lnTo>
                <a:lnTo>
                  <a:pt x="762712" y="447422"/>
                </a:lnTo>
                <a:lnTo>
                  <a:pt x="814351" y="513752"/>
                </a:lnTo>
                <a:lnTo>
                  <a:pt x="856699" y="513752"/>
                </a:lnTo>
                <a:lnTo>
                  <a:pt x="797174" y="435214"/>
                </a:lnTo>
                <a:lnTo>
                  <a:pt x="856699" y="356568"/>
                </a:lnTo>
                <a:lnTo>
                  <a:pt x="814351" y="356568"/>
                </a:lnTo>
                <a:lnTo>
                  <a:pt x="762712" y="422899"/>
                </a:lnTo>
                <a:lnTo>
                  <a:pt x="762712" y="356568"/>
                </a:lnTo>
                <a:close/>
                <a:moveTo>
                  <a:pt x="1343374" y="356568"/>
                </a:moveTo>
                <a:lnTo>
                  <a:pt x="1343374" y="513752"/>
                </a:lnTo>
                <a:lnTo>
                  <a:pt x="1379673" y="513752"/>
                </a:lnTo>
                <a:lnTo>
                  <a:pt x="1379673" y="447422"/>
                </a:lnTo>
                <a:lnTo>
                  <a:pt x="1431311" y="513752"/>
                </a:lnTo>
                <a:lnTo>
                  <a:pt x="1473551" y="513752"/>
                </a:lnTo>
                <a:lnTo>
                  <a:pt x="1414134" y="435214"/>
                </a:lnTo>
                <a:lnTo>
                  <a:pt x="1473551" y="356568"/>
                </a:lnTo>
                <a:lnTo>
                  <a:pt x="1431311" y="356568"/>
                </a:lnTo>
                <a:lnTo>
                  <a:pt x="1379673" y="422899"/>
                </a:lnTo>
                <a:lnTo>
                  <a:pt x="1379673" y="356568"/>
                </a:lnTo>
                <a:close/>
                <a:moveTo>
                  <a:pt x="0" y="0"/>
                </a:moveTo>
                <a:lnTo>
                  <a:pt x="12191998" y="0"/>
                </a:lnTo>
                <a:lnTo>
                  <a:pt x="12191998" y="6857998"/>
                </a:lnTo>
                <a:lnTo>
                  <a:pt x="0" y="6857998"/>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7" name="Text Placeholder 18">
            <a:extLst>
              <a:ext uri="{FF2B5EF4-FFF2-40B4-BE49-F238E27FC236}">
                <a16:creationId xmlns:a16="http://schemas.microsoft.com/office/drawing/2014/main" id="{8FE87EE4-F8DA-4F40-B4CD-A892BA20AD03}"/>
              </a:ext>
            </a:extLst>
          </p:cNvPr>
          <p:cNvSpPr>
            <a:spLocks noGrp="1"/>
          </p:cNvSpPr>
          <p:nvPr>
            <p:ph type="body" sz="quarter" idx="14" hasCustomPrompt="1"/>
          </p:nvPr>
        </p:nvSpPr>
        <p:spPr>
          <a:xfrm>
            <a:off x="576000" y="1845591"/>
            <a:ext cx="5665788" cy="1903912"/>
          </a:xfrm>
          <a:prstGeom prst="rect">
            <a:avLst/>
          </a:prstGeom>
        </p:spPr>
        <p:txBody>
          <a:bodyPr anchor="b">
            <a:noAutofit/>
          </a:bodyPr>
          <a:lstStyle>
            <a:lvl1pPr marL="0" indent="0">
              <a:lnSpc>
                <a:spcPct val="85000"/>
              </a:lnSpc>
              <a:spcBef>
                <a:spcPts val="0"/>
              </a:spcBef>
              <a:buNone/>
              <a:defRPr sz="4200" spc="40" baseline="0">
                <a:solidFill>
                  <a:schemeClr val="accent1"/>
                </a:solidFill>
              </a:defRPr>
            </a:lvl1pPr>
          </a:lstStyle>
          <a:p>
            <a:pPr lvl="0"/>
            <a:r>
              <a:rPr lang="en-US" noProof="0"/>
              <a:t>Click to add a headline </a:t>
            </a:r>
            <a:br>
              <a:rPr lang="en-US" noProof="0"/>
            </a:br>
            <a:r>
              <a:rPr lang="en-US" noProof="0"/>
              <a:t>of maximum two lines</a:t>
            </a:r>
          </a:p>
        </p:txBody>
      </p:sp>
      <p:sp>
        <p:nvSpPr>
          <p:cNvPr id="18" name="Text Placeholder 18">
            <a:extLst>
              <a:ext uri="{FF2B5EF4-FFF2-40B4-BE49-F238E27FC236}">
                <a16:creationId xmlns:a16="http://schemas.microsoft.com/office/drawing/2014/main" id="{599C1913-26BB-DD40-827B-9C508080F48A}"/>
              </a:ext>
            </a:extLst>
          </p:cNvPr>
          <p:cNvSpPr>
            <a:spLocks noGrp="1"/>
          </p:cNvSpPr>
          <p:nvPr>
            <p:ph type="body" sz="quarter" idx="15" hasCustomPrompt="1"/>
          </p:nvPr>
        </p:nvSpPr>
        <p:spPr>
          <a:xfrm>
            <a:off x="576000" y="3915585"/>
            <a:ext cx="3773171" cy="646331"/>
          </a:xfrm>
          <a:prstGeom prst="rect">
            <a:avLst/>
          </a:prstGeom>
        </p:spPr>
        <p:txBody>
          <a:bodyPr anchor="t">
            <a:noAutofit/>
          </a:bodyPr>
          <a:lstStyle>
            <a:lvl1pPr marL="0" indent="0">
              <a:lnSpc>
                <a:spcPct val="100000"/>
              </a:lnSpc>
              <a:spcBef>
                <a:spcPts val="0"/>
              </a:spcBef>
              <a:buNone/>
              <a:defRPr sz="1400" spc="70" baseline="0">
                <a:solidFill>
                  <a:schemeClr val="accent1"/>
                </a:solidFill>
              </a:defRPr>
            </a:lvl1pPr>
          </a:lstStyle>
          <a:p>
            <a:pPr lvl="0"/>
            <a:r>
              <a:rPr lang="en-US" noProof="0"/>
              <a:t>Click to add name </a:t>
            </a:r>
            <a:br>
              <a:rPr lang="en-US" noProof="0"/>
            </a:br>
            <a:r>
              <a:rPr lang="en-US" noProof="0"/>
              <a:t>Title, Business Unit</a:t>
            </a:r>
          </a:p>
          <a:p>
            <a:pPr lvl="0"/>
            <a:r>
              <a:rPr lang="en-US" noProof="0"/>
              <a:t>And Date</a:t>
            </a:r>
          </a:p>
        </p:txBody>
      </p:sp>
      <p:sp>
        <p:nvSpPr>
          <p:cNvPr id="8" name="textruta 5">
            <a:extLst>
              <a:ext uri="{FF2B5EF4-FFF2-40B4-BE49-F238E27FC236}">
                <a16:creationId xmlns:a16="http://schemas.microsoft.com/office/drawing/2014/main" id="{753B49A9-6373-BE4F-ABC3-64C5AB184A78}"/>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04E0EF0D-7851-6B40-A1EB-F8EEC09B316C}"/>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A0AE1B99-39ED-B84C-B91C-49AAA1356FB8}"/>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76FFDE6E-E3A0-B64F-B635-EC4F5335CBB1}"/>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Platshållare för datum 3">
            <a:extLst>
              <a:ext uri="{FF2B5EF4-FFF2-40B4-BE49-F238E27FC236}">
                <a16:creationId xmlns:a16="http://schemas.microsoft.com/office/drawing/2014/main" id="{F853C689-2D24-9340-B6F2-B4C7EF0EC835}"/>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70D64D6B-FF89-4F69-AC56-B099E7123233}" type="datetime1">
              <a:rPr lang="en-US" noProof="0" smtClean="0"/>
              <a:t>11/7/2025</a:t>
            </a:fld>
            <a:endParaRPr lang="en-US" noProof="0"/>
          </a:p>
        </p:txBody>
      </p:sp>
      <p:sp>
        <p:nvSpPr>
          <p:cNvPr id="13" name="Platshållare för sidfot 4">
            <a:extLst>
              <a:ext uri="{FF2B5EF4-FFF2-40B4-BE49-F238E27FC236}">
                <a16:creationId xmlns:a16="http://schemas.microsoft.com/office/drawing/2014/main" id="{7D950E93-A1A2-DF4E-BFBF-7FBAFF0765E6}"/>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nb-NO" noProof="0"/>
              <a:t>Skanska Norge Hovedpresentasjon - desember 2022</a:t>
            </a:r>
            <a:endParaRPr lang="en-US" noProof="0"/>
          </a:p>
        </p:txBody>
      </p:sp>
      <p:sp>
        <p:nvSpPr>
          <p:cNvPr id="14" name="Platshållare för bildnummer 5">
            <a:extLst>
              <a:ext uri="{FF2B5EF4-FFF2-40B4-BE49-F238E27FC236}">
                <a16:creationId xmlns:a16="http://schemas.microsoft.com/office/drawing/2014/main" id="{0896049F-290F-364E-B24A-2E8B211DF18E}"/>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19" name="Text Placeholder 4">
            <a:extLst>
              <a:ext uri="{FF2B5EF4-FFF2-40B4-BE49-F238E27FC236}">
                <a16:creationId xmlns:a16="http://schemas.microsoft.com/office/drawing/2014/main" id="{28A0355F-8BDD-3A43-8AD2-176096A4C919}"/>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7861427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telslid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5F6181F-9423-DA71-7F6D-07FD72A2314E}"/>
              </a:ext>
            </a:extLst>
          </p:cNvPr>
          <p:cNvSpPr>
            <a:spLocks noGrp="1"/>
          </p:cNvSpPr>
          <p:nvPr>
            <p:ph type="title" hasCustomPrompt="1"/>
          </p:nvPr>
        </p:nvSpPr>
        <p:spPr>
          <a:xfrm>
            <a:off x="576000" y="2635861"/>
            <a:ext cx="5520000" cy="1008135"/>
          </a:xfrm>
        </p:spPr>
        <p:txBody>
          <a:bodyPr anchor="b"/>
          <a:lstStyle>
            <a:lvl1pPr>
              <a:lnSpc>
                <a:spcPct val="85000"/>
              </a:lnSpc>
              <a:defRPr sz="3200" spc="40" baseline="0"/>
            </a:lvl1pPr>
          </a:lstStyle>
          <a:p>
            <a:r>
              <a:rPr lang="nb-NO" dirty="0"/>
              <a:t>Klikk for å legge til en overskrift på maksimalt to linjer</a:t>
            </a:r>
            <a:endParaRPr lang="en-US" dirty="0"/>
          </a:p>
        </p:txBody>
      </p:sp>
      <p:sp>
        <p:nvSpPr>
          <p:cNvPr id="4" name="Text Placeholder 3">
            <a:extLst>
              <a:ext uri="{FF2B5EF4-FFF2-40B4-BE49-F238E27FC236}">
                <a16:creationId xmlns:a16="http://schemas.microsoft.com/office/drawing/2014/main" id="{1FAC84D2-1CBD-ED3B-F849-6F545885F431}"/>
              </a:ext>
            </a:extLst>
          </p:cNvPr>
          <p:cNvSpPr>
            <a:spLocks noGrp="1"/>
          </p:cNvSpPr>
          <p:nvPr>
            <p:ph type="body" sz="quarter" idx="15" hasCustomPrompt="1"/>
          </p:nvPr>
        </p:nvSpPr>
        <p:spPr>
          <a:xfrm>
            <a:off x="576000" y="3801285"/>
            <a:ext cx="3776400" cy="646331"/>
          </a:xfrm>
          <a:prstGeom prst="rect">
            <a:avLst/>
          </a:prstGeom>
        </p:spPr>
        <p:txBody>
          <a:bodyPr anchor="t">
            <a:noAutofit/>
          </a:bodyPr>
          <a:lstStyle>
            <a:lvl1pPr marL="0" indent="0">
              <a:lnSpc>
                <a:spcPct val="100000"/>
              </a:lnSpc>
              <a:spcBef>
                <a:spcPts val="0"/>
              </a:spcBef>
              <a:buNone/>
              <a:defRPr sz="1400" spc="70" baseline="0">
                <a:solidFill>
                  <a:schemeClr val="tx2"/>
                </a:solidFill>
              </a:defRPr>
            </a:lvl1pPr>
          </a:lstStyle>
          <a:p>
            <a:pPr lvl="0"/>
            <a:r>
              <a:rPr lang="nb-NO" noProof="0" dirty="0"/>
              <a:t>Klikk for å legge til navn eller kort informasjon</a:t>
            </a:r>
            <a:endParaRPr lang="en-US" noProof="0" dirty="0"/>
          </a:p>
        </p:txBody>
      </p:sp>
      <p:sp>
        <p:nvSpPr>
          <p:cNvPr id="2" name="Logotype">
            <a:extLst>
              <a:ext uri="{FF2B5EF4-FFF2-40B4-BE49-F238E27FC236}">
                <a16:creationId xmlns:a16="http://schemas.microsoft.com/office/drawing/2014/main" id="{05F476B1-E718-4712-D549-35A352A20796}"/>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tx2"/>
          </a:solidFill>
          <a:ln w="6350" cap="flat">
            <a:noFill/>
            <a:prstDash val="solid"/>
            <a:miter/>
          </a:ln>
        </p:spPr>
        <p:txBody>
          <a:bodyPr wrap="square" rtlCol="0" anchor="ctr">
            <a:noAutofit/>
          </a:bodyPr>
          <a:lstStyle/>
          <a:p>
            <a:endParaRPr lang="en-US" noProof="0">
              <a:solidFill>
                <a:schemeClr val="tx2"/>
              </a:solidFill>
            </a:endParaRPr>
          </a:p>
        </p:txBody>
      </p:sp>
    </p:spTree>
    <p:extLst>
      <p:ext uri="{BB962C8B-B14F-4D97-AF65-F5344CB8AC3E}">
        <p14:creationId xmlns:p14="http://schemas.microsoft.com/office/powerpoint/2010/main" val="308468851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 Title Start Blue">
    <p:bg>
      <p:bgRef idx="1001">
        <a:schemeClr val="bg2"/>
      </p:bgRef>
    </p:bg>
    <p:spTree>
      <p:nvGrpSpPr>
        <p:cNvPr id="1" name=""/>
        <p:cNvGrpSpPr/>
        <p:nvPr/>
      </p:nvGrpSpPr>
      <p:grpSpPr>
        <a:xfrm>
          <a:off x="0" y="0"/>
          <a:ext cx="0" cy="0"/>
          <a:chOff x="0" y="0"/>
          <a:chExt cx="0" cy="0"/>
        </a:xfrm>
      </p:grpSpPr>
      <p:grpSp>
        <p:nvGrpSpPr>
          <p:cNvPr id="8" name="Grupp 12">
            <a:extLst>
              <a:ext uri="{FF2B5EF4-FFF2-40B4-BE49-F238E27FC236}">
                <a16:creationId xmlns:a16="http://schemas.microsoft.com/office/drawing/2014/main" id="{020B7E71-8C9B-5242-B01F-6CA360F416B2}"/>
              </a:ext>
            </a:extLst>
          </p:cNvPr>
          <p:cNvGrpSpPr/>
          <p:nvPr userDrawn="1"/>
        </p:nvGrpSpPr>
        <p:grpSpPr>
          <a:xfrm>
            <a:off x="576139" y="356679"/>
            <a:ext cx="1060123" cy="157076"/>
            <a:chOff x="576140" y="6451484"/>
            <a:chExt cx="615478" cy="91194"/>
          </a:xfrm>
          <a:solidFill>
            <a:schemeClr val="tx1"/>
          </a:solidFill>
        </p:grpSpPr>
        <p:sp>
          <p:nvSpPr>
            <p:cNvPr id="9" name="Bild 2">
              <a:extLst>
                <a:ext uri="{FF2B5EF4-FFF2-40B4-BE49-F238E27FC236}">
                  <a16:creationId xmlns:a16="http://schemas.microsoft.com/office/drawing/2014/main" id="{6318E37B-AA14-0649-9DA7-69211BFB17CA}"/>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1"/>
                </a:solidFill>
              </a:endParaRPr>
            </a:p>
          </p:txBody>
        </p:sp>
        <p:sp>
          <p:nvSpPr>
            <p:cNvPr id="10" name="Bild 2">
              <a:extLst>
                <a:ext uri="{FF2B5EF4-FFF2-40B4-BE49-F238E27FC236}">
                  <a16:creationId xmlns:a16="http://schemas.microsoft.com/office/drawing/2014/main" id="{32E1F09D-ED0C-DE46-9B1B-B9E26DF0BD3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1"/>
                </a:solidFill>
              </a:endParaRPr>
            </a:p>
          </p:txBody>
        </p:sp>
        <p:sp>
          <p:nvSpPr>
            <p:cNvPr id="11" name="Bild 2">
              <a:extLst>
                <a:ext uri="{FF2B5EF4-FFF2-40B4-BE49-F238E27FC236}">
                  <a16:creationId xmlns:a16="http://schemas.microsoft.com/office/drawing/2014/main" id="{3CA8F4F3-6275-ED44-8BB0-3552187481D5}"/>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1"/>
                </a:solidFill>
              </a:endParaRPr>
            </a:p>
          </p:txBody>
        </p:sp>
        <p:sp>
          <p:nvSpPr>
            <p:cNvPr id="12" name="Bild 2">
              <a:extLst>
                <a:ext uri="{FF2B5EF4-FFF2-40B4-BE49-F238E27FC236}">
                  <a16:creationId xmlns:a16="http://schemas.microsoft.com/office/drawing/2014/main" id="{9CDD8FD0-0EEC-FF4A-887F-3DDDEE806432}"/>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1"/>
                </a:solidFill>
              </a:endParaRPr>
            </a:p>
          </p:txBody>
        </p:sp>
        <p:sp>
          <p:nvSpPr>
            <p:cNvPr id="13" name="Bild 2">
              <a:extLst>
                <a:ext uri="{FF2B5EF4-FFF2-40B4-BE49-F238E27FC236}">
                  <a16:creationId xmlns:a16="http://schemas.microsoft.com/office/drawing/2014/main" id="{6CFB5C2E-2D79-B54B-B355-1FAC5B95A304}"/>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1"/>
                </a:solidFill>
              </a:endParaRPr>
            </a:p>
          </p:txBody>
        </p:sp>
        <p:sp>
          <p:nvSpPr>
            <p:cNvPr id="14" name="Bild 2">
              <a:extLst>
                <a:ext uri="{FF2B5EF4-FFF2-40B4-BE49-F238E27FC236}">
                  <a16:creationId xmlns:a16="http://schemas.microsoft.com/office/drawing/2014/main" id="{A94DC018-4855-8D4B-9A15-FEB331F2E3F7}"/>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1"/>
                </a:solidFill>
              </a:endParaRPr>
            </a:p>
          </p:txBody>
        </p:sp>
        <p:sp>
          <p:nvSpPr>
            <p:cNvPr id="15" name="Bild 2">
              <a:extLst>
                <a:ext uri="{FF2B5EF4-FFF2-40B4-BE49-F238E27FC236}">
                  <a16:creationId xmlns:a16="http://schemas.microsoft.com/office/drawing/2014/main" id="{8C343B86-2555-6D48-AE8D-2ACDF160AD2F}"/>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1"/>
                </a:solidFill>
              </a:endParaRPr>
            </a:p>
          </p:txBody>
        </p:sp>
      </p:grpSp>
      <p:sp>
        <p:nvSpPr>
          <p:cNvPr id="16" name="Text Placeholder 18">
            <a:extLst>
              <a:ext uri="{FF2B5EF4-FFF2-40B4-BE49-F238E27FC236}">
                <a16:creationId xmlns:a16="http://schemas.microsoft.com/office/drawing/2014/main" id="{F7778766-F776-2644-80BC-C322DB5143E5}"/>
              </a:ext>
            </a:extLst>
          </p:cNvPr>
          <p:cNvSpPr>
            <a:spLocks noGrp="1"/>
          </p:cNvSpPr>
          <p:nvPr>
            <p:ph type="body" sz="quarter" idx="14" hasCustomPrompt="1"/>
          </p:nvPr>
        </p:nvSpPr>
        <p:spPr>
          <a:xfrm>
            <a:off x="576000" y="1845591"/>
            <a:ext cx="5665788" cy="1903912"/>
          </a:xfrm>
          <a:prstGeom prst="rect">
            <a:avLst/>
          </a:prstGeom>
        </p:spPr>
        <p:txBody>
          <a:bodyPr anchor="b">
            <a:noAutofit/>
          </a:bodyPr>
          <a:lstStyle>
            <a:lvl1pPr marL="0" indent="0">
              <a:lnSpc>
                <a:spcPct val="85000"/>
              </a:lnSpc>
              <a:spcBef>
                <a:spcPts val="0"/>
              </a:spcBef>
              <a:buNone/>
              <a:defRPr sz="4200" spc="40" baseline="0">
                <a:solidFill>
                  <a:schemeClr val="tx1"/>
                </a:solidFill>
              </a:defRPr>
            </a:lvl1pPr>
          </a:lstStyle>
          <a:p>
            <a:pPr lvl="0"/>
            <a:r>
              <a:rPr lang="en-US" noProof="0"/>
              <a:t>Click to add a headline </a:t>
            </a:r>
            <a:br>
              <a:rPr lang="en-US" noProof="0"/>
            </a:br>
            <a:r>
              <a:rPr lang="en-US" noProof="0"/>
              <a:t>of maximum two lines</a:t>
            </a:r>
          </a:p>
        </p:txBody>
      </p:sp>
      <p:sp>
        <p:nvSpPr>
          <p:cNvPr id="17" name="Text Placeholder 18">
            <a:extLst>
              <a:ext uri="{FF2B5EF4-FFF2-40B4-BE49-F238E27FC236}">
                <a16:creationId xmlns:a16="http://schemas.microsoft.com/office/drawing/2014/main" id="{5CE2C598-208E-6443-A5A6-FF5E07D00E14}"/>
              </a:ext>
            </a:extLst>
          </p:cNvPr>
          <p:cNvSpPr>
            <a:spLocks noGrp="1"/>
          </p:cNvSpPr>
          <p:nvPr>
            <p:ph type="body" sz="quarter" idx="15" hasCustomPrompt="1"/>
          </p:nvPr>
        </p:nvSpPr>
        <p:spPr>
          <a:xfrm>
            <a:off x="576000" y="3915585"/>
            <a:ext cx="3773171" cy="646331"/>
          </a:xfrm>
          <a:prstGeom prst="rect">
            <a:avLst/>
          </a:prstGeom>
        </p:spPr>
        <p:txBody>
          <a:bodyPr anchor="t">
            <a:noAutofit/>
          </a:bodyPr>
          <a:lstStyle>
            <a:lvl1pPr marL="0" indent="0">
              <a:lnSpc>
                <a:spcPct val="100000"/>
              </a:lnSpc>
              <a:spcBef>
                <a:spcPts val="0"/>
              </a:spcBef>
              <a:buNone/>
              <a:defRPr sz="1400" spc="70" baseline="0">
                <a:solidFill>
                  <a:schemeClr val="tx1"/>
                </a:solidFill>
              </a:defRPr>
            </a:lvl1pPr>
          </a:lstStyle>
          <a:p>
            <a:pPr lvl="0"/>
            <a:r>
              <a:rPr lang="en-US" noProof="0"/>
              <a:t>Click to add name </a:t>
            </a:r>
            <a:br>
              <a:rPr lang="en-US" noProof="0"/>
            </a:br>
            <a:r>
              <a:rPr lang="en-US" noProof="0"/>
              <a:t>Title, Business Unit</a:t>
            </a:r>
          </a:p>
          <a:p>
            <a:pPr lvl="0"/>
            <a:r>
              <a:rPr lang="en-US" noProof="0"/>
              <a:t>And Date</a:t>
            </a:r>
          </a:p>
        </p:txBody>
      </p:sp>
      <p:sp>
        <p:nvSpPr>
          <p:cNvPr id="18" name="Platshållare för datum 3">
            <a:extLst>
              <a:ext uri="{FF2B5EF4-FFF2-40B4-BE49-F238E27FC236}">
                <a16:creationId xmlns:a16="http://schemas.microsoft.com/office/drawing/2014/main" id="{BB35720B-17F2-F047-AD03-59887AF1CFC0}"/>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1"/>
                </a:solidFill>
              </a:defRPr>
            </a:lvl1pPr>
          </a:lstStyle>
          <a:p>
            <a:fld id="{73B86A1D-88EF-44F0-BA0C-28D153221A39}" type="datetime1">
              <a:rPr lang="en-US" smtClean="0"/>
              <a:t>11/7/2025</a:t>
            </a:fld>
            <a:endParaRPr lang="en-US"/>
          </a:p>
        </p:txBody>
      </p:sp>
      <p:sp>
        <p:nvSpPr>
          <p:cNvPr id="19" name="Platshållare för sidfot 4">
            <a:extLst>
              <a:ext uri="{FF2B5EF4-FFF2-40B4-BE49-F238E27FC236}">
                <a16:creationId xmlns:a16="http://schemas.microsoft.com/office/drawing/2014/main" id="{AD7CD38D-F54E-8C40-8506-2A3C4C315939}"/>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1"/>
                </a:solidFill>
              </a:defRPr>
            </a:lvl1pPr>
          </a:lstStyle>
          <a:p>
            <a:r>
              <a:rPr lang="nb-NO"/>
              <a:t>Skanska Norge Hovedpresentasjon - desember 2022</a:t>
            </a:r>
            <a:endParaRPr lang="en-US"/>
          </a:p>
        </p:txBody>
      </p:sp>
      <p:sp>
        <p:nvSpPr>
          <p:cNvPr id="20" name="Platshållare för bildnummer 5">
            <a:extLst>
              <a:ext uri="{FF2B5EF4-FFF2-40B4-BE49-F238E27FC236}">
                <a16:creationId xmlns:a16="http://schemas.microsoft.com/office/drawing/2014/main" id="{78EFAF87-EB3E-9448-9EB2-F1FA0DB51245}"/>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1"/>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1229694515"/>
      </p:ext>
    </p:extLst>
  </p:cSld>
  <p:clrMapOvr>
    <a:overrideClrMapping bg1="dk1" tx1="lt1" bg2="dk2" tx2="lt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 Title Start Gray">
    <p:spTree>
      <p:nvGrpSpPr>
        <p:cNvPr id="1" name=""/>
        <p:cNvGrpSpPr/>
        <p:nvPr/>
      </p:nvGrpSpPr>
      <p:grpSpPr>
        <a:xfrm>
          <a:off x="0" y="0"/>
          <a:ext cx="0" cy="0"/>
          <a:chOff x="0" y="0"/>
          <a:chExt cx="0" cy="0"/>
        </a:xfrm>
      </p:grpSpPr>
      <p:grpSp>
        <p:nvGrpSpPr>
          <p:cNvPr id="8" name="Grupp 12">
            <a:extLst>
              <a:ext uri="{FF2B5EF4-FFF2-40B4-BE49-F238E27FC236}">
                <a16:creationId xmlns:a16="http://schemas.microsoft.com/office/drawing/2014/main" id="{020B7E71-8C9B-5242-B01F-6CA360F416B2}"/>
              </a:ext>
            </a:extLst>
          </p:cNvPr>
          <p:cNvGrpSpPr/>
          <p:nvPr userDrawn="1"/>
        </p:nvGrpSpPr>
        <p:grpSpPr>
          <a:xfrm>
            <a:off x="576139" y="356679"/>
            <a:ext cx="1060123" cy="157076"/>
            <a:chOff x="576140" y="6451484"/>
            <a:chExt cx="615478" cy="91194"/>
          </a:xfrm>
          <a:solidFill>
            <a:schemeClr val="tx2"/>
          </a:solidFill>
        </p:grpSpPr>
        <p:sp>
          <p:nvSpPr>
            <p:cNvPr id="9" name="Bild 2">
              <a:extLst>
                <a:ext uri="{FF2B5EF4-FFF2-40B4-BE49-F238E27FC236}">
                  <a16:creationId xmlns:a16="http://schemas.microsoft.com/office/drawing/2014/main" id="{6318E37B-AA14-0649-9DA7-69211BFB17CA}"/>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0" name="Bild 2">
              <a:extLst>
                <a:ext uri="{FF2B5EF4-FFF2-40B4-BE49-F238E27FC236}">
                  <a16:creationId xmlns:a16="http://schemas.microsoft.com/office/drawing/2014/main" id="{32E1F09D-ED0C-DE46-9B1B-B9E26DF0BD3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11" name="Bild 2">
              <a:extLst>
                <a:ext uri="{FF2B5EF4-FFF2-40B4-BE49-F238E27FC236}">
                  <a16:creationId xmlns:a16="http://schemas.microsoft.com/office/drawing/2014/main" id="{3CA8F4F3-6275-ED44-8BB0-3552187481D5}"/>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12" name="Bild 2">
              <a:extLst>
                <a:ext uri="{FF2B5EF4-FFF2-40B4-BE49-F238E27FC236}">
                  <a16:creationId xmlns:a16="http://schemas.microsoft.com/office/drawing/2014/main" id="{9CDD8FD0-0EEC-FF4A-887F-3DDDEE806432}"/>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13" name="Bild 2">
              <a:extLst>
                <a:ext uri="{FF2B5EF4-FFF2-40B4-BE49-F238E27FC236}">
                  <a16:creationId xmlns:a16="http://schemas.microsoft.com/office/drawing/2014/main" id="{6CFB5C2E-2D79-B54B-B355-1FAC5B95A304}"/>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14" name="Bild 2">
              <a:extLst>
                <a:ext uri="{FF2B5EF4-FFF2-40B4-BE49-F238E27FC236}">
                  <a16:creationId xmlns:a16="http://schemas.microsoft.com/office/drawing/2014/main" id="{A94DC018-4855-8D4B-9A15-FEB331F2E3F7}"/>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15" name="Bild 2">
              <a:extLst>
                <a:ext uri="{FF2B5EF4-FFF2-40B4-BE49-F238E27FC236}">
                  <a16:creationId xmlns:a16="http://schemas.microsoft.com/office/drawing/2014/main" id="{8C343B86-2555-6D48-AE8D-2ACDF160AD2F}"/>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6" name="Text Placeholder 18">
            <a:extLst>
              <a:ext uri="{FF2B5EF4-FFF2-40B4-BE49-F238E27FC236}">
                <a16:creationId xmlns:a16="http://schemas.microsoft.com/office/drawing/2014/main" id="{24922639-C89C-B84A-AA5D-5F56DD1D1156}"/>
              </a:ext>
            </a:extLst>
          </p:cNvPr>
          <p:cNvSpPr>
            <a:spLocks noGrp="1"/>
          </p:cNvSpPr>
          <p:nvPr>
            <p:ph type="body" sz="quarter" idx="14" hasCustomPrompt="1"/>
          </p:nvPr>
        </p:nvSpPr>
        <p:spPr>
          <a:xfrm>
            <a:off x="576000" y="1845591"/>
            <a:ext cx="5665788" cy="1903912"/>
          </a:xfrm>
          <a:prstGeom prst="rect">
            <a:avLst/>
          </a:prstGeom>
        </p:spPr>
        <p:txBody>
          <a:bodyPr anchor="b">
            <a:noAutofit/>
          </a:bodyPr>
          <a:lstStyle>
            <a:lvl1pPr marL="0" indent="0">
              <a:lnSpc>
                <a:spcPct val="85000"/>
              </a:lnSpc>
              <a:spcBef>
                <a:spcPts val="0"/>
              </a:spcBef>
              <a:buNone/>
              <a:defRPr sz="4200" spc="40" baseline="0">
                <a:solidFill>
                  <a:schemeClr val="accent1"/>
                </a:solidFill>
              </a:defRPr>
            </a:lvl1pPr>
          </a:lstStyle>
          <a:p>
            <a:pPr lvl="0"/>
            <a:r>
              <a:rPr lang="en-US" noProof="0"/>
              <a:t>Click to add a headline </a:t>
            </a:r>
            <a:br>
              <a:rPr lang="en-US" noProof="0"/>
            </a:br>
            <a:r>
              <a:rPr lang="en-US" noProof="0"/>
              <a:t>of maximum two lines</a:t>
            </a:r>
          </a:p>
        </p:txBody>
      </p:sp>
      <p:sp>
        <p:nvSpPr>
          <p:cNvPr id="17" name="Text Placeholder 18">
            <a:extLst>
              <a:ext uri="{FF2B5EF4-FFF2-40B4-BE49-F238E27FC236}">
                <a16:creationId xmlns:a16="http://schemas.microsoft.com/office/drawing/2014/main" id="{13062C08-0B1B-AD44-AD72-AA0948D72B37}"/>
              </a:ext>
            </a:extLst>
          </p:cNvPr>
          <p:cNvSpPr>
            <a:spLocks noGrp="1"/>
          </p:cNvSpPr>
          <p:nvPr>
            <p:ph type="body" sz="quarter" idx="15" hasCustomPrompt="1"/>
          </p:nvPr>
        </p:nvSpPr>
        <p:spPr>
          <a:xfrm>
            <a:off x="576000" y="3915585"/>
            <a:ext cx="3773171" cy="646331"/>
          </a:xfrm>
          <a:prstGeom prst="rect">
            <a:avLst/>
          </a:prstGeom>
        </p:spPr>
        <p:txBody>
          <a:bodyPr anchor="t">
            <a:noAutofit/>
          </a:bodyPr>
          <a:lstStyle>
            <a:lvl1pPr marL="0" indent="0">
              <a:lnSpc>
                <a:spcPct val="100000"/>
              </a:lnSpc>
              <a:spcBef>
                <a:spcPts val="0"/>
              </a:spcBef>
              <a:buNone/>
              <a:defRPr sz="1400" spc="70" baseline="0">
                <a:solidFill>
                  <a:schemeClr val="accent1"/>
                </a:solidFill>
              </a:defRPr>
            </a:lvl1pPr>
          </a:lstStyle>
          <a:p>
            <a:pPr lvl="0"/>
            <a:r>
              <a:rPr lang="en-US" noProof="0"/>
              <a:t>Click to add name </a:t>
            </a:r>
            <a:br>
              <a:rPr lang="en-US" noProof="0"/>
            </a:br>
            <a:r>
              <a:rPr lang="en-US" noProof="0"/>
              <a:t>Title, Business Unit</a:t>
            </a:r>
          </a:p>
          <a:p>
            <a:pPr lvl="0"/>
            <a:r>
              <a:rPr lang="en-US" noProof="0"/>
              <a:t>And Date</a:t>
            </a:r>
          </a:p>
        </p:txBody>
      </p:sp>
      <p:sp>
        <p:nvSpPr>
          <p:cNvPr id="18" name="Platshållare för datum 3">
            <a:extLst>
              <a:ext uri="{FF2B5EF4-FFF2-40B4-BE49-F238E27FC236}">
                <a16:creationId xmlns:a16="http://schemas.microsoft.com/office/drawing/2014/main" id="{24313DCE-7C7B-BE47-B236-12335E1BB94B}"/>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08C1A2DA-1386-4FBD-88E1-33B08792EFBD}" type="datetime1">
              <a:rPr lang="en-US" noProof="0" smtClean="0"/>
              <a:t>11/7/2025</a:t>
            </a:fld>
            <a:endParaRPr lang="en-US" noProof="0"/>
          </a:p>
        </p:txBody>
      </p:sp>
      <p:sp>
        <p:nvSpPr>
          <p:cNvPr id="19" name="Platshållare för sidfot 4">
            <a:extLst>
              <a:ext uri="{FF2B5EF4-FFF2-40B4-BE49-F238E27FC236}">
                <a16:creationId xmlns:a16="http://schemas.microsoft.com/office/drawing/2014/main" id="{C8598061-D3AB-104D-BCB1-F1F63C9D15AC}"/>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nb-NO" noProof="0"/>
              <a:t>Skanska Norge Hovedpresentasjon - desember 2022</a:t>
            </a:r>
            <a:endParaRPr lang="en-US" noProof="0"/>
          </a:p>
        </p:txBody>
      </p:sp>
      <p:sp>
        <p:nvSpPr>
          <p:cNvPr id="20" name="Platshållare för bildnummer 5">
            <a:extLst>
              <a:ext uri="{FF2B5EF4-FFF2-40B4-BE49-F238E27FC236}">
                <a16:creationId xmlns:a16="http://schemas.microsoft.com/office/drawing/2014/main" id="{AA379A6C-78A7-5146-80E3-D2B5A4DC31CD}"/>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37464604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 Title Start Graphic/Imag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83718FC5-379A-3343-904E-06A5A117D84C}"/>
              </a:ext>
            </a:extLst>
          </p:cNvPr>
          <p:cNvSpPr>
            <a:spLocks noGrp="1"/>
          </p:cNvSpPr>
          <p:nvPr>
            <p:ph type="pic" sz="quarter" idx="18" hasCustomPrompt="1"/>
          </p:nvPr>
        </p:nvSpPr>
        <p:spPr>
          <a:xfrm>
            <a:off x="6094413" y="0"/>
            <a:ext cx="6097587" cy="6857997"/>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GB"/>
              <a:t>Click on the icon to add an image</a:t>
            </a:r>
          </a:p>
        </p:txBody>
      </p:sp>
      <p:sp>
        <p:nvSpPr>
          <p:cNvPr id="3" name="Rectangle 2">
            <a:extLst>
              <a:ext uri="{FF2B5EF4-FFF2-40B4-BE49-F238E27FC236}">
                <a16:creationId xmlns:a16="http://schemas.microsoft.com/office/drawing/2014/main" id="{7ABD8C07-48FE-CE42-BAC1-8E71230A09D6}"/>
              </a:ext>
            </a:extLst>
          </p:cNvPr>
          <p:cNvSpPr/>
          <p:nvPr userDrawn="1"/>
        </p:nvSpPr>
        <p:spPr>
          <a:xfrm>
            <a:off x="0" y="0"/>
            <a:ext cx="6096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85947" y="1022400"/>
            <a:ext cx="5367178" cy="1069200"/>
          </a:xfrm>
          <a:prstGeom prst="rect">
            <a:avLst/>
          </a:prstGeom>
        </p:spPr>
        <p:txBody>
          <a:bodyPr anchor="b">
            <a:noAutofit/>
          </a:bodyPr>
          <a:lstStyle>
            <a:lvl1pPr marL="0" indent="0">
              <a:lnSpc>
                <a:spcPct val="85000"/>
              </a:lnSpc>
              <a:spcBef>
                <a:spcPts val="0"/>
              </a:spcBef>
              <a:buNone/>
              <a:defRPr sz="3600" spc="40" baseline="0">
                <a:solidFill>
                  <a:schemeClr val="tx2"/>
                </a:solidFill>
              </a:defRPr>
            </a:lvl1pPr>
          </a:lstStyle>
          <a:p>
            <a:pPr lvl="0"/>
            <a:r>
              <a:rPr lang="en-GB"/>
              <a:t>Click to add a headline </a:t>
            </a:r>
            <a:br>
              <a:rPr lang="en-GB"/>
            </a:br>
            <a:r>
              <a:rPr lang="en-GB"/>
              <a:t>of maximum two lines</a:t>
            </a:r>
          </a:p>
        </p:txBody>
      </p:sp>
      <p:sp>
        <p:nvSpPr>
          <p:cNvPr id="20" name="Text Placeholder 18">
            <a:extLst>
              <a:ext uri="{FF2B5EF4-FFF2-40B4-BE49-F238E27FC236}">
                <a16:creationId xmlns:a16="http://schemas.microsoft.com/office/drawing/2014/main" id="{01A6A6FB-6FA2-F143-90DF-C849DA3D5701}"/>
              </a:ext>
            </a:extLst>
          </p:cNvPr>
          <p:cNvSpPr>
            <a:spLocks noGrp="1"/>
          </p:cNvSpPr>
          <p:nvPr>
            <p:ph type="body" sz="quarter" idx="15" hasCustomPrompt="1"/>
          </p:nvPr>
        </p:nvSpPr>
        <p:spPr>
          <a:xfrm>
            <a:off x="588222" y="2228854"/>
            <a:ext cx="3755854" cy="771519"/>
          </a:xfrm>
          <a:prstGeom prst="rect">
            <a:avLst/>
          </a:prstGeom>
        </p:spPr>
        <p:txBody>
          <a:bodyPr anchor="t">
            <a:noAutofit/>
          </a:bodyPr>
          <a:lstStyle>
            <a:lvl1pPr marL="0" indent="0">
              <a:lnSpc>
                <a:spcPct val="100000"/>
              </a:lnSpc>
              <a:spcBef>
                <a:spcPts val="0"/>
              </a:spcBef>
              <a:buNone/>
              <a:defRPr sz="1400" spc="70" baseline="0">
                <a:solidFill>
                  <a:schemeClr val="tx2"/>
                </a:solidFill>
              </a:defRPr>
            </a:lvl1pPr>
          </a:lstStyle>
          <a:p>
            <a:pPr lvl="0"/>
            <a:r>
              <a:rPr lang="en-GB"/>
              <a:t>Click to add name </a:t>
            </a:r>
            <a:br>
              <a:rPr lang="en-GB"/>
            </a:br>
            <a:r>
              <a:rPr lang="en-GB"/>
              <a:t>Title, Business Unit</a:t>
            </a:r>
          </a:p>
          <a:p>
            <a:pPr lvl="0"/>
            <a:r>
              <a:rPr lang="en-GB"/>
              <a:t>And Date</a:t>
            </a:r>
          </a:p>
        </p:txBody>
      </p:sp>
      <p:grpSp>
        <p:nvGrpSpPr>
          <p:cNvPr id="61" name="Grupp 12">
            <a:extLst>
              <a:ext uri="{FF2B5EF4-FFF2-40B4-BE49-F238E27FC236}">
                <a16:creationId xmlns:a16="http://schemas.microsoft.com/office/drawing/2014/main" id="{11C1EE99-A90A-8E42-9EF6-ABC92B42C61F}"/>
              </a:ext>
            </a:extLst>
          </p:cNvPr>
          <p:cNvGrpSpPr/>
          <p:nvPr userDrawn="1"/>
        </p:nvGrpSpPr>
        <p:grpSpPr>
          <a:xfrm>
            <a:off x="576139" y="356679"/>
            <a:ext cx="1060123" cy="157076"/>
            <a:chOff x="576140" y="6451484"/>
            <a:chExt cx="615478" cy="91194"/>
          </a:xfrm>
          <a:solidFill>
            <a:schemeClr val="tx2"/>
          </a:solidFill>
        </p:grpSpPr>
        <p:sp>
          <p:nvSpPr>
            <p:cNvPr id="62" name="Bild 2">
              <a:extLst>
                <a:ext uri="{FF2B5EF4-FFF2-40B4-BE49-F238E27FC236}">
                  <a16:creationId xmlns:a16="http://schemas.microsoft.com/office/drawing/2014/main" id="{34B0D9DD-7C10-5F44-BF90-E4725CC02B7F}"/>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sv-SE">
                <a:solidFill>
                  <a:schemeClr val="tx2"/>
                </a:solidFill>
              </a:endParaRPr>
            </a:p>
          </p:txBody>
        </p:sp>
        <p:sp>
          <p:nvSpPr>
            <p:cNvPr id="63" name="Bild 2">
              <a:extLst>
                <a:ext uri="{FF2B5EF4-FFF2-40B4-BE49-F238E27FC236}">
                  <a16:creationId xmlns:a16="http://schemas.microsoft.com/office/drawing/2014/main" id="{9333FAAF-3916-C84B-A4CC-472A10E5FD21}"/>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sv-SE">
                <a:solidFill>
                  <a:schemeClr val="tx2"/>
                </a:solidFill>
              </a:endParaRPr>
            </a:p>
          </p:txBody>
        </p:sp>
        <p:sp>
          <p:nvSpPr>
            <p:cNvPr id="64" name="Bild 2">
              <a:extLst>
                <a:ext uri="{FF2B5EF4-FFF2-40B4-BE49-F238E27FC236}">
                  <a16:creationId xmlns:a16="http://schemas.microsoft.com/office/drawing/2014/main" id="{E3DA2BDA-82F6-C640-9E27-537DA60E22D2}"/>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sv-SE">
                <a:solidFill>
                  <a:schemeClr val="tx2"/>
                </a:solidFill>
              </a:endParaRPr>
            </a:p>
          </p:txBody>
        </p:sp>
        <p:sp>
          <p:nvSpPr>
            <p:cNvPr id="65" name="Bild 2">
              <a:extLst>
                <a:ext uri="{FF2B5EF4-FFF2-40B4-BE49-F238E27FC236}">
                  <a16:creationId xmlns:a16="http://schemas.microsoft.com/office/drawing/2014/main" id="{E456F497-D9F5-4E4F-9AF3-A1A4A44D26D4}"/>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sv-SE">
                <a:solidFill>
                  <a:schemeClr val="tx2"/>
                </a:solidFill>
              </a:endParaRPr>
            </a:p>
          </p:txBody>
        </p:sp>
        <p:sp>
          <p:nvSpPr>
            <p:cNvPr id="66" name="Bild 2">
              <a:extLst>
                <a:ext uri="{FF2B5EF4-FFF2-40B4-BE49-F238E27FC236}">
                  <a16:creationId xmlns:a16="http://schemas.microsoft.com/office/drawing/2014/main" id="{B670A634-218B-6946-94C9-5A68C0A0443C}"/>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sv-SE">
                <a:solidFill>
                  <a:schemeClr val="tx2"/>
                </a:solidFill>
              </a:endParaRPr>
            </a:p>
          </p:txBody>
        </p:sp>
        <p:sp>
          <p:nvSpPr>
            <p:cNvPr id="67" name="Bild 2">
              <a:extLst>
                <a:ext uri="{FF2B5EF4-FFF2-40B4-BE49-F238E27FC236}">
                  <a16:creationId xmlns:a16="http://schemas.microsoft.com/office/drawing/2014/main" id="{FC7D2288-841A-C443-80D1-8E0BE90E0171}"/>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sv-SE">
                <a:solidFill>
                  <a:schemeClr val="tx2"/>
                </a:solidFill>
              </a:endParaRPr>
            </a:p>
          </p:txBody>
        </p:sp>
        <p:sp>
          <p:nvSpPr>
            <p:cNvPr id="68" name="Bild 2">
              <a:extLst>
                <a:ext uri="{FF2B5EF4-FFF2-40B4-BE49-F238E27FC236}">
                  <a16:creationId xmlns:a16="http://schemas.microsoft.com/office/drawing/2014/main" id="{FA828F5C-03A9-8649-9199-869425B6C0B6}"/>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sv-SE">
                <a:solidFill>
                  <a:schemeClr val="tx2"/>
                </a:solidFill>
              </a:endParaRPr>
            </a:p>
          </p:txBody>
        </p:sp>
      </p:grpSp>
      <p:pic>
        <p:nvPicPr>
          <p:cNvPr id="4" name="Picture 3">
            <a:extLst>
              <a:ext uri="{FF2B5EF4-FFF2-40B4-BE49-F238E27FC236}">
                <a16:creationId xmlns:a16="http://schemas.microsoft.com/office/drawing/2014/main" id="{5C1AE774-2D36-A94D-AAEE-5D6B6412685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3429892"/>
            <a:ext cx="6094413" cy="3428107"/>
          </a:xfrm>
          <a:prstGeom prst="rect">
            <a:avLst/>
          </a:prstGeom>
        </p:spPr>
      </p:pic>
      <p:sp>
        <p:nvSpPr>
          <p:cNvPr id="16" name="Text Placeholder 4">
            <a:extLst>
              <a:ext uri="{FF2B5EF4-FFF2-40B4-BE49-F238E27FC236}">
                <a16:creationId xmlns:a16="http://schemas.microsoft.com/office/drawing/2014/main" id="{2E3C9CEE-5237-A84E-AB7E-0657C69C9212}"/>
              </a:ext>
            </a:extLst>
          </p:cNvPr>
          <p:cNvSpPr>
            <a:spLocks noGrp="1"/>
          </p:cNvSpPr>
          <p:nvPr>
            <p:ph type="body" sz="quarter" idx="19"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41493184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hapter Slide Blue">
    <p:bg>
      <p:bgRef idx="1001">
        <a:schemeClr val="bg2"/>
      </p:bgRef>
    </p:bg>
    <p:spTree>
      <p:nvGrpSpPr>
        <p:cNvPr id="1" name=""/>
        <p:cNvGrpSpPr/>
        <p:nvPr/>
      </p:nvGrpSpPr>
      <p:grpSpPr>
        <a:xfrm>
          <a:off x="0" y="0"/>
          <a:ext cx="0" cy="0"/>
          <a:chOff x="0" y="0"/>
          <a:chExt cx="0" cy="0"/>
        </a:xfrm>
      </p:grpSpPr>
      <p:sp>
        <p:nvSpPr>
          <p:cNvPr id="16" name="Text Placeholder 18">
            <a:extLst>
              <a:ext uri="{FF2B5EF4-FFF2-40B4-BE49-F238E27FC236}">
                <a16:creationId xmlns:a16="http://schemas.microsoft.com/office/drawing/2014/main" id="{F7778766-F776-2644-80BC-C322DB5143E5}"/>
              </a:ext>
            </a:extLst>
          </p:cNvPr>
          <p:cNvSpPr>
            <a:spLocks noGrp="1"/>
          </p:cNvSpPr>
          <p:nvPr>
            <p:ph type="body" sz="quarter" idx="14" hasCustomPrompt="1"/>
          </p:nvPr>
        </p:nvSpPr>
        <p:spPr>
          <a:xfrm>
            <a:off x="576000" y="2661138"/>
            <a:ext cx="5520000" cy="982858"/>
          </a:xfrm>
          <a:prstGeom prst="rect">
            <a:avLst/>
          </a:prstGeom>
        </p:spPr>
        <p:txBody>
          <a:bodyPr anchor="b">
            <a:noAutofit/>
          </a:bodyPr>
          <a:lstStyle>
            <a:lvl1pPr marL="0" indent="0">
              <a:lnSpc>
                <a:spcPct val="85000"/>
              </a:lnSpc>
              <a:spcBef>
                <a:spcPts val="0"/>
              </a:spcBef>
              <a:buNone/>
              <a:defRPr sz="3600" spc="40" baseline="0">
                <a:solidFill>
                  <a:schemeClr val="tx1"/>
                </a:solidFill>
              </a:defRPr>
            </a:lvl1pPr>
          </a:lstStyle>
          <a:p>
            <a:pPr lvl="0"/>
            <a:r>
              <a:rPr lang="en-US" noProof="0"/>
              <a:t>Click to add a headline </a:t>
            </a:r>
            <a:br>
              <a:rPr lang="en-US" noProof="0"/>
            </a:br>
            <a:r>
              <a:rPr lang="en-US" noProof="0"/>
              <a:t>of maximum two lines</a:t>
            </a:r>
          </a:p>
        </p:txBody>
      </p:sp>
      <p:grpSp>
        <p:nvGrpSpPr>
          <p:cNvPr id="17" name="Grupp 32">
            <a:extLst>
              <a:ext uri="{FF2B5EF4-FFF2-40B4-BE49-F238E27FC236}">
                <a16:creationId xmlns:a16="http://schemas.microsoft.com/office/drawing/2014/main" id="{CCC1C461-9A79-5540-8EA5-15E5AD6E1CA7}"/>
              </a:ext>
            </a:extLst>
          </p:cNvPr>
          <p:cNvGrpSpPr/>
          <p:nvPr userDrawn="1"/>
        </p:nvGrpSpPr>
        <p:grpSpPr>
          <a:xfrm>
            <a:off x="576140" y="6451484"/>
            <a:ext cx="615478" cy="91194"/>
            <a:chOff x="576140" y="6451484"/>
            <a:chExt cx="615478" cy="91194"/>
          </a:xfrm>
          <a:solidFill>
            <a:schemeClr val="tx1"/>
          </a:solidFill>
        </p:grpSpPr>
        <p:sp>
          <p:nvSpPr>
            <p:cNvPr id="18" name="Bild 2">
              <a:extLst>
                <a:ext uri="{FF2B5EF4-FFF2-40B4-BE49-F238E27FC236}">
                  <a16:creationId xmlns:a16="http://schemas.microsoft.com/office/drawing/2014/main" id="{B7D99BA8-54ED-9945-B3A3-B69B3E549BA3}"/>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1"/>
                </a:solidFill>
              </a:endParaRPr>
            </a:p>
          </p:txBody>
        </p:sp>
        <p:sp>
          <p:nvSpPr>
            <p:cNvPr id="19" name="Bild 2">
              <a:extLst>
                <a:ext uri="{FF2B5EF4-FFF2-40B4-BE49-F238E27FC236}">
                  <a16:creationId xmlns:a16="http://schemas.microsoft.com/office/drawing/2014/main" id="{67860190-748E-D545-AF14-8F029A04EDF3}"/>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1"/>
                </a:solidFill>
              </a:endParaRPr>
            </a:p>
          </p:txBody>
        </p:sp>
        <p:sp>
          <p:nvSpPr>
            <p:cNvPr id="20" name="Bild 2">
              <a:extLst>
                <a:ext uri="{FF2B5EF4-FFF2-40B4-BE49-F238E27FC236}">
                  <a16:creationId xmlns:a16="http://schemas.microsoft.com/office/drawing/2014/main" id="{1FB3FDA7-54B9-074B-B62F-1B2C37A3F984}"/>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1"/>
                </a:solidFill>
              </a:endParaRPr>
            </a:p>
          </p:txBody>
        </p:sp>
        <p:sp>
          <p:nvSpPr>
            <p:cNvPr id="21" name="Bild 2">
              <a:extLst>
                <a:ext uri="{FF2B5EF4-FFF2-40B4-BE49-F238E27FC236}">
                  <a16:creationId xmlns:a16="http://schemas.microsoft.com/office/drawing/2014/main" id="{423BE486-7867-7E49-B208-7017D21BF759}"/>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1"/>
                </a:solidFill>
              </a:endParaRPr>
            </a:p>
          </p:txBody>
        </p:sp>
        <p:sp>
          <p:nvSpPr>
            <p:cNvPr id="22" name="Bild 2">
              <a:extLst>
                <a:ext uri="{FF2B5EF4-FFF2-40B4-BE49-F238E27FC236}">
                  <a16:creationId xmlns:a16="http://schemas.microsoft.com/office/drawing/2014/main" id="{E7B5CB21-99E6-A940-BA46-9C57EC56E7F7}"/>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1"/>
                </a:solidFill>
              </a:endParaRPr>
            </a:p>
          </p:txBody>
        </p:sp>
        <p:sp>
          <p:nvSpPr>
            <p:cNvPr id="23" name="Bild 2">
              <a:extLst>
                <a:ext uri="{FF2B5EF4-FFF2-40B4-BE49-F238E27FC236}">
                  <a16:creationId xmlns:a16="http://schemas.microsoft.com/office/drawing/2014/main" id="{8E0A5CDE-6444-0846-AB95-49DCBEBF1B14}"/>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1"/>
                </a:solidFill>
              </a:endParaRPr>
            </a:p>
          </p:txBody>
        </p:sp>
        <p:sp>
          <p:nvSpPr>
            <p:cNvPr id="24" name="Bild 2">
              <a:extLst>
                <a:ext uri="{FF2B5EF4-FFF2-40B4-BE49-F238E27FC236}">
                  <a16:creationId xmlns:a16="http://schemas.microsoft.com/office/drawing/2014/main" id="{668977B8-0ED8-024D-82B5-F29636A29043}"/>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1"/>
                </a:solidFill>
              </a:endParaRPr>
            </a:p>
          </p:txBody>
        </p:sp>
      </p:grpSp>
      <p:sp>
        <p:nvSpPr>
          <p:cNvPr id="14" name="Platshållare för datum 3">
            <a:extLst>
              <a:ext uri="{FF2B5EF4-FFF2-40B4-BE49-F238E27FC236}">
                <a16:creationId xmlns:a16="http://schemas.microsoft.com/office/drawing/2014/main" id="{06F89A69-F67B-094F-AE41-2BE0278384AA}"/>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1"/>
                </a:solidFill>
              </a:defRPr>
            </a:lvl1pPr>
          </a:lstStyle>
          <a:p>
            <a:fld id="{EF63D07F-5684-4870-B950-F2749923E473}" type="datetime1">
              <a:rPr lang="en-US" smtClean="0"/>
              <a:t>11/7/2025</a:t>
            </a:fld>
            <a:endParaRPr lang="en-US"/>
          </a:p>
        </p:txBody>
      </p:sp>
      <p:sp>
        <p:nvSpPr>
          <p:cNvPr id="15" name="Platshållare för sidfot 4">
            <a:extLst>
              <a:ext uri="{FF2B5EF4-FFF2-40B4-BE49-F238E27FC236}">
                <a16:creationId xmlns:a16="http://schemas.microsoft.com/office/drawing/2014/main" id="{0D86C592-6736-C940-B119-9570C8C9F6B3}"/>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1"/>
                </a:solidFill>
              </a:defRPr>
            </a:lvl1pPr>
          </a:lstStyle>
          <a:p>
            <a:r>
              <a:rPr lang="nb-NO"/>
              <a:t>Skanska Norge Hovedpresentasjon - desember 2022</a:t>
            </a:r>
            <a:endParaRPr lang="en-US"/>
          </a:p>
        </p:txBody>
      </p:sp>
      <p:sp>
        <p:nvSpPr>
          <p:cNvPr id="25" name="Platshållare för bildnummer 5">
            <a:extLst>
              <a:ext uri="{FF2B5EF4-FFF2-40B4-BE49-F238E27FC236}">
                <a16:creationId xmlns:a16="http://schemas.microsoft.com/office/drawing/2014/main" id="{7DCF2312-AA91-3248-90DB-C057CD0B6345}"/>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1"/>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3143044678"/>
      </p:ext>
    </p:extLst>
  </p:cSld>
  <p:clrMapOvr>
    <a:overrideClrMapping bg1="dk1" tx1="lt1" bg2="dk2" tx2="lt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 Chapter Slide Gray">
    <p:spTree>
      <p:nvGrpSpPr>
        <p:cNvPr id="1" name=""/>
        <p:cNvGrpSpPr/>
        <p:nvPr/>
      </p:nvGrpSpPr>
      <p:grpSpPr>
        <a:xfrm>
          <a:off x="0" y="0"/>
          <a:ext cx="0" cy="0"/>
          <a:chOff x="0" y="0"/>
          <a:chExt cx="0" cy="0"/>
        </a:xfrm>
      </p:grpSpPr>
      <p:sp>
        <p:nvSpPr>
          <p:cNvPr id="18" name="Text Placeholder 18">
            <a:extLst>
              <a:ext uri="{FF2B5EF4-FFF2-40B4-BE49-F238E27FC236}">
                <a16:creationId xmlns:a16="http://schemas.microsoft.com/office/drawing/2014/main" id="{ED7479DB-E08A-074A-9190-F08269647CDA}"/>
              </a:ext>
            </a:extLst>
          </p:cNvPr>
          <p:cNvSpPr>
            <a:spLocks noGrp="1"/>
          </p:cNvSpPr>
          <p:nvPr>
            <p:ph type="body" sz="quarter" idx="14" hasCustomPrompt="1"/>
          </p:nvPr>
        </p:nvSpPr>
        <p:spPr>
          <a:xfrm>
            <a:off x="576000" y="2661138"/>
            <a:ext cx="5520000" cy="982858"/>
          </a:xfrm>
          <a:prstGeom prst="rect">
            <a:avLst/>
          </a:prstGeom>
        </p:spPr>
        <p:txBody>
          <a:bodyPr anchor="b">
            <a:noAutofit/>
          </a:bodyPr>
          <a:lstStyle>
            <a:lvl1pPr marL="0" indent="0">
              <a:lnSpc>
                <a:spcPct val="85000"/>
              </a:lnSpc>
              <a:spcBef>
                <a:spcPts val="0"/>
              </a:spcBef>
              <a:buNone/>
              <a:defRPr sz="3600" spc="40" baseline="0">
                <a:solidFill>
                  <a:schemeClr val="accent1"/>
                </a:solidFill>
              </a:defRPr>
            </a:lvl1pPr>
          </a:lstStyle>
          <a:p>
            <a:pPr lvl="0"/>
            <a:r>
              <a:rPr lang="en-US" noProof="0"/>
              <a:t>Click to add a headline </a:t>
            </a:r>
            <a:br>
              <a:rPr lang="en-US" noProof="0"/>
            </a:br>
            <a:r>
              <a:rPr lang="en-US" noProof="0"/>
              <a:t>of maximum two lines</a:t>
            </a:r>
          </a:p>
        </p:txBody>
      </p:sp>
      <p:grpSp>
        <p:nvGrpSpPr>
          <p:cNvPr id="16" name="Grupp 32">
            <a:extLst>
              <a:ext uri="{FF2B5EF4-FFF2-40B4-BE49-F238E27FC236}">
                <a16:creationId xmlns:a16="http://schemas.microsoft.com/office/drawing/2014/main" id="{17401CF1-3F91-0F47-A923-9A1A2A3023B9}"/>
              </a:ext>
            </a:extLst>
          </p:cNvPr>
          <p:cNvGrpSpPr/>
          <p:nvPr userDrawn="1"/>
        </p:nvGrpSpPr>
        <p:grpSpPr>
          <a:xfrm>
            <a:off x="576140" y="6451484"/>
            <a:ext cx="615478" cy="91194"/>
            <a:chOff x="576140" y="6451484"/>
            <a:chExt cx="615478" cy="91194"/>
          </a:xfrm>
          <a:solidFill>
            <a:schemeClr val="tx2"/>
          </a:solidFill>
        </p:grpSpPr>
        <p:sp>
          <p:nvSpPr>
            <p:cNvPr id="17" name="Bild 2">
              <a:extLst>
                <a:ext uri="{FF2B5EF4-FFF2-40B4-BE49-F238E27FC236}">
                  <a16:creationId xmlns:a16="http://schemas.microsoft.com/office/drawing/2014/main" id="{6E1496DD-0A73-2C4B-A73D-9853A322E4A1}"/>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9" name="Bild 2">
              <a:extLst>
                <a:ext uri="{FF2B5EF4-FFF2-40B4-BE49-F238E27FC236}">
                  <a16:creationId xmlns:a16="http://schemas.microsoft.com/office/drawing/2014/main" id="{26EC65F1-F77C-C041-A72C-B8486ACEF795}"/>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0" name="Bild 2">
              <a:extLst>
                <a:ext uri="{FF2B5EF4-FFF2-40B4-BE49-F238E27FC236}">
                  <a16:creationId xmlns:a16="http://schemas.microsoft.com/office/drawing/2014/main" id="{BD9DE731-8F91-FA4B-933B-DD044D82DC05}"/>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1" name="Bild 2">
              <a:extLst>
                <a:ext uri="{FF2B5EF4-FFF2-40B4-BE49-F238E27FC236}">
                  <a16:creationId xmlns:a16="http://schemas.microsoft.com/office/drawing/2014/main" id="{98AC7FAE-AFF1-334E-B393-6CABABAF7EE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2" name="Bild 2">
              <a:extLst>
                <a:ext uri="{FF2B5EF4-FFF2-40B4-BE49-F238E27FC236}">
                  <a16:creationId xmlns:a16="http://schemas.microsoft.com/office/drawing/2014/main" id="{55E86661-61FC-8049-B7AF-BB48D69AC52A}"/>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403B29A7-4A9C-1246-9825-8722C2E02A6C}"/>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498EB4C4-F4C0-FC43-9E36-A6C23E4D712A}"/>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4" name="Platshållare för datum 3">
            <a:extLst>
              <a:ext uri="{FF2B5EF4-FFF2-40B4-BE49-F238E27FC236}">
                <a16:creationId xmlns:a16="http://schemas.microsoft.com/office/drawing/2014/main" id="{05B7D8D8-FA56-7444-B9DF-B930B350D6AF}"/>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3EC80622-8BC1-4C27-9D12-B7493C7D77F0}" type="datetime1">
              <a:rPr lang="en-US" noProof="0" smtClean="0"/>
              <a:t>11/7/2025</a:t>
            </a:fld>
            <a:endParaRPr lang="en-US" noProof="0"/>
          </a:p>
        </p:txBody>
      </p:sp>
      <p:sp>
        <p:nvSpPr>
          <p:cNvPr id="15" name="Platshållare för sidfot 4">
            <a:extLst>
              <a:ext uri="{FF2B5EF4-FFF2-40B4-BE49-F238E27FC236}">
                <a16:creationId xmlns:a16="http://schemas.microsoft.com/office/drawing/2014/main" id="{B12F39BA-DDC1-D847-AE0B-C964A9E60ED3}"/>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nb-NO" noProof="0"/>
              <a:t>Skanska Norge Hovedpresentasjon - desember 2022</a:t>
            </a:r>
            <a:endParaRPr lang="en-US" noProof="0"/>
          </a:p>
        </p:txBody>
      </p:sp>
      <p:sp>
        <p:nvSpPr>
          <p:cNvPr id="25" name="Platshållare för bildnummer 5">
            <a:extLst>
              <a:ext uri="{FF2B5EF4-FFF2-40B4-BE49-F238E27FC236}">
                <a16:creationId xmlns:a16="http://schemas.microsoft.com/office/drawing/2014/main" id="{BEA161A3-DC82-9B4C-9CC6-B04CF9A6D8E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105834171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 Chapter Slide Blue with Image">
    <p:bg>
      <p:bgPr>
        <a:solidFill>
          <a:schemeClr val="tx2"/>
        </a:solidFill>
        <a:effectLst/>
      </p:bgPr>
    </p:bg>
    <p:spTree>
      <p:nvGrpSpPr>
        <p:cNvPr id="1" name=""/>
        <p:cNvGrpSpPr/>
        <p:nvPr/>
      </p:nvGrpSpPr>
      <p:grpSpPr>
        <a:xfrm>
          <a:off x="0" y="0"/>
          <a:ext cx="0" cy="0"/>
          <a:chOff x="0" y="0"/>
          <a:chExt cx="0" cy="0"/>
        </a:xfrm>
      </p:grpSpPr>
      <p:sp>
        <p:nvSpPr>
          <p:cNvPr id="18" name="Picture Placeholder 6">
            <a:extLst>
              <a:ext uri="{FF2B5EF4-FFF2-40B4-BE49-F238E27FC236}">
                <a16:creationId xmlns:a16="http://schemas.microsoft.com/office/drawing/2014/main" id="{106399E1-1DE8-EE44-81BD-42302CB5679F}"/>
              </a:ext>
            </a:extLst>
          </p:cNvPr>
          <p:cNvSpPr>
            <a:spLocks noGrp="1"/>
          </p:cNvSpPr>
          <p:nvPr>
            <p:ph type="pic" sz="quarter" idx="17" hasCustomPrompt="1"/>
          </p:nvPr>
        </p:nvSpPr>
        <p:spPr>
          <a:xfrm>
            <a:off x="8140700" y="0"/>
            <a:ext cx="4051300" cy="6871252"/>
          </a:xfrm>
          <a:solidFill>
            <a:schemeClr val="bg1">
              <a:lumMod val="85000"/>
            </a:schemeClr>
          </a:solidFill>
        </p:spPr>
        <p:txBody>
          <a:bodyPr lIns="36000" tIns="36000"/>
          <a:lstStyle>
            <a:lvl1pPr marL="1270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300">
                <a:solidFill>
                  <a:schemeClr val="tx2"/>
                </a:solidFill>
              </a:defRPr>
            </a:lvl1pPr>
          </a:lstStyle>
          <a:p>
            <a:pPr marL="1270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noProof="0"/>
              <a:t>Click on the icon to add an image</a:t>
            </a:r>
          </a:p>
          <a:p>
            <a:endParaRPr lang="en-US" noProof="0"/>
          </a:p>
        </p:txBody>
      </p:sp>
      <p:sp>
        <p:nvSpPr>
          <p:cNvPr id="21" name="Text Placeholder 18">
            <a:extLst>
              <a:ext uri="{FF2B5EF4-FFF2-40B4-BE49-F238E27FC236}">
                <a16:creationId xmlns:a16="http://schemas.microsoft.com/office/drawing/2014/main" id="{50055E5E-7191-EB40-B5EB-0E791AADEDE6}"/>
              </a:ext>
            </a:extLst>
          </p:cNvPr>
          <p:cNvSpPr>
            <a:spLocks noGrp="1"/>
          </p:cNvSpPr>
          <p:nvPr>
            <p:ph type="body" sz="quarter" idx="14" hasCustomPrompt="1"/>
          </p:nvPr>
        </p:nvSpPr>
        <p:spPr>
          <a:xfrm>
            <a:off x="576000" y="2661138"/>
            <a:ext cx="5520000" cy="982858"/>
          </a:xfrm>
          <a:prstGeom prst="rect">
            <a:avLst/>
          </a:prstGeom>
        </p:spPr>
        <p:txBody>
          <a:bodyPr anchor="b">
            <a:noAutofit/>
          </a:bodyPr>
          <a:lstStyle>
            <a:lvl1pPr marL="0" indent="0">
              <a:lnSpc>
                <a:spcPct val="85000"/>
              </a:lnSpc>
              <a:spcBef>
                <a:spcPts val="0"/>
              </a:spcBef>
              <a:buNone/>
              <a:defRPr sz="3600" spc="40" baseline="0">
                <a:solidFill>
                  <a:schemeClr val="bg1"/>
                </a:solidFill>
              </a:defRPr>
            </a:lvl1pPr>
          </a:lstStyle>
          <a:p>
            <a:pPr lvl="0"/>
            <a:r>
              <a:rPr lang="en-US" noProof="0"/>
              <a:t>Click to add a headline </a:t>
            </a:r>
            <a:br>
              <a:rPr lang="en-US" noProof="0"/>
            </a:br>
            <a:r>
              <a:rPr lang="en-US" noProof="0"/>
              <a:t>of maximum two lines</a:t>
            </a:r>
          </a:p>
        </p:txBody>
      </p:sp>
      <p:sp>
        <p:nvSpPr>
          <p:cNvPr id="15" name="textruta 5">
            <a:extLst>
              <a:ext uri="{FF2B5EF4-FFF2-40B4-BE49-F238E27FC236}">
                <a16:creationId xmlns:a16="http://schemas.microsoft.com/office/drawing/2014/main" id="{5BB9A0DA-E9F3-704C-BDCF-FC259DAC129A}"/>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6" name="textruta 15">
            <a:extLst>
              <a:ext uri="{FF2B5EF4-FFF2-40B4-BE49-F238E27FC236}">
                <a16:creationId xmlns:a16="http://schemas.microsoft.com/office/drawing/2014/main" id="{DE5DD293-B27B-7A43-85D7-BD43BA586097}"/>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7" name="Rektangel 16">
            <a:extLst>
              <a:ext uri="{FF2B5EF4-FFF2-40B4-BE49-F238E27FC236}">
                <a16:creationId xmlns:a16="http://schemas.microsoft.com/office/drawing/2014/main" id="{A750B50A-9D17-1447-8213-B2935EA38090}"/>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ktangel 18">
            <a:extLst>
              <a:ext uri="{FF2B5EF4-FFF2-40B4-BE49-F238E27FC236}">
                <a16:creationId xmlns:a16="http://schemas.microsoft.com/office/drawing/2014/main" id="{805FC0CB-297F-3541-A68A-BD42D3187508}"/>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Platshållare för datum 3">
            <a:extLst>
              <a:ext uri="{FF2B5EF4-FFF2-40B4-BE49-F238E27FC236}">
                <a16:creationId xmlns:a16="http://schemas.microsoft.com/office/drawing/2014/main" id="{C1E656AC-D790-6747-BBCB-773F08CF7103}"/>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099AA666-5C74-441C-8582-F28471F3BFEE}" type="datetime1">
              <a:rPr lang="en-US" smtClean="0"/>
              <a:t>11/7/2025</a:t>
            </a:fld>
            <a:endParaRPr lang="en-US"/>
          </a:p>
        </p:txBody>
      </p:sp>
      <p:sp>
        <p:nvSpPr>
          <p:cNvPr id="13" name="Platshållare för sidfot 4">
            <a:extLst>
              <a:ext uri="{FF2B5EF4-FFF2-40B4-BE49-F238E27FC236}">
                <a16:creationId xmlns:a16="http://schemas.microsoft.com/office/drawing/2014/main" id="{40B4A8CA-2E45-A045-B4BB-84023FBA6237}"/>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nb-NO"/>
              <a:t>Skanska Norge Hovedpresentasjon - desember 2022</a:t>
            </a:r>
            <a:endParaRPr lang="en-US"/>
          </a:p>
        </p:txBody>
      </p:sp>
      <p:sp>
        <p:nvSpPr>
          <p:cNvPr id="14" name="Platshållare för bildnummer 5">
            <a:extLst>
              <a:ext uri="{FF2B5EF4-FFF2-40B4-BE49-F238E27FC236}">
                <a16:creationId xmlns:a16="http://schemas.microsoft.com/office/drawing/2014/main" id="{C3BE8E53-4D78-2E41-90C4-8F359A150CF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grpSp>
        <p:nvGrpSpPr>
          <p:cNvPr id="20" name="Grupp 32">
            <a:extLst>
              <a:ext uri="{FF2B5EF4-FFF2-40B4-BE49-F238E27FC236}">
                <a16:creationId xmlns:a16="http://schemas.microsoft.com/office/drawing/2014/main" id="{AF3ED186-03E9-BF49-9B8A-A3A46C27486D}"/>
              </a:ext>
            </a:extLst>
          </p:cNvPr>
          <p:cNvGrpSpPr/>
          <p:nvPr userDrawn="1"/>
        </p:nvGrpSpPr>
        <p:grpSpPr>
          <a:xfrm>
            <a:off x="576140" y="6451484"/>
            <a:ext cx="615478" cy="91194"/>
            <a:chOff x="576140" y="6451484"/>
            <a:chExt cx="615478" cy="91194"/>
          </a:xfrm>
          <a:solidFill>
            <a:schemeClr val="bg1"/>
          </a:solidFill>
        </p:grpSpPr>
        <p:sp>
          <p:nvSpPr>
            <p:cNvPr id="22" name="Bild 2">
              <a:extLst>
                <a:ext uri="{FF2B5EF4-FFF2-40B4-BE49-F238E27FC236}">
                  <a16:creationId xmlns:a16="http://schemas.microsoft.com/office/drawing/2014/main" id="{5D042DC5-C8A9-A442-8F32-57CD5268BF38}"/>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49009F17-D779-5145-9AC9-A4741D09DA8A}"/>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EAF2DB5F-29AA-F344-B820-7625411CFA14}"/>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5" name="Bild 2">
              <a:extLst>
                <a:ext uri="{FF2B5EF4-FFF2-40B4-BE49-F238E27FC236}">
                  <a16:creationId xmlns:a16="http://schemas.microsoft.com/office/drawing/2014/main" id="{3D982866-6026-7843-B715-D5599284755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6" name="Bild 2">
              <a:extLst>
                <a:ext uri="{FF2B5EF4-FFF2-40B4-BE49-F238E27FC236}">
                  <a16:creationId xmlns:a16="http://schemas.microsoft.com/office/drawing/2014/main" id="{915BDE88-4874-DF43-B095-7EDD389D143D}"/>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E7B51E0D-BC49-D54F-9169-3AEFCD179A18}"/>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B673B569-AEC2-0F44-9550-4C24E96FE9F4}"/>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30" name="Text Placeholder 4">
            <a:extLst>
              <a:ext uri="{FF2B5EF4-FFF2-40B4-BE49-F238E27FC236}">
                <a16:creationId xmlns:a16="http://schemas.microsoft.com/office/drawing/2014/main" id="{657B6F63-B2D3-B645-A8B9-059B9204452A}"/>
              </a:ext>
            </a:extLst>
          </p:cNvPr>
          <p:cNvSpPr>
            <a:spLocks noGrp="1"/>
          </p:cNvSpPr>
          <p:nvPr>
            <p:ph type="body" sz="quarter" idx="18"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72555245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 Chapter Slide Gray with Image">
    <p:bg>
      <p:bgRef idx="1001">
        <a:schemeClr val="bg2"/>
      </p:bgRef>
    </p:bg>
    <p:spTree>
      <p:nvGrpSpPr>
        <p:cNvPr id="1" name=""/>
        <p:cNvGrpSpPr/>
        <p:nvPr/>
      </p:nvGrpSpPr>
      <p:grpSpPr>
        <a:xfrm>
          <a:off x="0" y="0"/>
          <a:ext cx="0" cy="0"/>
          <a:chOff x="0" y="0"/>
          <a:chExt cx="0" cy="0"/>
        </a:xfrm>
      </p:grpSpPr>
      <p:sp>
        <p:nvSpPr>
          <p:cNvPr id="18" name="Picture Placeholder 6">
            <a:extLst>
              <a:ext uri="{FF2B5EF4-FFF2-40B4-BE49-F238E27FC236}">
                <a16:creationId xmlns:a16="http://schemas.microsoft.com/office/drawing/2014/main" id="{106399E1-1DE8-EE44-81BD-42302CB5679F}"/>
              </a:ext>
            </a:extLst>
          </p:cNvPr>
          <p:cNvSpPr>
            <a:spLocks noGrp="1"/>
          </p:cNvSpPr>
          <p:nvPr>
            <p:ph type="pic" sz="quarter" idx="17" hasCustomPrompt="1"/>
          </p:nvPr>
        </p:nvSpPr>
        <p:spPr>
          <a:xfrm>
            <a:off x="8140700" y="0"/>
            <a:ext cx="4051300" cy="6871252"/>
          </a:xfrm>
          <a:solidFill>
            <a:schemeClr val="bg1">
              <a:lumMod val="85000"/>
            </a:schemeClr>
          </a:solidFill>
        </p:spPr>
        <p:txBody>
          <a:bodyPr lIns="36000" tIns="36000"/>
          <a:lstStyle>
            <a:lvl1pPr marL="1270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300">
                <a:solidFill>
                  <a:schemeClr val="tx2"/>
                </a:solidFill>
              </a:defRPr>
            </a:lvl1pPr>
          </a:lstStyle>
          <a:p>
            <a:pPr marL="1270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noProof="0"/>
              <a:t>Click on the icon to add an image</a:t>
            </a:r>
          </a:p>
          <a:p>
            <a:endParaRPr lang="en-US" noProof="0"/>
          </a:p>
        </p:txBody>
      </p:sp>
      <p:sp>
        <p:nvSpPr>
          <p:cNvPr id="21" name="Text Placeholder 18">
            <a:extLst>
              <a:ext uri="{FF2B5EF4-FFF2-40B4-BE49-F238E27FC236}">
                <a16:creationId xmlns:a16="http://schemas.microsoft.com/office/drawing/2014/main" id="{50055E5E-7191-EB40-B5EB-0E791AADEDE6}"/>
              </a:ext>
            </a:extLst>
          </p:cNvPr>
          <p:cNvSpPr>
            <a:spLocks noGrp="1"/>
          </p:cNvSpPr>
          <p:nvPr>
            <p:ph type="body" sz="quarter" idx="14" hasCustomPrompt="1"/>
          </p:nvPr>
        </p:nvSpPr>
        <p:spPr>
          <a:xfrm>
            <a:off x="576000" y="2661138"/>
            <a:ext cx="5520000" cy="982858"/>
          </a:xfrm>
          <a:prstGeom prst="rect">
            <a:avLst/>
          </a:prstGeom>
        </p:spPr>
        <p:txBody>
          <a:bodyPr anchor="b">
            <a:noAutofit/>
          </a:bodyPr>
          <a:lstStyle>
            <a:lvl1pPr marL="0" indent="0">
              <a:lnSpc>
                <a:spcPct val="85000"/>
              </a:lnSpc>
              <a:spcBef>
                <a:spcPts val="0"/>
              </a:spcBef>
              <a:buNone/>
              <a:defRPr sz="3600" spc="40" baseline="0">
                <a:solidFill>
                  <a:schemeClr val="tx2"/>
                </a:solidFill>
              </a:defRPr>
            </a:lvl1pPr>
          </a:lstStyle>
          <a:p>
            <a:pPr lvl="0"/>
            <a:r>
              <a:rPr lang="en-US" noProof="0"/>
              <a:t>Click to add a headline </a:t>
            </a:r>
            <a:br>
              <a:rPr lang="en-US" noProof="0"/>
            </a:br>
            <a:r>
              <a:rPr lang="en-US" noProof="0"/>
              <a:t>of maximum two lines</a:t>
            </a:r>
          </a:p>
        </p:txBody>
      </p:sp>
      <p:sp>
        <p:nvSpPr>
          <p:cNvPr id="15" name="textruta 5">
            <a:extLst>
              <a:ext uri="{FF2B5EF4-FFF2-40B4-BE49-F238E27FC236}">
                <a16:creationId xmlns:a16="http://schemas.microsoft.com/office/drawing/2014/main" id="{5BB9A0DA-E9F3-704C-BDCF-FC259DAC129A}"/>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6" name="textruta 15">
            <a:extLst>
              <a:ext uri="{FF2B5EF4-FFF2-40B4-BE49-F238E27FC236}">
                <a16:creationId xmlns:a16="http://schemas.microsoft.com/office/drawing/2014/main" id="{DE5DD293-B27B-7A43-85D7-BD43BA586097}"/>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7" name="Rektangel 16">
            <a:extLst>
              <a:ext uri="{FF2B5EF4-FFF2-40B4-BE49-F238E27FC236}">
                <a16:creationId xmlns:a16="http://schemas.microsoft.com/office/drawing/2014/main" id="{A750B50A-9D17-1447-8213-B2935EA38090}"/>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ktangel 18">
            <a:extLst>
              <a:ext uri="{FF2B5EF4-FFF2-40B4-BE49-F238E27FC236}">
                <a16:creationId xmlns:a16="http://schemas.microsoft.com/office/drawing/2014/main" id="{805FC0CB-297F-3541-A68A-BD42D3187508}"/>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Platshållare för datum 3">
            <a:extLst>
              <a:ext uri="{FF2B5EF4-FFF2-40B4-BE49-F238E27FC236}">
                <a16:creationId xmlns:a16="http://schemas.microsoft.com/office/drawing/2014/main" id="{C1E656AC-D790-6747-BBCB-773F08CF7103}"/>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B41BEC2-AFFD-462A-B3D1-894D187B5171}" type="datetime1">
              <a:rPr lang="en-US" smtClean="0"/>
              <a:t>11/7/2025</a:t>
            </a:fld>
            <a:endParaRPr lang="en-US"/>
          </a:p>
        </p:txBody>
      </p:sp>
      <p:sp>
        <p:nvSpPr>
          <p:cNvPr id="13" name="Platshållare för sidfot 4">
            <a:extLst>
              <a:ext uri="{FF2B5EF4-FFF2-40B4-BE49-F238E27FC236}">
                <a16:creationId xmlns:a16="http://schemas.microsoft.com/office/drawing/2014/main" id="{40B4A8CA-2E45-A045-B4BB-84023FBA6237}"/>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nb-NO"/>
              <a:t>Skanska Norge Hovedpresentasjon - desember 2022</a:t>
            </a:r>
            <a:endParaRPr lang="en-US"/>
          </a:p>
        </p:txBody>
      </p:sp>
      <p:sp>
        <p:nvSpPr>
          <p:cNvPr id="14" name="Platshållare för bildnummer 5">
            <a:extLst>
              <a:ext uri="{FF2B5EF4-FFF2-40B4-BE49-F238E27FC236}">
                <a16:creationId xmlns:a16="http://schemas.microsoft.com/office/drawing/2014/main" id="{C3BE8E53-4D78-2E41-90C4-8F359A150CF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smtClean="0"/>
              <a:pPr/>
              <a:t>‹#›</a:t>
            </a:fld>
            <a:endParaRPr lang="en-US"/>
          </a:p>
        </p:txBody>
      </p:sp>
      <p:grpSp>
        <p:nvGrpSpPr>
          <p:cNvPr id="20" name="Grupp 32">
            <a:extLst>
              <a:ext uri="{FF2B5EF4-FFF2-40B4-BE49-F238E27FC236}">
                <a16:creationId xmlns:a16="http://schemas.microsoft.com/office/drawing/2014/main" id="{AF3ED186-03E9-BF49-9B8A-A3A46C27486D}"/>
              </a:ext>
            </a:extLst>
          </p:cNvPr>
          <p:cNvGrpSpPr/>
          <p:nvPr userDrawn="1"/>
        </p:nvGrpSpPr>
        <p:grpSpPr>
          <a:xfrm>
            <a:off x="576140" y="6451484"/>
            <a:ext cx="615478" cy="91194"/>
            <a:chOff x="576140" y="6451484"/>
            <a:chExt cx="615478" cy="91194"/>
          </a:xfrm>
          <a:solidFill>
            <a:schemeClr val="tx2"/>
          </a:solidFill>
        </p:grpSpPr>
        <p:sp>
          <p:nvSpPr>
            <p:cNvPr id="22" name="Bild 2">
              <a:extLst>
                <a:ext uri="{FF2B5EF4-FFF2-40B4-BE49-F238E27FC236}">
                  <a16:creationId xmlns:a16="http://schemas.microsoft.com/office/drawing/2014/main" id="{5D042DC5-C8A9-A442-8F32-57CD5268BF38}"/>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49009F17-D779-5145-9AC9-A4741D09DA8A}"/>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EAF2DB5F-29AA-F344-B820-7625411CFA14}"/>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5" name="Bild 2">
              <a:extLst>
                <a:ext uri="{FF2B5EF4-FFF2-40B4-BE49-F238E27FC236}">
                  <a16:creationId xmlns:a16="http://schemas.microsoft.com/office/drawing/2014/main" id="{3D982866-6026-7843-B715-D5599284755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6" name="Bild 2">
              <a:extLst>
                <a:ext uri="{FF2B5EF4-FFF2-40B4-BE49-F238E27FC236}">
                  <a16:creationId xmlns:a16="http://schemas.microsoft.com/office/drawing/2014/main" id="{915BDE88-4874-DF43-B095-7EDD389D143D}"/>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E7B51E0D-BC49-D54F-9169-3AEFCD179A18}"/>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B673B569-AEC2-0F44-9550-4C24E96FE9F4}"/>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30" name="Text Placeholder 4">
            <a:extLst>
              <a:ext uri="{FF2B5EF4-FFF2-40B4-BE49-F238E27FC236}">
                <a16:creationId xmlns:a16="http://schemas.microsoft.com/office/drawing/2014/main" id="{378DBF66-B159-FE4E-AD15-AFE89C32D5EE}"/>
              </a:ext>
            </a:extLst>
          </p:cNvPr>
          <p:cNvSpPr>
            <a:spLocks noGrp="1"/>
          </p:cNvSpPr>
          <p:nvPr>
            <p:ph type="body" sz="quarter" idx="18"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3056375854"/>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 Chapter Slide Image">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CBA7EE4-EB8C-8F45-95DB-49CBDE2D978D}"/>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1" name="Text Placeholder 18">
            <a:extLst>
              <a:ext uri="{FF2B5EF4-FFF2-40B4-BE49-F238E27FC236}">
                <a16:creationId xmlns:a16="http://schemas.microsoft.com/office/drawing/2014/main" id="{9E632AA3-7BD2-F044-BBB9-1D2351901556}"/>
              </a:ext>
            </a:extLst>
          </p:cNvPr>
          <p:cNvSpPr>
            <a:spLocks noGrp="1"/>
          </p:cNvSpPr>
          <p:nvPr>
            <p:ph type="body" sz="quarter" idx="14" hasCustomPrompt="1"/>
          </p:nvPr>
        </p:nvSpPr>
        <p:spPr>
          <a:xfrm>
            <a:off x="576000" y="2661138"/>
            <a:ext cx="5520000" cy="982858"/>
          </a:xfrm>
          <a:prstGeom prst="rect">
            <a:avLst/>
          </a:prstGeom>
        </p:spPr>
        <p:txBody>
          <a:bodyPr anchor="b">
            <a:noAutofit/>
          </a:bodyPr>
          <a:lstStyle>
            <a:lvl1pPr marL="0" indent="0">
              <a:lnSpc>
                <a:spcPct val="85000"/>
              </a:lnSpc>
              <a:spcBef>
                <a:spcPts val="0"/>
              </a:spcBef>
              <a:buNone/>
              <a:defRPr sz="3600" spc="40" baseline="0">
                <a:solidFill>
                  <a:schemeClr val="bg1"/>
                </a:solidFill>
              </a:defRPr>
            </a:lvl1pPr>
          </a:lstStyle>
          <a:p>
            <a:pPr lvl="0"/>
            <a:r>
              <a:rPr lang="en-US" noProof="0"/>
              <a:t>Click to add a headline </a:t>
            </a:r>
            <a:br>
              <a:rPr lang="en-US" noProof="0"/>
            </a:br>
            <a:r>
              <a:rPr lang="en-US" noProof="0"/>
              <a:t>of maximum two lines</a:t>
            </a:r>
          </a:p>
        </p:txBody>
      </p:sp>
      <p:sp>
        <p:nvSpPr>
          <p:cNvPr id="9" name="textruta 5">
            <a:extLst>
              <a:ext uri="{FF2B5EF4-FFF2-40B4-BE49-F238E27FC236}">
                <a16:creationId xmlns:a16="http://schemas.microsoft.com/office/drawing/2014/main" id="{FC83AE35-878B-F54A-AFFF-15CF59CCA970}"/>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0" name="textruta 9">
            <a:extLst>
              <a:ext uri="{FF2B5EF4-FFF2-40B4-BE49-F238E27FC236}">
                <a16:creationId xmlns:a16="http://schemas.microsoft.com/office/drawing/2014/main" id="{8847623D-7CF8-354F-90BA-8A886C948F9B}"/>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2" name="Rektangel 11">
            <a:extLst>
              <a:ext uri="{FF2B5EF4-FFF2-40B4-BE49-F238E27FC236}">
                <a16:creationId xmlns:a16="http://schemas.microsoft.com/office/drawing/2014/main" id="{3B9D092F-3826-0D44-BE12-8BDC39E229EF}"/>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Rektangel 12">
            <a:extLst>
              <a:ext uri="{FF2B5EF4-FFF2-40B4-BE49-F238E27FC236}">
                <a16:creationId xmlns:a16="http://schemas.microsoft.com/office/drawing/2014/main" id="{EAF63052-34D6-4B45-BFD9-6062FD759EA4}"/>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Platshållare för datum 3">
            <a:extLst>
              <a:ext uri="{FF2B5EF4-FFF2-40B4-BE49-F238E27FC236}">
                <a16:creationId xmlns:a16="http://schemas.microsoft.com/office/drawing/2014/main" id="{F4416C58-A6AA-C94C-8C8A-86F42C888BE2}"/>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1D8A6951-CDC8-49B8-B932-90888E0025B5}" type="datetime1">
              <a:rPr lang="en-US" smtClean="0"/>
              <a:t>11/7/2025</a:t>
            </a:fld>
            <a:endParaRPr lang="en-US"/>
          </a:p>
        </p:txBody>
      </p:sp>
      <p:sp>
        <p:nvSpPr>
          <p:cNvPr id="15" name="Platshållare för sidfot 4">
            <a:extLst>
              <a:ext uri="{FF2B5EF4-FFF2-40B4-BE49-F238E27FC236}">
                <a16:creationId xmlns:a16="http://schemas.microsoft.com/office/drawing/2014/main" id="{AADA9FE3-6667-C34F-A267-E7ABD2B40D83}"/>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nb-NO"/>
              <a:t>Skanska Norge Hovedpresentasjon - desember 2022</a:t>
            </a:r>
            <a:endParaRPr lang="en-US"/>
          </a:p>
        </p:txBody>
      </p:sp>
      <p:sp>
        <p:nvSpPr>
          <p:cNvPr id="16" name="Platshållare för bildnummer 5">
            <a:extLst>
              <a:ext uri="{FF2B5EF4-FFF2-40B4-BE49-F238E27FC236}">
                <a16:creationId xmlns:a16="http://schemas.microsoft.com/office/drawing/2014/main" id="{614442EC-CDBE-5D44-AF43-E14C53E2E85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18" name="Text Placeholder 4">
            <a:extLst>
              <a:ext uri="{FF2B5EF4-FFF2-40B4-BE49-F238E27FC236}">
                <a16:creationId xmlns:a16="http://schemas.microsoft.com/office/drawing/2014/main" id="{A821A6FF-8152-7648-AA0D-49C723505D2B}"/>
              </a:ext>
            </a:extLst>
          </p:cNvPr>
          <p:cNvSpPr>
            <a:spLocks noGrp="1"/>
          </p:cNvSpPr>
          <p:nvPr>
            <p:ph type="body" sz="quarter" idx="15"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44514897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 Agenda Image">
    <p:bg>
      <p:bgPr>
        <a:solidFill>
          <a:schemeClr val="tx2"/>
        </a:solidFill>
        <a:effectLst/>
      </p:bgPr>
    </p:bg>
    <p:spTree>
      <p:nvGrpSpPr>
        <p:cNvPr id="1" name=""/>
        <p:cNvGrpSpPr/>
        <p:nvPr/>
      </p:nvGrpSpPr>
      <p:grpSpPr>
        <a:xfrm>
          <a:off x="0" y="0"/>
          <a:ext cx="0" cy="0"/>
          <a:chOff x="0" y="0"/>
          <a:chExt cx="0" cy="0"/>
        </a:xfrm>
      </p:grpSpPr>
      <p:sp>
        <p:nvSpPr>
          <p:cNvPr id="39" name="Picture Placeholder 38">
            <a:extLst>
              <a:ext uri="{FF2B5EF4-FFF2-40B4-BE49-F238E27FC236}">
                <a16:creationId xmlns:a16="http://schemas.microsoft.com/office/drawing/2014/main" id="{9E321D00-36B4-854A-96FD-995EBC9F18B5}"/>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Click on the icon to add an image</a:t>
            </a: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5367178" cy="461527"/>
          </a:xfrm>
          <a:prstGeom prst="rect">
            <a:avLst/>
          </a:prstGeom>
        </p:spPr>
        <p:txBody>
          <a:bodyPr anchor="t">
            <a:noAutofit/>
          </a:bodyPr>
          <a:lstStyle>
            <a:lvl1pPr marL="0" indent="0">
              <a:lnSpc>
                <a:spcPct val="85000"/>
              </a:lnSpc>
              <a:spcBef>
                <a:spcPts val="0"/>
              </a:spcBef>
              <a:buNone/>
              <a:defRPr sz="3600" spc="40" baseline="0">
                <a:solidFill>
                  <a:schemeClr val="accent1"/>
                </a:solidFill>
              </a:defRPr>
            </a:lvl1pPr>
          </a:lstStyle>
          <a:p>
            <a:pPr lvl="0"/>
            <a:r>
              <a:rPr lang="en-US" noProof="0"/>
              <a:t>Click for a short headline </a:t>
            </a:r>
          </a:p>
        </p:txBody>
      </p:sp>
      <p:sp>
        <p:nvSpPr>
          <p:cNvPr id="40" name="Text Placeholder 8">
            <a:extLst>
              <a:ext uri="{FF2B5EF4-FFF2-40B4-BE49-F238E27FC236}">
                <a16:creationId xmlns:a16="http://schemas.microsoft.com/office/drawing/2014/main" id="{71F6E362-8923-6340-A1FF-64BF191D73D7}"/>
              </a:ext>
            </a:extLst>
          </p:cNvPr>
          <p:cNvSpPr>
            <a:spLocks noGrp="1"/>
          </p:cNvSpPr>
          <p:nvPr>
            <p:ph type="body" sz="quarter" idx="15" hasCustomPrompt="1"/>
          </p:nvPr>
        </p:nvSpPr>
        <p:spPr>
          <a:xfrm>
            <a:off x="576263" y="1746000"/>
            <a:ext cx="3481387" cy="4391999"/>
          </a:xfrm>
        </p:spPr>
        <p:txBody>
          <a:bodyPr/>
          <a:lstStyle>
            <a:lvl1pPr marL="342000" indent="-342000">
              <a:lnSpc>
                <a:spcPct val="100000"/>
              </a:lnSpc>
              <a:spcBef>
                <a:spcPts val="0"/>
              </a:spcBef>
              <a:spcAft>
                <a:spcPts val="1000"/>
              </a:spcAft>
              <a:buFont typeface="+mj-lt"/>
              <a:buAutoNum type="arabicPeriod"/>
              <a:defRPr sz="1800" spc="40" baseline="0"/>
            </a:lvl1pPr>
            <a:lvl2pPr marL="342000" indent="-342000">
              <a:lnSpc>
                <a:spcPct val="100000"/>
              </a:lnSpc>
              <a:spcAft>
                <a:spcPts val="1000"/>
              </a:spcAft>
              <a:tabLst/>
              <a:defRPr sz="1800" spc="40" baseline="0"/>
            </a:lvl2pPr>
            <a:lvl3pPr>
              <a:defRPr sz="1400" spc="40" baseline="0"/>
            </a:lvl3pPr>
            <a:lvl4pPr>
              <a:defRPr sz="1200" spc="40" baseline="0"/>
            </a:lvl4pPr>
            <a:lvl5pPr>
              <a:defRPr sz="1100" spc="40" baseline="0"/>
            </a:lvl5pPr>
          </a:lstStyle>
          <a:p>
            <a:pPr lvl="0"/>
            <a:r>
              <a:rPr lang="en-US" noProof="0"/>
              <a:t>Click for agenda</a:t>
            </a:r>
          </a:p>
        </p:txBody>
      </p:sp>
      <p:sp>
        <p:nvSpPr>
          <p:cNvPr id="8" name="textruta 5">
            <a:extLst>
              <a:ext uri="{FF2B5EF4-FFF2-40B4-BE49-F238E27FC236}">
                <a16:creationId xmlns:a16="http://schemas.microsoft.com/office/drawing/2014/main" id="{52378F2C-FB46-444B-B9E1-375B7ADD4B13}"/>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83DB998B-6166-B149-AE9C-B422BE1B47A4}"/>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9EEE8BC0-6652-EC43-AA7F-F1FAA638F0F5}"/>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2330825F-2C3A-E940-8BCE-84CDB2959E3C}"/>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Platshållare för datum 3">
            <a:extLst>
              <a:ext uri="{FF2B5EF4-FFF2-40B4-BE49-F238E27FC236}">
                <a16:creationId xmlns:a16="http://schemas.microsoft.com/office/drawing/2014/main" id="{AD14E924-4B6E-E044-956D-07AF9BDB57AC}"/>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64FB35BB-18AB-441B-AFA7-7AD094C305AD}" type="datetime1">
              <a:rPr lang="en-US" noProof="0" smtClean="0"/>
              <a:t>11/7/2025</a:t>
            </a:fld>
            <a:endParaRPr lang="en-US" noProof="0"/>
          </a:p>
        </p:txBody>
      </p:sp>
      <p:sp>
        <p:nvSpPr>
          <p:cNvPr id="13" name="Platshållare för sidfot 4">
            <a:extLst>
              <a:ext uri="{FF2B5EF4-FFF2-40B4-BE49-F238E27FC236}">
                <a16:creationId xmlns:a16="http://schemas.microsoft.com/office/drawing/2014/main" id="{28AD8562-F435-1A48-9C6F-90DF02615EC9}"/>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nb-NO" noProof="0"/>
              <a:t>Skanska Norge Hovedpresentasjon - desember 2022</a:t>
            </a:r>
            <a:endParaRPr lang="en-US" noProof="0"/>
          </a:p>
        </p:txBody>
      </p:sp>
      <p:sp>
        <p:nvSpPr>
          <p:cNvPr id="14" name="Platshållare för bildnummer 5">
            <a:extLst>
              <a:ext uri="{FF2B5EF4-FFF2-40B4-BE49-F238E27FC236}">
                <a16:creationId xmlns:a16="http://schemas.microsoft.com/office/drawing/2014/main" id="{8B527D98-9E89-F146-9E47-C60DCD8A4390}"/>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16" name="Text Placeholder 4">
            <a:extLst>
              <a:ext uri="{FF2B5EF4-FFF2-40B4-BE49-F238E27FC236}">
                <a16:creationId xmlns:a16="http://schemas.microsoft.com/office/drawing/2014/main" id="{8AAA2FCE-F264-5543-8138-9D199FF97531}"/>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99164349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 Agenda 2 Columns Image">
    <p:bg>
      <p:bgPr>
        <a:solidFill>
          <a:schemeClr val="bg1"/>
        </a:solidFill>
        <a:effectLst/>
      </p:bgPr>
    </p:bg>
    <p:spTree>
      <p:nvGrpSpPr>
        <p:cNvPr id="1" name=""/>
        <p:cNvGrpSpPr/>
        <p:nvPr/>
      </p:nvGrpSpPr>
      <p:grpSpPr>
        <a:xfrm>
          <a:off x="0" y="0"/>
          <a:ext cx="0" cy="0"/>
          <a:chOff x="0" y="0"/>
          <a:chExt cx="0" cy="0"/>
        </a:xfrm>
      </p:grpSpPr>
      <p:sp>
        <p:nvSpPr>
          <p:cNvPr id="39" name="Picture Placeholder 38">
            <a:extLst>
              <a:ext uri="{FF2B5EF4-FFF2-40B4-BE49-F238E27FC236}">
                <a16:creationId xmlns:a16="http://schemas.microsoft.com/office/drawing/2014/main" id="{9E321D00-36B4-854A-96FD-995EBC9F18B5}"/>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5367178" cy="377279"/>
          </a:xfrm>
          <a:prstGeom prst="rect">
            <a:avLst/>
          </a:prstGeom>
        </p:spPr>
        <p:txBody>
          <a:bodyPr anchor="t">
            <a:noAutofit/>
          </a:bodyPr>
          <a:lstStyle>
            <a:lvl1pPr marL="0" indent="0">
              <a:lnSpc>
                <a:spcPct val="85000"/>
              </a:lnSpc>
              <a:spcBef>
                <a:spcPts val="0"/>
              </a:spcBef>
              <a:buNone/>
              <a:defRPr sz="3600" spc="40" baseline="0">
                <a:solidFill>
                  <a:schemeClr val="bg1"/>
                </a:solidFill>
              </a:defRPr>
            </a:lvl1pPr>
          </a:lstStyle>
          <a:p>
            <a:pPr lvl="0"/>
            <a:r>
              <a:rPr lang="en-US" noProof="0"/>
              <a:t>Click for a short headline </a:t>
            </a:r>
          </a:p>
        </p:txBody>
      </p:sp>
      <p:sp>
        <p:nvSpPr>
          <p:cNvPr id="9" name="Text Placeholder 8">
            <a:extLst>
              <a:ext uri="{FF2B5EF4-FFF2-40B4-BE49-F238E27FC236}">
                <a16:creationId xmlns:a16="http://schemas.microsoft.com/office/drawing/2014/main" id="{A02FE398-BCDE-144D-BB12-B6AB8C96E842}"/>
              </a:ext>
            </a:extLst>
          </p:cNvPr>
          <p:cNvSpPr>
            <a:spLocks noGrp="1"/>
          </p:cNvSpPr>
          <p:nvPr>
            <p:ph type="body" sz="quarter" idx="15" hasCustomPrompt="1"/>
          </p:nvPr>
        </p:nvSpPr>
        <p:spPr>
          <a:xfrm>
            <a:off x="576263" y="1746000"/>
            <a:ext cx="7253287" cy="4391999"/>
          </a:xfrm>
        </p:spPr>
        <p:txBody>
          <a:bodyPr numCol="2" spcCol="288000"/>
          <a:lstStyle>
            <a:lvl1pPr marL="342000" indent="-342000">
              <a:lnSpc>
                <a:spcPct val="100000"/>
              </a:lnSpc>
              <a:spcBef>
                <a:spcPts val="0"/>
              </a:spcBef>
              <a:spcAft>
                <a:spcPts val="1000"/>
              </a:spcAft>
              <a:buFont typeface="+mj-lt"/>
              <a:buAutoNum type="arabicPeriod"/>
              <a:defRPr sz="1800" spc="40" baseline="0">
                <a:solidFill>
                  <a:schemeClr val="bg1"/>
                </a:solidFill>
              </a:defRPr>
            </a:lvl1pPr>
            <a:lvl2pPr marL="342000" indent="-342000">
              <a:lnSpc>
                <a:spcPct val="100000"/>
              </a:lnSpc>
              <a:spcBef>
                <a:spcPts val="0"/>
              </a:spcBef>
              <a:spcAft>
                <a:spcPts val="1000"/>
              </a:spcAft>
              <a:tabLst/>
              <a:defRPr sz="1800" spc="40" baseline="0">
                <a:solidFill>
                  <a:schemeClr val="bg1"/>
                </a:solidFill>
              </a:defRPr>
            </a:lvl2pPr>
            <a:lvl3pPr>
              <a:defRPr sz="1400" spc="40" baseline="0">
                <a:solidFill>
                  <a:schemeClr val="bg1"/>
                </a:solidFill>
              </a:defRPr>
            </a:lvl3pPr>
            <a:lvl4pPr>
              <a:defRPr sz="1200" spc="40" baseline="0">
                <a:solidFill>
                  <a:schemeClr val="bg1"/>
                </a:solidFill>
              </a:defRPr>
            </a:lvl4pPr>
            <a:lvl5pPr>
              <a:defRPr sz="1100" spc="40" baseline="0">
                <a:solidFill>
                  <a:schemeClr val="bg1"/>
                </a:solidFill>
              </a:defRPr>
            </a:lvl5pPr>
          </a:lstStyle>
          <a:p>
            <a:pPr lvl="0"/>
            <a:r>
              <a:rPr lang="en-US" noProof="0"/>
              <a:t>Click for agenda</a:t>
            </a:r>
          </a:p>
        </p:txBody>
      </p:sp>
      <p:sp>
        <p:nvSpPr>
          <p:cNvPr id="8" name="textruta 5">
            <a:extLst>
              <a:ext uri="{FF2B5EF4-FFF2-40B4-BE49-F238E27FC236}">
                <a16:creationId xmlns:a16="http://schemas.microsoft.com/office/drawing/2014/main" id="{00284F2E-F31D-BF4B-994C-3E331A29D073}"/>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0" name="textruta 9">
            <a:extLst>
              <a:ext uri="{FF2B5EF4-FFF2-40B4-BE49-F238E27FC236}">
                <a16:creationId xmlns:a16="http://schemas.microsoft.com/office/drawing/2014/main" id="{E1BCA37F-BCB7-E04A-BF96-DF2F97908106}"/>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1" name="Rektangel 10">
            <a:extLst>
              <a:ext uri="{FF2B5EF4-FFF2-40B4-BE49-F238E27FC236}">
                <a16:creationId xmlns:a16="http://schemas.microsoft.com/office/drawing/2014/main" id="{81504CAB-86DC-7B40-8E88-8772421ABA81}"/>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ktangel 11">
            <a:extLst>
              <a:ext uri="{FF2B5EF4-FFF2-40B4-BE49-F238E27FC236}">
                <a16:creationId xmlns:a16="http://schemas.microsoft.com/office/drawing/2014/main" id="{F7F99CA5-DEDA-AF48-B232-7095F0A1D6DD}"/>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Platshållare för datum 3">
            <a:extLst>
              <a:ext uri="{FF2B5EF4-FFF2-40B4-BE49-F238E27FC236}">
                <a16:creationId xmlns:a16="http://schemas.microsoft.com/office/drawing/2014/main" id="{A95B9798-476C-D144-8E9A-D4892976764B}"/>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49DB5C58-FEF6-4E65-8193-AA3B1F9F7DF5}" type="datetime1">
              <a:rPr lang="en-US" smtClean="0"/>
              <a:t>11/7/2025</a:t>
            </a:fld>
            <a:endParaRPr lang="en-US"/>
          </a:p>
        </p:txBody>
      </p:sp>
      <p:sp>
        <p:nvSpPr>
          <p:cNvPr id="14" name="Platshållare för sidfot 4">
            <a:extLst>
              <a:ext uri="{FF2B5EF4-FFF2-40B4-BE49-F238E27FC236}">
                <a16:creationId xmlns:a16="http://schemas.microsoft.com/office/drawing/2014/main" id="{362F5EB4-87A5-8D4D-91EB-B5981406F21D}"/>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nb-NO"/>
              <a:t>Skanska Norge Hovedpresentasjon - desember 2022</a:t>
            </a:r>
            <a:endParaRPr lang="en-US"/>
          </a:p>
        </p:txBody>
      </p:sp>
      <p:sp>
        <p:nvSpPr>
          <p:cNvPr id="15" name="Platshållare för bildnummer 5">
            <a:extLst>
              <a:ext uri="{FF2B5EF4-FFF2-40B4-BE49-F238E27FC236}">
                <a16:creationId xmlns:a16="http://schemas.microsoft.com/office/drawing/2014/main" id="{1B211A98-A085-6149-BADD-E3AF539B746D}"/>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17" name="Text Placeholder 4">
            <a:extLst>
              <a:ext uri="{FF2B5EF4-FFF2-40B4-BE49-F238E27FC236}">
                <a16:creationId xmlns:a16="http://schemas.microsoft.com/office/drawing/2014/main" id="{22B95E08-D2D3-1343-AAFC-765955B17A7B}"/>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8798670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Kapittelslide blå - med bilde">
    <p:bg>
      <p:bgPr>
        <a:solidFill>
          <a:schemeClr val="tx2"/>
        </a:solidFill>
        <a:effectLst/>
      </p:bgPr>
    </p:bg>
    <p:spTree>
      <p:nvGrpSpPr>
        <p:cNvPr id="1" name=""/>
        <p:cNvGrpSpPr/>
        <p:nvPr/>
      </p:nvGrpSpPr>
      <p:grpSpPr>
        <a:xfrm>
          <a:off x="0" y="0"/>
          <a:ext cx="0" cy="0"/>
          <a:chOff x="0" y="0"/>
          <a:chExt cx="0" cy="0"/>
        </a:xfrm>
      </p:grpSpPr>
      <p:sp>
        <p:nvSpPr>
          <p:cNvPr id="18" name="Picture Placeholder 1">
            <a:extLst>
              <a:ext uri="{FF2B5EF4-FFF2-40B4-BE49-F238E27FC236}">
                <a16:creationId xmlns:a16="http://schemas.microsoft.com/office/drawing/2014/main" id="{106399E1-1DE8-EE44-81BD-42302CB5679F}"/>
              </a:ext>
            </a:extLst>
          </p:cNvPr>
          <p:cNvSpPr>
            <a:spLocks noGrp="1"/>
          </p:cNvSpPr>
          <p:nvPr>
            <p:ph type="pic" sz="quarter" idx="17" hasCustomPrompt="1"/>
          </p:nvPr>
        </p:nvSpPr>
        <p:spPr>
          <a:xfrm>
            <a:off x="8140700" y="0"/>
            <a:ext cx="4051300" cy="6871252"/>
          </a:xfrm>
          <a:solidFill>
            <a:schemeClr val="bg1">
              <a:lumMod val="85000"/>
            </a:schemeClr>
          </a:solidFill>
        </p:spPr>
        <p:txBody>
          <a:bodyPr lIns="36000" tIns="36000"/>
          <a:lstStyle>
            <a:lvl1pPr marL="1270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300">
                <a:solidFill>
                  <a:schemeClr val="tx2"/>
                </a:solidFill>
              </a:defRPr>
            </a:lvl1pPr>
          </a:lstStyle>
          <a:p>
            <a:r>
              <a:rPr lang="nb-NO" noProof="0" dirty="0"/>
              <a:t>Klikk på ikonet for å legge til et bilde</a:t>
            </a:r>
            <a:endParaRPr lang="en-US" noProof="0" dirty="0"/>
          </a:p>
        </p:txBody>
      </p:sp>
      <p:sp>
        <p:nvSpPr>
          <p:cNvPr id="3" name="Title 2">
            <a:extLst>
              <a:ext uri="{FF2B5EF4-FFF2-40B4-BE49-F238E27FC236}">
                <a16:creationId xmlns:a16="http://schemas.microsoft.com/office/drawing/2014/main" id="{6943CE6D-C6F7-ABD7-3152-AAF2A1E28732}"/>
              </a:ext>
            </a:extLst>
          </p:cNvPr>
          <p:cNvSpPr>
            <a:spLocks noGrp="1"/>
          </p:cNvSpPr>
          <p:nvPr>
            <p:ph type="title" hasCustomPrompt="1"/>
          </p:nvPr>
        </p:nvSpPr>
        <p:spPr>
          <a:xfrm>
            <a:off x="576000" y="2635861"/>
            <a:ext cx="5520000" cy="1008135"/>
          </a:xfrm>
        </p:spPr>
        <p:txBody>
          <a:bodyPr anchor="b"/>
          <a:lstStyle>
            <a:lvl1pPr>
              <a:lnSpc>
                <a:spcPct val="85000"/>
              </a:lnSpc>
              <a:defRPr sz="3200" spc="40" baseline="0">
                <a:solidFill>
                  <a:schemeClr val="bg1"/>
                </a:solidFill>
              </a:defRPr>
            </a:lvl1pPr>
          </a:lstStyle>
          <a:p>
            <a:r>
              <a:rPr lang="nb-NO" dirty="0"/>
              <a:t>Klikk for å legge til en overskrift på maksimalt to linjer</a:t>
            </a:r>
            <a:endParaRPr lang="en-US" dirty="0"/>
          </a:p>
        </p:txBody>
      </p:sp>
      <p:sp>
        <p:nvSpPr>
          <p:cNvPr id="8" name="Text Placeholder 3">
            <a:extLst>
              <a:ext uri="{FF2B5EF4-FFF2-40B4-BE49-F238E27FC236}">
                <a16:creationId xmlns:a16="http://schemas.microsoft.com/office/drawing/2014/main" id="{C1F23FDE-4578-353C-1C75-A0E7F1FDFE9F}"/>
              </a:ext>
            </a:extLst>
          </p:cNvPr>
          <p:cNvSpPr>
            <a:spLocks noGrp="1"/>
          </p:cNvSpPr>
          <p:nvPr>
            <p:ph type="body" sz="quarter" idx="15" hasCustomPrompt="1"/>
          </p:nvPr>
        </p:nvSpPr>
        <p:spPr>
          <a:xfrm>
            <a:off x="576000" y="3801285"/>
            <a:ext cx="3776400" cy="646331"/>
          </a:xfrm>
          <a:prstGeom prst="rect">
            <a:avLst/>
          </a:prstGeom>
        </p:spPr>
        <p:txBody>
          <a:bodyPr anchor="t">
            <a:noAutofit/>
          </a:bodyPr>
          <a:lstStyle>
            <a:lvl1pPr marL="0" indent="0">
              <a:lnSpc>
                <a:spcPct val="100000"/>
              </a:lnSpc>
              <a:spcBef>
                <a:spcPts val="0"/>
              </a:spcBef>
              <a:buNone/>
              <a:defRPr sz="1400" spc="70" baseline="0">
                <a:solidFill>
                  <a:schemeClr val="bg1"/>
                </a:solidFill>
              </a:defRPr>
            </a:lvl1pPr>
          </a:lstStyle>
          <a:p>
            <a:pPr lvl="0"/>
            <a:r>
              <a:rPr lang="nb-NO" noProof="0" dirty="0"/>
              <a:t>Klikk for å legge til navn eller kort informasjon</a:t>
            </a:r>
            <a:endParaRPr lang="en-US" noProof="0" dirty="0"/>
          </a:p>
        </p:txBody>
      </p:sp>
      <p:sp>
        <p:nvSpPr>
          <p:cNvPr id="30" name="Project Text Placeholder 3">
            <a:extLst>
              <a:ext uri="{FF2B5EF4-FFF2-40B4-BE49-F238E27FC236}">
                <a16:creationId xmlns:a16="http://schemas.microsoft.com/office/drawing/2014/main" id="{657B6F63-B2D3-B645-A8B9-059B9204452A}"/>
              </a:ext>
            </a:extLst>
          </p:cNvPr>
          <p:cNvSpPr>
            <a:spLocks noGrp="1"/>
          </p:cNvSpPr>
          <p:nvPr>
            <p:ph type="body" sz="quarter" idx="18" hasCustomPrompt="1"/>
          </p:nvPr>
        </p:nvSpPr>
        <p:spPr>
          <a:xfrm rot="5400000">
            <a:off x="9788686" y="1916687"/>
            <a:ext cx="4320000"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dirty="0" err="1"/>
              <a:t>Prosjekt</a:t>
            </a:r>
            <a:r>
              <a:rPr lang="en-US" dirty="0"/>
              <a:t> By Land</a:t>
            </a:r>
          </a:p>
        </p:txBody>
      </p:sp>
      <p:sp>
        <p:nvSpPr>
          <p:cNvPr id="2" name="Logotype">
            <a:extLst>
              <a:ext uri="{FF2B5EF4-FFF2-40B4-BE49-F238E27FC236}">
                <a16:creationId xmlns:a16="http://schemas.microsoft.com/office/drawing/2014/main" id="{23304C8B-C1B2-972E-1D2A-110DAB529025}"/>
              </a:ext>
            </a:extLst>
          </p:cNvPr>
          <p:cNvSpPr/>
          <p:nvPr userDrawn="1"/>
        </p:nvSpPr>
        <p:spPr>
          <a:xfrm>
            <a:off x="576139" y="6451484"/>
            <a:ext cx="615478" cy="91194"/>
          </a:xfrm>
          <a:custGeom>
            <a:avLst/>
            <a:gdLst>
              <a:gd name="connsiteX0" fmla="*/ 569913 w 615478"/>
              <a:gd name="connsiteY0" fmla="*/ 19054 h 91194"/>
              <a:gd name="connsiteX1" fmla="*/ 558506 w 615478"/>
              <a:gd name="connsiteY1" fmla="*/ 54027 h 91194"/>
              <a:gd name="connsiteX2" fmla="*/ 581696 w 615478"/>
              <a:gd name="connsiteY2" fmla="*/ 54027 h 91194"/>
              <a:gd name="connsiteX3" fmla="*/ 212033 w 615478"/>
              <a:gd name="connsiteY3" fmla="*/ 19054 h 91194"/>
              <a:gd name="connsiteX4" fmla="*/ 200626 w 615478"/>
              <a:gd name="connsiteY4" fmla="*/ 54027 h 91194"/>
              <a:gd name="connsiteX5" fmla="*/ 223816 w 615478"/>
              <a:gd name="connsiteY5" fmla="*/ 54027 h 91194"/>
              <a:gd name="connsiteX6" fmla="*/ 556187 w 615478"/>
              <a:gd name="connsiteY6" fmla="*/ 63 h 91194"/>
              <a:gd name="connsiteX7" fmla="*/ 583012 w 615478"/>
              <a:gd name="connsiteY7" fmla="*/ 63 h 91194"/>
              <a:gd name="connsiteX8" fmla="*/ 615478 w 615478"/>
              <a:gd name="connsiteY8" fmla="*/ 91194 h 91194"/>
              <a:gd name="connsiteX9" fmla="*/ 593604 w 615478"/>
              <a:gd name="connsiteY9" fmla="*/ 91194 h 91194"/>
              <a:gd name="connsiteX10" fmla="*/ 587650 w 615478"/>
              <a:gd name="connsiteY10" fmla="*/ 72580 h 91194"/>
              <a:gd name="connsiteX11" fmla="*/ 552739 w 615478"/>
              <a:gd name="connsiteY11" fmla="*/ 72580 h 91194"/>
              <a:gd name="connsiteX12" fmla="*/ 546973 w 615478"/>
              <a:gd name="connsiteY12" fmla="*/ 91194 h 91194"/>
              <a:gd name="connsiteX13" fmla="*/ 524723 w 615478"/>
              <a:gd name="connsiteY13" fmla="*/ 91194 h 91194"/>
              <a:gd name="connsiteX14" fmla="*/ 385771 w 615478"/>
              <a:gd name="connsiteY14" fmla="*/ 63 h 91194"/>
              <a:gd name="connsiteX15" fmla="*/ 428829 w 615478"/>
              <a:gd name="connsiteY15" fmla="*/ 63 h 91194"/>
              <a:gd name="connsiteX16" fmla="*/ 428829 w 615478"/>
              <a:gd name="connsiteY16" fmla="*/ 19305 h 91194"/>
              <a:gd name="connsiteX17" fmla="*/ 385771 w 615478"/>
              <a:gd name="connsiteY17" fmla="*/ 19305 h 91194"/>
              <a:gd name="connsiteX18" fmla="*/ 377184 w 615478"/>
              <a:gd name="connsiteY18" fmla="*/ 27766 h 91194"/>
              <a:gd name="connsiteX19" fmla="*/ 385771 w 615478"/>
              <a:gd name="connsiteY19" fmla="*/ 36227 h 91194"/>
              <a:gd name="connsiteX20" fmla="*/ 410590 w 615478"/>
              <a:gd name="connsiteY20" fmla="*/ 36227 h 91194"/>
              <a:gd name="connsiteX21" fmla="*/ 435222 w 615478"/>
              <a:gd name="connsiteY21" fmla="*/ 62802 h 91194"/>
              <a:gd name="connsiteX22" fmla="*/ 406579 w 615478"/>
              <a:gd name="connsiteY22" fmla="*/ 91194 h 91194"/>
              <a:gd name="connsiteX23" fmla="*/ 361202 w 615478"/>
              <a:gd name="connsiteY23" fmla="*/ 91194 h 91194"/>
              <a:gd name="connsiteX24" fmla="*/ 361202 w 615478"/>
              <a:gd name="connsiteY24" fmla="*/ 71263 h 91194"/>
              <a:gd name="connsiteX25" fmla="*/ 407331 w 615478"/>
              <a:gd name="connsiteY25" fmla="*/ 71263 h 91194"/>
              <a:gd name="connsiteX26" fmla="*/ 415542 w 615478"/>
              <a:gd name="connsiteY26" fmla="*/ 62802 h 91194"/>
              <a:gd name="connsiteX27" fmla="*/ 407331 w 615478"/>
              <a:gd name="connsiteY27" fmla="*/ 54341 h 91194"/>
              <a:gd name="connsiteX28" fmla="*/ 385771 w 615478"/>
              <a:gd name="connsiteY28" fmla="*/ 54341 h 91194"/>
              <a:gd name="connsiteX29" fmla="*/ 357504 w 615478"/>
              <a:gd name="connsiteY29" fmla="*/ 27766 h 91194"/>
              <a:gd name="connsiteX30" fmla="*/ 385771 w 615478"/>
              <a:gd name="connsiteY30" fmla="*/ 63 h 91194"/>
              <a:gd name="connsiteX31" fmla="*/ 265433 w 615478"/>
              <a:gd name="connsiteY31" fmla="*/ 63 h 91194"/>
              <a:gd name="connsiteX32" fmla="*/ 286931 w 615478"/>
              <a:gd name="connsiteY32" fmla="*/ 63 h 91194"/>
              <a:gd name="connsiteX33" fmla="*/ 323534 w 615478"/>
              <a:gd name="connsiteY33" fmla="*/ 57349 h 91194"/>
              <a:gd name="connsiteX34" fmla="*/ 323534 w 615478"/>
              <a:gd name="connsiteY34" fmla="*/ 63 h 91194"/>
              <a:gd name="connsiteX35" fmla="*/ 344530 w 615478"/>
              <a:gd name="connsiteY35" fmla="*/ 63 h 91194"/>
              <a:gd name="connsiteX36" fmla="*/ 344655 w 615478"/>
              <a:gd name="connsiteY36" fmla="*/ 71514 h 91194"/>
              <a:gd name="connsiteX37" fmla="*/ 344718 w 615478"/>
              <a:gd name="connsiteY37" fmla="*/ 91194 h 91194"/>
              <a:gd name="connsiteX38" fmla="*/ 322844 w 615478"/>
              <a:gd name="connsiteY38" fmla="*/ 91194 h 91194"/>
              <a:gd name="connsiteX39" fmla="*/ 322844 w 615478"/>
              <a:gd name="connsiteY39" fmla="*/ 91006 h 91194"/>
              <a:gd name="connsiteX40" fmla="*/ 286555 w 615478"/>
              <a:gd name="connsiteY40" fmla="*/ 34974 h 91194"/>
              <a:gd name="connsiteX41" fmla="*/ 286555 w 615478"/>
              <a:gd name="connsiteY41" fmla="*/ 91194 h 91194"/>
              <a:gd name="connsiteX42" fmla="*/ 265433 w 615478"/>
              <a:gd name="connsiteY42" fmla="*/ 91194 h 91194"/>
              <a:gd name="connsiteX43" fmla="*/ 198307 w 615478"/>
              <a:gd name="connsiteY43" fmla="*/ 63 h 91194"/>
              <a:gd name="connsiteX44" fmla="*/ 225132 w 615478"/>
              <a:gd name="connsiteY44" fmla="*/ 63 h 91194"/>
              <a:gd name="connsiteX45" fmla="*/ 257598 w 615478"/>
              <a:gd name="connsiteY45" fmla="*/ 91194 h 91194"/>
              <a:gd name="connsiteX46" fmla="*/ 235662 w 615478"/>
              <a:gd name="connsiteY46" fmla="*/ 91194 h 91194"/>
              <a:gd name="connsiteX47" fmla="*/ 229707 w 615478"/>
              <a:gd name="connsiteY47" fmla="*/ 72580 h 91194"/>
              <a:gd name="connsiteX48" fmla="*/ 194797 w 615478"/>
              <a:gd name="connsiteY48" fmla="*/ 72580 h 91194"/>
              <a:gd name="connsiteX49" fmla="*/ 189031 w 615478"/>
              <a:gd name="connsiteY49" fmla="*/ 91194 h 91194"/>
              <a:gd name="connsiteX50" fmla="*/ 166781 w 615478"/>
              <a:gd name="connsiteY50" fmla="*/ 91194 h 91194"/>
              <a:gd name="connsiteX51" fmla="*/ 28267 w 615478"/>
              <a:gd name="connsiteY51" fmla="*/ 63 h 91194"/>
              <a:gd name="connsiteX52" fmla="*/ 71325 w 615478"/>
              <a:gd name="connsiteY52" fmla="*/ 63 h 91194"/>
              <a:gd name="connsiteX53" fmla="*/ 71325 w 615478"/>
              <a:gd name="connsiteY53" fmla="*/ 19305 h 91194"/>
              <a:gd name="connsiteX54" fmla="*/ 28267 w 615478"/>
              <a:gd name="connsiteY54" fmla="*/ 19305 h 91194"/>
              <a:gd name="connsiteX55" fmla="*/ 19680 w 615478"/>
              <a:gd name="connsiteY55" fmla="*/ 27766 h 91194"/>
              <a:gd name="connsiteX56" fmla="*/ 28267 w 615478"/>
              <a:gd name="connsiteY56" fmla="*/ 36227 h 91194"/>
              <a:gd name="connsiteX57" fmla="*/ 53086 w 615478"/>
              <a:gd name="connsiteY57" fmla="*/ 36227 h 91194"/>
              <a:gd name="connsiteX58" fmla="*/ 77655 w 615478"/>
              <a:gd name="connsiteY58" fmla="*/ 62802 h 91194"/>
              <a:gd name="connsiteX59" fmla="*/ 49012 w 615478"/>
              <a:gd name="connsiteY59" fmla="*/ 91194 h 91194"/>
              <a:gd name="connsiteX60" fmla="*/ 3635 w 615478"/>
              <a:gd name="connsiteY60" fmla="*/ 91194 h 91194"/>
              <a:gd name="connsiteX61" fmla="*/ 3635 w 615478"/>
              <a:gd name="connsiteY61" fmla="*/ 71263 h 91194"/>
              <a:gd name="connsiteX62" fmla="*/ 49827 w 615478"/>
              <a:gd name="connsiteY62" fmla="*/ 71263 h 91194"/>
              <a:gd name="connsiteX63" fmla="*/ 58038 w 615478"/>
              <a:gd name="connsiteY63" fmla="*/ 62802 h 91194"/>
              <a:gd name="connsiteX64" fmla="*/ 49827 w 615478"/>
              <a:gd name="connsiteY64" fmla="*/ 54341 h 91194"/>
              <a:gd name="connsiteX65" fmla="*/ 28267 w 615478"/>
              <a:gd name="connsiteY65" fmla="*/ 54341 h 91194"/>
              <a:gd name="connsiteX66" fmla="*/ 0 w 615478"/>
              <a:gd name="connsiteY66" fmla="*/ 27766 h 91194"/>
              <a:gd name="connsiteX67" fmla="*/ 28267 w 615478"/>
              <a:gd name="connsiteY67" fmla="*/ 63 h 91194"/>
              <a:gd name="connsiteX68" fmla="*/ 447820 w 615478"/>
              <a:gd name="connsiteY68" fmla="*/ 0 h 91194"/>
              <a:gd name="connsiteX69" fmla="*/ 468879 w 615478"/>
              <a:gd name="connsiteY69" fmla="*/ 0 h 91194"/>
              <a:gd name="connsiteX70" fmla="*/ 468879 w 615478"/>
              <a:gd name="connsiteY70" fmla="*/ 38483 h 91194"/>
              <a:gd name="connsiteX71" fmla="*/ 498839 w 615478"/>
              <a:gd name="connsiteY71" fmla="*/ 0 h 91194"/>
              <a:gd name="connsiteX72" fmla="*/ 523345 w 615478"/>
              <a:gd name="connsiteY72" fmla="*/ 0 h 91194"/>
              <a:gd name="connsiteX73" fmla="*/ 488873 w 615478"/>
              <a:gd name="connsiteY73" fmla="*/ 45629 h 91194"/>
              <a:gd name="connsiteX74" fmla="*/ 523345 w 615478"/>
              <a:gd name="connsiteY74" fmla="*/ 91194 h 91194"/>
              <a:gd name="connsiteX75" fmla="*/ 498839 w 615478"/>
              <a:gd name="connsiteY75" fmla="*/ 91194 h 91194"/>
              <a:gd name="connsiteX76" fmla="*/ 468879 w 615478"/>
              <a:gd name="connsiteY76" fmla="*/ 52711 h 91194"/>
              <a:gd name="connsiteX77" fmla="*/ 468879 w 615478"/>
              <a:gd name="connsiteY77" fmla="*/ 91194 h 91194"/>
              <a:gd name="connsiteX78" fmla="*/ 447820 w 615478"/>
              <a:gd name="connsiteY78" fmla="*/ 91194 h 91194"/>
              <a:gd name="connsiteX79" fmla="*/ 89940 w 615478"/>
              <a:gd name="connsiteY79" fmla="*/ 0 h 91194"/>
              <a:gd name="connsiteX80" fmla="*/ 110937 w 615478"/>
              <a:gd name="connsiteY80" fmla="*/ 0 h 91194"/>
              <a:gd name="connsiteX81" fmla="*/ 110937 w 615478"/>
              <a:gd name="connsiteY81" fmla="*/ 38483 h 91194"/>
              <a:gd name="connsiteX82" fmla="*/ 140896 w 615478"/>
              <a:gd name="connsiteY82" fmla="*/ 0 h 91194"/>
              <a:gd name="connsiteX83" fmla="*/ 165465 w 615478"/>
              <a:gd name="connsiteY83" fmla="*/ 0 h 91194"/>
              <a:gd name="connsiteX84" fmla="*/ 130930 w 615478"/>
              <a:gd name="connsiteY84" fmla="*/ 45629 h 91194"/>
              <a:gd name="connsiteX85" fmla="*/ 165465 w 615478"/>
              <a:gd name="connsiteY85" fmla="*/ 91194 h 91194"/>
              <a:gd name="connsiteX86" fmla="*/ 140896 w 615478"/>
              <a:gd name="connsiteY86" fmla="*/ 91194 h 91194"/>
              <a:gd name="connsiteX87" fmla="*/ 110937 w 615478"/>
              <a:gd name="connsiteY87" fmla="*/ 52711 h 91194"/>
              <a:gd name="connsiteX88" fmla="*/ 110937 w 615478"/>
              <a:gd name="connsiteY88" fmla="*/ 91194 h 91194"/>
              <a:gd name="connsiteX89" fmla="*/ 89940 w 615478"/>
              <a:gd name="connsiteY89" fmla="*/ 91194 h 9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5478" h="91194">
                <a:moveTo>
                  <a:pt x="569913" y="19054"/>
                </a:moveTo>
                <a:lnTo>
                  <a:pt x="558506" y="54027"/>
                </a:lnTo>
                <a:lnTo>
                  <a:pt x="581696" y="54027"/>
                </a:lnTo>
                <a:close/>
                <a:moveTo>
                  <a:pt x="212033" y="19054"/>
                </a:moveTo>
                <a:lnTo>
                  <a:pt x="200626" y="54027"/>
                </a:lnTo>
                <a:lnTo>
                  <a:pt x="223816" y="54027"/>
                </a:lnTo>
                <a:close/>
                <a:moveTo>
                  <a:pt x="556187" y="63"/>
                </a:moveTo>
                <a:lnTo>
                  <a:pt x="583012" y="63"/>
                </a:lnTo>
                <a:lnTo>
                  <a:pt x="615478" y="91194"/>
                </a:lnTo>
                <a:lnTo>
                  <a:pt x="593604" y="91194"/>
                </a:lnTo>
                <a:lnTo>
                  <a:pt x="587650" y="72580"/>
                </a:lnTo>
                <a:lnTo>
                  <a:pt x="552739" y="72580"/>
                </a:lnTo>
                <a:lnTo>
                  <a:pt x="546973" y="91194"/>
                </a:lnTo>
                <a:lnTo>
                  <a:pt x="524723" y="91194"/>
                </a:lnTo>
                <a:close/>
                <a:moveTo>
                  <a:pt x="385771" y="63"/>
                </a:moveTo>
                <a:lnTo>
                  <a:pt x="428829" y="63"/>
                </a:lnTo>
                <a:lnTo>
                  <a:pt x="428829" y="19305"/>
                </a:lnTo>
                <a:lnTo>
                  <a:pt x="385771" y="19305"/>
                </a:lnTo>
                <a:cubicBezTo>
                  <a:pt x="379942" y="19305"/>
                  <a:pt x="377184" y="23316"/>
                  <a:pt x="377184" y="27766"/>
                </a:cubicBezTo>
                <a:cubicBezTo>
                  <a:pt x="377184" y="32216"/>
                  <a:pt x="379942" y="36227"/>
                  <a:pt x="385771" y="36227"/>
                </a:cubicBezTo>
                <a:lnTo>
                  <a:pt x="410590" y="36227"/>
                </a:lnTo>
                <a:cubicBezTo>
                  <a:pt x="424504" y="36227"/>
                  <a:pt x="435222" y="46130"/>
                  <a:pt x="435222" y="62802"/>
                </a:cubicBezTo>
                <a:cubicBezTo>
                  <a:pt x="435222" y="81292"/>
                  <a:pt x="424567" y="91194"/>
                  <a:pt x="406579" y="91194"/>
                </a:cubicBezTo>
                <a:lnTo>
                  <a:pt x="361202" y="91194"/>
                </a:lnTo>
                <a:lnTo>
                  <a:pt x="361202" y="71263"/>
                </a:lnTo>
                <a:lnTo>
                  <a:pt x="407331" y="71263"/>
                </a:lnTo>
                <a:cubicBezTo>
                  <a:pt x="412784" y="71263"/>
                  <a:pt x="415542" y="67252"/>
                  <a:pt x="415542" y="62802"/>
                </a:cubicBezTo>
                <a:cubicBezTo>
                  <a:pt x="415542" y="58477"/>
                  <a:pt x="412784" y="54341"/>
                  <a:pt x="407331" y="54341"/>
                </a:cubicBezTo>
                <a:lnTo>
                  <a:pt x="385771" y="54341"/>
                </a:lnTo>
                <a:cubicBezTo>
                  <a:pt x="369851" y="54341"/>
                  <a:pt x="357504" y="45190"/>
                  <a:pt x="357504" y="27766"/>
                </a:cubicBezTo>
                <a:cubicBezTo>
                  <a:pt x="357504" y="10342"/>
                  <a:pt x="368222" y="63"/>
                  <a:pt x="385771" y="63"/>
                </a:cubicBezTo>
                <a:close/>
                <a:moveTo>
                  <a:pt x="265433" y="63"/>
                </a:moveTo>
                <a:lnTo>
                  <a:pt x="286931" y="63"/>
                </a:lnTo>
                <a:lnTo>
                  <a:pt x="323534" y="57349"/>
                </a:lnTo>
                <a:lnTo>
                  <a:pt x="323534" y="63"/>
                </a:lnTo>
                <a:lnTo>
                  <a:pt x="344530" y="63"/>
                </a:lnTo>
                <a:lnTo>
                  <a:pt x="344655" y="71514"/>
                </a:lnTo>
                <a:lnTo>
                  <a:pt x="344718" y="91194"/>
                </a:lnTo>
                <a:lnTo>
                  <a:pt x="322844" y="91194"/>
                </a:lnTo>
                <a:lnTo>
                  <a:pt x="322844" y="91006"/>
                </a:lnTo>
                <a:lnTo>
                  <a:pt x="286555" y="34974"/>
                </a:lnTo>
                <a:lnTo>
                  <a:pt x="286555" y="91194"/>
                </a:lnTo>
                <a:lnTo>
                  <a:pt x="265433" y="91194"/>
                </a:lnTo>
                <a:close/>
                <a:moveTo>
                  <a:pt x="198307" y="63"/>
                </a:moveTo>
                <a:lnTo>
                  <a:pt x="225132" y="63"/>
                </a:lnTo>
                <a:lnTo>
                  <a:pt x="257598" y="91194"/>
                </a:lnTo>
                <a:lnTo>
                  <a:pt x="235662" y="91194"/>
                </a:lnTo>
                <a:lnTo>
                  <a:pt x="229707" y="72580"/>
                </a:lnTo>
                <a:lnTo>
                  <a:pt x="194797" y="72580"/>
                </a:lnTo>
                <a:lnTo>
                  <a:pt x="189031" y="91194"/>
                </a:lnTo>
                <a:lnTo>
                  <a:pt x="166781" y="91194"/>
                </a:lnTo>
                <a:close/>
                <a:moveTo>
                  <a:pt x="28267" y="63"/>
                </a:moveTo>
                <a:lnTo>
                  <a:pt x="71325" y="63"/>
                </a:lnTo>
                <a:lnTo>
                  <a:pt x="71325" y="19305"/>
                </a:lnTo>
                <a:lnTo>
                  <a:pt x="28267" y="19305"/>
                </a:lnTo>
                <a:cubicBezTo>
                  <a:pt x="22438" y="19305"/>
                  <a:pt x="19680" y="23316"/>
                  <a:pt x="19680" y="27766"/>
                </a:cubicBezTo>
                <a:cubicBezTo>
                  <a:pt x="19680" y="32216"/>
                  <a:pt x="22438" y="36227"/>
                  <a:pt x="28267" y="36227"/>
                </a:cubicBezTo>
                <a:lnTo>
                  <a:pt x="53086" y="36227"/>
                </a:lnTo>
                <a:cubicBezTo>
                  <a:pt x="67000" y="36227"/>
                  <a:pt x="77655" y="46130"/>
                  <a:pt x="77655" y="62802"/>
                </a:cubicBezTo>
                <a:cubicBezTo>
                  <a:pt x="77655" y="81292"/>
                  <a:pt x="67000" y="91194"/>
                  <a:pt x="49012" y="91194"/>
                </a:cubicBezTo>
                <a:lnTo>
                  <a:pt x="3635" y="91194"/>
                </a:lnTo>
                <a:lnTo>
                  <a:pt x="3635" y="71263"/>
                </a:lnTo>
                <a:lnTo>
                  <a:pt x="49827" y="71263"/>
                </a:lnTo>
                <a:cubicBezTo>
                  <a:pt x="55280" y="71263"/>
                  <a:pt x="58038" y="67252"/>
                  <a:pt x="58038" y="62802"/>
                </a:cubicBezTo>
                <a:cubicBezTo>
                  <a:pt x="58038" y="58477"/>
                  <a:pt x="55280" y="54341"/>
                  <a:pt x="49827" y="54341"/>
                </a:cubicBezTo>
                <a:lnTo>
                  <a:pt x="28267" y="54341"/>
                </a:lnTo>
                <a:cubicBezTo>
                  <a:pt x="12347" y="54341"/>
                  <a:pt x="0" y="45190"/>
                  <a:pt x="0" y="27766"/>
                </a:cubicBezTo>
                <a:cubicBezTo>
                  <a:pt x="0" y="10342"/>
                  <a:pt x="10655" y="63"/>
                  <a:pt x="28267" y="63"/>
                </a:cubicBezTo>
                <a:close/>
                <a:moveTo>
                  <a:pt x="447820" y="0"/>
                </a:moveTo>
                <a:lnTo>
                  <a:pt x="468879" y="0"/>
                </a:lnTo>
                <a:lnTo>
                  <a:pt x="468879" y="38483"/>
                </a:lnTo>
                <a:lnTo>
                  <a:pt x="498839" y="0"/>
                </a:lnTo>
                <a:lnTo>
                  <a:pt x="523345" y="0"/>
                </a:lnTo>
                <a:lnTo>
                  <a:pt x="488873" y="45629"/>
                </a:lnTo>
                <a:lnTo>
                  <a:pt x="523345" y="91194"/>
                </a:lnTo>
                <a:lnTo>
                  <a:pt x="498839" y="91194"/>
                </a:lnTo>
                <a:lnTo>
                  <a:pt x="468879" y="52711"/>
                </a:lnTo>
                <a:lnTo>
                  <a:pt x="468879" y="91194"/>
                </a:lnTo>
                <a:lnTo>
                  <a:pt x="447820" y="91194"/>
                </a:lnTo>
                <a:close/>
                <a:moveTo>
                  <a:pt x="89940" y="0"/>
                </a:moveTo>
                <a:lnTo>
                  <a:pt x="110937" y="0"/>
                </a:lnTo>
                <a:lnTo>
                  <a:pt x="110937" y="38483"/>
                </a:lnTo>
                <a:lnTo>
                  <a:pt x="140896" y="0"/>
                </a:lnTo>
                <a:lnTo>
                  <a:pt x="165465" y="0"/>
                </a:lnTo>
                <a:lnTo>
                  <a:pt x="130930" y="45629"/>
                </a:lnTo>
                <a:lnTo>
                  <a:pt x="165465" y="91194"/>
                </a:lnTo>
                <a:lnTo>
                  <a:pt x="140896" y="91194"/>
                </a:lnTo>
                <a:lnTo>
                  <a:pt x="110937" y="52711"/>
                </a:lnTo>
                <a:lnTo>
                  <a:pt x="110937" y="91194"/>
                </a:lnTo>
                <a:lnTo>
                  <a:pt x="89940" y="91194"/>
                </a:lnTo>
                <a:close/>
              </a:path>
            </a:pathLst>
          </a:custGeom>
          <a:solidFill>
            <a:schemeClr val="bg1"/>
          </a:solidFill>
          <a:ln w="6350" cap="flat">
            <a:noFill/>
            <a:prstDash val="solid"/>
            <a:miter/>
          </a:ln>
        </p:spPr>
        <p:txBody>
          <a:bodyPr wrap="square" rtlCol="0" anchor="ctr">
            <a:noAutofit/>
          </a:bodyPr>
          <a:lstStyle/>
          <a:p>
            <a:endParaRPr lang="en-US" noProof="0">
              <a:solidFill>
                <a:schemeClr val="tx2"/>
              </a:solidFill>
            </a:endParaRPr>
          </a:p>
        </p:txBody>
      </p:sp>
      <p:grpSp>
        <p:nvGrpSpPr>
          <p:cNvPr id="4" name="Instructions">
            <a:extLst>
              <a:ext uri="{FF2B5EF4-FFF2-40B4-BE49-F238E27FC236}">
                <a16:creationId xmlns:a16="http://schemas.microsoft.com/office/drawing/2014/main" id="{5D8CD54A-7589-AE97-4BC4-B7EF06481C22}"/>
              </a:ext>
            </a:extLst>
          </p:cNvPr>
          <p:cNvGrpSpPr/>
          <p:nvPr userDrawn="1"/>
        </p:nvGrpSpPr>
        <p:grpSpPr>
          <a:xfrm>
            <a:off x="12395260" y="-12189"/>
            <a:ext cx="1681523" cy="2112003"/>
            <a:chOff x="12395260" y="-12189"/>
            <a:chExt cx="1681523" cy="2112003"/>
          </a:xfrm>
        </p:grpSpPr>
        <p:sp>
          <p:nvSpPr>
            <p:cNvPr id="15" name="textruta 5">
              <a:extLst>
                <a:ext uri="{FF2B5EF4-FFF2-40B4-BE49-F238E27FC236}">
                  <a16:creationId xmlns:a16="http://schemas.microsoft.com/office/drawing/2014/main" id="{5BB9A0DA-E9F3-704C-BDCF-FC259DAC129A}"/>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6" name="textruta 15">
              <a:extLst>
                <a:ext uri="{FF2B5EF4-FFF2-40B4-BE49-F238E27FC236}">
                  <a16:creationId xmlns:a16="http://schemas.microsoft.com/office/drawing/2014/main" id="{DE5DD293-B27B-7A43-85D7-BD43BA586097}"/>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7" name="Rektangel 16">
              <a:extLst>
                <a:ext uri="{FF2B5EF4-FFF2-40B4-BE49-F238E27FC236}">
                  <a16:creationId xmlns:a16="http://schemas.microsoft.com/office/drawing/2014/main" id="{A750B50A-9D17-1447-8213-B2935EA38090}"/>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ktangel 18">
              <a:extLst>
                <a:ext uri="{FF2B5EF4-FFF2-40B4-BE49-F238E27FC236}">
                  <a16:creationId xmlns:a16="http://schemas.microsoft.com/office/drawing/2014/main" id="{805FC0CB-297F-3541-A68A-BD42D3187508}"/>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Tree>
    <p:extLst>
      <p:ext uri="{BB962C8B-B14F-4D97-AF65-F5344CB8AC3E}">
        <p14:creationId xmlns:p14="http://schemas.microsoft.com/office/powerpoint/2010/main" val="137147781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 Quote Slide Image">
    <p:bg>
      <p:bgPr>
        <a:solidFill>
          <a:schemeClr val="tx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CBA7EE4-EB8C-8F45-95DB-49CBDE2D978D}"/>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1852246"/>
            <a:ext cx="7253550" cy="2312681"/>
          </a:xfrm>
          <a:prstGeom prst="rect">
            <a:avLst/>
          </a:prstGeom>
        </p:spPr>
        <p:txBody>
          <a:bodyPr anchor="b">
            <a:noAutofit/>
          </a:bodyPr>
          <a:lstStyle>
            <a:lvl1pPr marL="0" indent="0" algn="l">
              <a:lnSpc>
                <a:spcPct val="90000"/>
              </a:lnSpc>
              <a:spcBef>
                <a:spcPts val="0"/>
              </a:spcBef>
              <a:buNone/>
              <a:defRPr sz="3600" spc="40" baseline="0">
                <a:solidFill>
                  <a:schemeClr val="tx2"/>
                </a:solidFill>
              </a:defRPr>
            </a:lvl1pPr>
          </a:lstStyle>
          <a:p>
            <a:pPr lvl="0"/>
            <a:r>
              <a:rPr lang="en-US" noProof="0"/>
              <a:t>Click to add a quotation </a:t>
            </a:r>
            <a:br>
              <a:rPr lang="en-US" noProof="0"/>
            </a:br>
            <a:r>
              <a:rPr lang="en-US" noProof="0"/>
              <a:t>of maximum four lines</a:t>
            </a:r>
          </a:p>
        </p:txBody>
      </p:sp>
      <p:sp>
        <p:nvSpPr>
          <p:cNvPr id="9" name="Text Placeholder 18">
            <a:extLst>
              <a:ext uri="{FF2B5EF4-FFF2-40B4-BE49-F238E27FC236}">
                <a16:creationId xmlns:a16="http://schemas.microsoft.com/office/drawing/2014/main" id="{02F1B97F-3A95-9446-9E62-C3B80BE6BCE7}"/>
              </a:ext>
            </a:extLst>
          </p:cNvPr>
          <p:cNvSpPr>
            <a:spLocks noGrp="1"/>
          </p:cNvSpPr>
          <p:nvPr>
            <p:ph type="body" sz="quarter" idx="19" hasCustomPrompt="1"/>
          </p:nvPr>
        </p:nvSpPr>
        <p:spPr>
          <a:xfrm>
            <a:off x="576263" y="4426246"/>
            <a:ext cx="4064000" cy="112593"/>
          </a:xfrm>
          <a:prstGeom prst="rect">
            <a:avLst/>
          </a:prstGeom>
        </p:spPr>
        <p:txBody>
          <a:bodyPr anchor="t">
            <a:noAutofit/>
          </a:bodyPr>
          <a:lstStyle>
            <a:lvl1pPr marL="171450" indent="-171450" algn="l">
              <a:lnSpc>
                <a:spcPct val="85000"/>
              </a:lnSpc>
              <a:spcBef>
                <a:spcPts val="0"/>
              </a:spcBef>
              <a:buFont typeface="System Font Regular"/>
              <a:buChar char="–"/>
              <a:defRPr sz="1200" cap="none" spc="70" baseline="0">
                <a:solidFill>
                  <a:schemeClr val="tx2"/>
                </a:solidFill>
              </a:defRPr>
            </a:lvl1pPr>
          </a:lstStyle>
          <a:p>
            <a:pPr lvl="0"/>
            <a:r>
              <a:rPr lang="en-US" noProof="0"/>
              <a:t>Click to add </a:t>
            </a:r>
            <a:r>
              <a:rPr lang="en-US" sz="1200" noProof="0"/>
              <a:t>Author</a:t>
            </a:r>
            <a:r>
              <a:rPr lang="en-US" noProof="0"/>
              <a:t>/Sender</a:t>
            </a:r>
          </a:p>
        </p:txBody>
      </p:sp>
      <p:sp>
        <p:nvSpPr>
          <p:cNvPr id="10" name="textruta 5">
            <a:extLst>
              <a:ext uri="{FF2B5EF4-FFF2-40B4-BE49-F238E27FC236}">
                <a16:creationId xmlns:a16="http://schemas.microsoft.com/office/drawing/2014/main" id="{6125E698-E501-F948-80A2-6E99F56F7359}"/>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1" name="textruta 10">
            <a:extLst>
              <a:ext uri="{FF2B5EF4-FFF2-40B4-BE49-F238E27FC236}">
                <a16:creationId xmlns:a16="http://schemas.microsoft.com/office/drawing/2014/main" id="{F96DE2D7-6EC7-F04E-BCD5-54998471501A}"/>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2" name="Rektangel 11">
            <a:extLst>
              <a:ext uri="{FF2B5EF4-FFF2-40B4-BE49-F238E27FC236}">
                <a16:creationId xmlns:a16="http://schemas.microsoft.com/office/drawing/2014/main" id="{51356C9E-5E92-A04E-A4AA-821A446C8B64}"/>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Rektangel 12">
            <a:extLst>
              <a:ext uri="{FF2B5EF4-FFF2-40B4-BE49-F238E27FC236}">
                <a16:creationId xmlns:a16="http://schemas.microsoft.com/office/drawing/2014/main" id="{15B3ED12-EA8B-F946-BFC3-D77E68E2793F}"/>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Platshållare för datum 3">
            <a:extLst>
              <a:ext uri="{FF2B5EF4-FFF2-40B4-BE49-F238E27FC236}">
                <a16:creationId xmlns:a16="http://schemas.microsoft.com/office/drawing/2014/main" id="{59A0545A-79C8-8143-9D7B-0E8CFC8BF91A}"/>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F81BC81E-13ED-41FE-B12B-30C1FA1453FC}" type="datetime1">
              <a:rPr lang="en-US" noProof="0" smtClean="0"/>
              <a:t>11/7/2025</a:t>
            </a:fld>
            <a:endParaRPr lang="en-US" noProof="0"/>
          </a:p>
        </p:txBody>
      </p:sp>
      <p:sp>
        <p:nvSpPr>
          <p:cNvPr id="15" name="Platshållare för sidfot 4">
            <a:extLst>
              <a:ext uri="{FF2B5EF4-FFF2-40B4-BE49-F238E27FC236}">
                <a16:creationId xmlns:a16="http://schemas.microsoft.com/office/drawing/2014/main" id="{BCB3CAC7-3F95-5045-B4E2-B10BE41353B0}"/>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nb-NO" noProof="0"/>
              <a:t>Skanska Norge Hovedpresentasjon - desember 2022</a:t>
            </a:r>
            <a:endParaRPr lang="en-US" noProof="0"/>
          </a:p>
        </p:txBody>
      </p:sp>
      <p:sp>
        <p:nvSpPr>
          <p:cNvPr id="16" name="Platshållare för bildnummer 5">
            <a:extLst>
              <a:ext uri="{FF2B5EF4-FFF2-40B4-BE49-F238E27FC236}">
                <a16:creationId xmlns:a16="http://schemas.microsoft.com/office/drawing/2014/main" id="{CE84C9A7-2CB0-2746-830B-CE8D18AC5F30}"/>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18" name="Text Placeholder 4">
            <a:extLst>
              <a:ext uri="{FF2B5EF4-FFF2-40B4-BE49-F238E27FC236}">
                <a16:creationId xmlns:a16="http://schemas.microsoft.com/office/drawing/2014/main" id="{646776D4-7C75-C249-9960-04B14FEA5E29}"/>
              </a:ext>
            </a:extLst>
          </p:cNvPr>
          <p:cNvSpPr>
            <a:spLocks noGrp="1"/>
          </p:cNvSpPr>
          <p:nvPr>
            <p:ph type="body" sz="quarter" idx="20"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320543345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 Quote Slide Blue">
    <p:bg>
      <p:bgRef idx="1001">
        <a:schemeClr val="bg2"/>
      </p:bgRef>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1852246"/>
            <a:ext cx="7253550" cy="2312681"/>
          </a:xfrm>
          <a:prstGeom prst="rect">
            <a:avLst/>
          </a:prstGeom>
        </p:spPr>
        <p:txBody>
          <a:bodyPr anchor="b">
            <a:noAutofit/>
          </a:bodyPr>
          <a:lstStyle>
            <a:lvl1pPr marL="0" indent="0" algn="l">
              <a:lnSpc>
                <a:spcPct val="90000"/>
              </a:lnSpc>
              <a:spcBef>
                <a:spcPts val="0"/>
              </a:spcBef>
              <a:buNone/>
              <a:defRPr sz="3600" spc="40" baseline="0">
                <a:solidFill>
                  <a:schemeClr val="tx2"/>
                </a:solidFill>
              </a:defRPr>
            </a:lvl1pPr>
          </a:lstStyle>
          <a:p>
            <a:pPr lvl="0"/>
            <a:r>
              <a:rPr lang="en-US" noProof="0"/>
              <a:t>Click to add a quotation </a:t>
            </a:r>
            <a:br>
              <a:rPr lang="en-US" noProof="0"/>
            </a:br>
            <a:r>
              <a:rPr lang="en-US" noProof="0"/>
              <a:t>of maximum four lines</a:t>
            </a:r>
          </a:p>
        </p:txBody>
      </p:sp>
      <p:sp>
        <p:nvSpPr>
          <p:cNvPr id="9" name="Text Placeholder 18">
            <a:extLst>
              <a:ext uri="{FF2B5EF4-FFF2-40B4-BE49-F238E27FC236}">
                <a16:creationId xmlns:a16="http://schemas.microsoft.com/office/drawing/2014/main" id="{02F1B97F-3A95-9446-9E62-C3B80BE6BCE7}"/>
              </a:ext>
            </a:extLst>
          </p:cNvPr>
          <p:cNvSpPr>
            <a:spLocks noGrp="1"/>
          </p:cNvSpPr>
          <p:nvPr>
            <p:ph type="body" sz="quarter" idx="19" hasCustomPrompt="1"/>
          </p:nvPr>
        </p:nvSpPr>
        <p:spPr>
          <a:xfrm>
            <a:off x="576263" y="4426246"/>
            <a:ext cx="4064000" cy="112593"/>
          </a:xfrm>
          <a:prstGeom prst="rect">
            <a:avLst/>
          </a:prstGeom>
        </p:spPr>
        <p:txBody>
          <a:bodyPr anchor="t">
            <a:noAutofit/>
          </a:bodyPr>
          <a:lstStyle>
            <a:lvl1pPr marL="171450" indent="-171450" algn="l">
              <a:lnSpc>
                <a:spcPct val="85000"/>
              </a:lnSpc>
              <a:spcBef>
                <a:spcPts val="0"/>
              </a:spcBef>
              <a:buFont typeface="System Font Regular"/>
              <a:buChar char="–"/>
              <a:defRPr sz="1200" cap="none" spc="70" baseline="0">
                <a:solidFill>
                  <a:schemeClr val="tx2"/>
                </a:solidFill>
              </a:defRPr>
            </a:lvl1pPr>
          </a:lstStyle>
          <a:p>
            <a:pPr lvl="0"/>
            <a:r>
              <a:rPr lang="en-US" noProof="0"/>
              <a:t>Click to add </a:t>
            </a:r>
            <a:r>
              <a:rPr lang="en-US" sz="1200" noProof="0"/>
              <a:t>Author</a:t>
            </a:r>
            <a:r>
              <a:rPr lang="en-US" noProof="0"/>
              <a:t>/Sender</a:t>
            </a:r>
          </a:p>
        </p:txBody>
      </p:sp>
      <p:sp>
        <p:nvSpPr>
          <p:cNvPr id="14" name="Platshållare för datum 3">
            <a:extLst>
              <a:ext uri="{FF2B5EF4-FFF2-40B4-BE49-F238E27FC236}">
                <a16:creationId xmlns:a16="http://schemas.microsoft.com/office/drawing/2014/main" id="{59A0545A-79C8-8143-9D7B-0E8CFC8BF91A}"/>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3A236E81-6649-43FC-A02F-AB7EFE134048}" type="datetime1">
              <a:rPr lang="en-US" noProof="0" smtClean="0"/>
              <a:t>11/7/2025</a:t>
            </a:fld>
            <a:endParaRPr lang="en-US" noProof="0"/>
          </a:p>
        </p:txBody>
      </p:sp>
      <p:sp>
        <p:nvSpPr>
          <p:cNvPr id="15" name="Platshållare för sidfot 4">
            <a:extLst>
              <a:ext uri="{FF2B5EF4-FFF2-40B4-BE49-F238E27FC236}">
                <a16:creationId xmlns:a16="http://schemas.microsoft.com/office/drawing/2014/main" id="{BCB3CAC7-3F95-5045-B4E2-B10BE41353B0}"/>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nb-NO" noProof="0"/>
              <a:t>Skanska Norge Hovedpresentasjon - desember 2022</a:t>
            </a:r>
            <a:endParaRPr lang="en-US" noProof="0"/>
          </a:p>
        </p:txBody>
      </p:sp>
      <p:sp>
        <p:nvSpPr>
          <p:cNvPr id="16" name="Platshållare för bildnummer 5">
            <a:extLst>
              <a:ext uri="{FF2B5EF4-FFF2-40B4-BE49-F238E27FC236}">
                <a16:creationId xmlns:a16="http://schemas.microsoft.com/office/drawing/2014/main" id="{CE84C9A7-2CB0-2746-830B-CE8D18AC5F30}"/>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grpSp>
        <p:nvGrpSpPr>
          <p:cNvPr id="18" name="Grupp 32">
            <a:extLst>
              <a:ext uri="{FF2B5EF4-FFF2-40B4-BE49-F238E27FC236}">
                <a16:creationId xmlns:a16="http://schemas.microsoft.com/office/drawing/2014/main" id="{892CF028-CD68-014F-845F-FFFCB68894A8}"/>
              </a:ext>
            </a:extLst>
          </p:cNvPr>
          <p:cNvGrpSpPr/>
          <p:nvPr userDrawn="1"/>
        </p:nvGrpSpPr>
        <p:grpSpPr>
          <a:xfrm>
            <a:off x="576140" y="6451484"/>
            <a:ext cx="615478" cy="91194"/>
            <a:chOff x="576140" y="6451484"/>
            <a:chExt cx="615478" cy="91194"/>
          </a:xfrm>
          <a:solidFill>
            <a:schemeClr val="tx1"/>
          </a:solidFill>
        </p:grpSpPr>
        <p:sp>
          <p:nvSpPr>
            <p:cNvPr id="20" name="Bild 2">
              <a:extLst>
                <a:ext uri="{FF2B5EF4-FFF2-40B4-BE49-F238E27FC236}">
                  <a16:creationId xmlns:a16="http://schemas.microsoft.com/office/drawing/2014/main" id="{BB6F4DFB-1FB4-AF4E-AE93-FD81ADD7997B}"/>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1"/>
                </a:solidFill>
              </a:endParaRPr>
            </a:p>
          </p:txBody>
        </p:sp>
        <p:sp>
          <p:nvSpPr>
            <p:cNvPr id="21" name="Bild 2">
              <a:extLst>
                <a:ext uri="{FF2B5EF4-FFF2-40B4-BE49-F238E27FC236}">
                  <a16:creationId xmlns:a16="http://schemas.microsoft.com/office/drawing/2014/main" id="{9302B9C7-F584-3D4B-865C-55B98056491D}"/>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1"/>
                </a:solidFill>
              </a:endParaRPr>
            </a:p>
          </p:txBody>
        </p:sp>
        <p:sp>
          <p:nvSpPr>
            <p:cNvPr id="22" name="Bild 2">
              <a:extLst>
                <a:ext uri="{FF2B5EF4-FFF2-40B4-BE49-F238E27FC236}">
                  <a16:creationId xmlns:a16="http://schemas.microsoft.com/office/drawing/2014/main" id="{F985D99D-13E7-EF49-B0AD-01E92B0054E9}"/>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1"/>
                </a:solidFill>
              </a:endParaRPr>
            </a:p>
          </p:txBody>
        </p:sp>
        <p:sp>
          <p:nvSpPr>
            <p:cNvPr id="23" name="Bild 2">
              <a:extLst>
                <a:ext uri="{FF2B5EF4-FFF2-40B4-BE49-F238E27FC236}">
                  <a16:creationId xmlns:a16="http://schemas.microsoft.com/office/drawing/2014/main" id="{3E730B4A-6C2F-0E49-8857-CB76E0527421}"/>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1"/>
                </a:solidFill>
              </a:endParaRPr>
            </a:p>
          </p:txBody>
        </p:sp>
        <p:sp>
          <p:nvSpPr>
            <p:cNvPr id="24" name="Bild 2">
              <a:extLst>
                <a:ext uri="{FF2B5EF4-FFF2-40B4-BE49-F238E27FC236}">
                  <a16:creationId xmlns:a16="http://schemas.microsoft.com/office/drawing/2014/main" id="{C00A891A-B8BE-A142-A7F1-CCA13BE7ED10}"/>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1"/>
                </a:solidFill>
              </a:endParaRPr>
            </a:p>
          </p:txBody>
        </p:sp>
        <p:sp>
          <p:nvSpPr>
            <p:cNvPr id="25" name="Bild 2">
              <a:extLst>
                <a:ext uri="{FF2B5EF4-FFF2-40B4-BE49-F238E27FC236}">
                  <a16:creationId xmlns:a16="http://schemas.microsoft.com/office/drawing/2014/main" id="{05B41D9C-1A87-1044-AF28-2C146A2B9154}"/>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1"/>
                </a:solidFill>
              </a:endParaRPr>
            </a:p>
          </p:txBody>
        </p:sp>
        <p:sp>
          <p:nvSpPr>
            <p:cNvPr id="26" name="Bild 2">
              <a:extLst>
                <a:ext uri="{FF2B5EF4-FFF2-40B4-BE49-F238E27FC236}">
                  <a16:creationId xmlns:a16="http://schemas.microsoft.com/office/drawing/2014/main" id="{B6D5D020-32AD-AB4E-BEAD-487BC943A244}"/>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1"/>
                </a:solidFill>
              </a:endParaRPr>
            </a:p>
          </p:txBody>
        </p:sp>
      </p:grpSp>
    </p:spTree>
    <p:extLst>
      <p:ext uri="{BB962C8B-B14F-4D97-AF65-F5344CB8AC3E}">
        <p14:creationId xmlns:p14="http://schemas.microsoft.com/office/powerpoint/2010/main" val="356451855"/>
      </p:ext>
    </p:extLst>
  </p:cSld>
  <p:clrMapOvr>
    <a:overrideClrMapping bg1="dk1" tx1="lt1" bg2="dk2" tx2="lt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 Quote Slide Gray">
    <p:bg>
      <p:bgRef idx="1001">
        <a:schemeClr val="bg2"/>
      </p:bgRef>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1852246"/>
            <a:ext cx="7253550" cy="2312681"/>
          </a:xfrm>
          <a:prstGeom prst="rect">
            <a:avLst/>
          </a:prstGeom>
        </p:spPr>
        <p:txBody>
          <a:bodyPr anchor="b">
            <a:noAutofit/>
          </a:bodyPr>
          <a:lstStyle>
            <a:lvl1pPr marL="0" indent="0" algn="l">
              <a:lnSpc>
                <a:spcPct val="90000"/>
              </a:lnSpc>
              <a:spcBef>
                <a:spcPts val="0"/>
              </a:spcBef>
              <a:buNone/>
              <a:defRPr sz="3600" spc="40" baseline="0">
                <a:solidFill>
                  <a:schemeClr val="tx2"/>
                </a:solidFill>
              </a:defRPr>
            </a:lvl1pPr>
          </a:lstStyle>
          <a:p>
            <a:pPr lvl="0"/>
            <a:r>
              <a:rPr lang="en-US" noProof="0"/>
              <a:t>Click to add a quotation </a:t>
            </a:r>
            <a:br>
              <a:rPr lang="en-US" noProof="0"/>
            </a:br>
            <a:r>
              <a:rPr lang="en-US" noProof="0"/>
              <a:t>of maximum four lines</a:t>
            </a:r>
          </a:p>
        </p:txBody>
      </p:sp>
      <p:sp>
        <p:nvSpPr>
          <p:cNvPr id="9" name="Text Placeholder 18">
            <a:extLst>
              <a:ext uri="{FF2B5EF4-FFF2-40B4-BE49-F238E27FC236}">
                <a16:creationId xmlns:a16="http://schemas.microsoft.com/office/drawing/2014/main" id="{02F1B97F-3A95-9446-9E62-C3B80BE6BCE7}"/>
              </a:ext>
            </a:extLst>
          </p:cNvPr>
          <p:cNvSpPr>
            <a:spLocks noGrp="1"/>
          </p:cNvSpPr>
          <p:nvPr>
            <p:ph type="body" sz="quarter" idx="19" hasCustomPrompt="1"/>
          </p:nvPr>
        </p:nvSpPr>
        <p:spPr>
          <a:xfrm>
            <a:off x="576263" y="4426246"/>
            <a:ext cx="4064000" cy="112593"/>
          </a:xfrm>
          <a:prstGeom prst="rect">
            <a:avLst/>
          </a:prstGeom>
        </p:spPr>
        <p:txBody>
          <a:bodyPr anchor="t">
            <a:noAutofit/>
          </a:bodyPr>
          <a:lstStyle>
            <a:lvl1pPr marL="171450" indent="-171450" algn="l">
              <a:lnSpc>
                <a:spcPct val="85000"/>
              </a:lnSpc>
              <a:spcBef>
                <a:spcPts val="0"/>
              </a:spcBef>
              <a:buFont typeface="System Font Regular"/>
              <a:buChar char="–"/>
              <a:defRPr sz="1200" cap="none" spc="70" baseline="0">
                <a:solidFill>
                  <a:schemeClr val="tx2"/>
                </a:solidFill>
              </a:defRPr>
            </a:lvl1pPr>
          </a:lstStyle>
          <a:p>
            <a:pPr lvl="0"/>
            <a:r>
              <a:rPr lang="en-US" noProof="0"/>
              <a:t>Click to add </a:t>
            </a:r>
            <a:r>
              <a:rPr lang="en-US" sz="1200" noProof="0"/>
              <a:t>Author</a:t>
            </a:r>
            <a:r>
              <a:rPr lang="en-US" noProof="0"/>
              <a:t>/Sender</a:t>
            </a:r>
          </a:p>
        </p:txBody>
      </p:sp>
      <p:sp>
        <p:nvSpPr>
          <p:cNvPr id="14" name="Platshållare för datum 3">
            <a:extLst>
              <a:ext uri="{FF2B5EF4-FFF2-40B4-BE49-F238E27FC236}">
                <a16:creationId xmlns:a16="http://schemas.microsoft.com/office/drawing/2014/main" id="{59A0545A-79C8-8143-9D7B-0E8CFC8BF91A}"/>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0BAF55FB-095E-4E6B-9DDF-8AB6EE067150}" type="datetime1">
              <a:rPr lang="en-US" noProof="0" smtClean="0"/>
              <a:t>11/7/2025</a:t>
            </a:fld>
            <a:endParaRPr lang="en-US" noProof="0"/>
          </a:p>
        </p:txBody>
      </p:sp>
      <p:sp>
        <p:nvSpPr>
          <p:cNvPr id="15" name="Platshållare för sidfot 4">
            <a:extLst>
              <a:ext uri="{FF2B5EF4-FFF2-40B4-BE49-F238E27FC236}">
                <a16:creationId xmlns:a16="http://schemas.microsoft.com/office/drawing/2014/main" id="{BCB3CAC7-3F95-5045-B4E2-B10BE41353B0}"/>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nb-NO" noProof="0"/>
              <a:t>Skanska Norge Hovedpresentasjon - desember 2022</a:t>
            </a:r>
            <a:endParaRPr lang="en-US" noProof="0"/>
          </a:p>
        </p:txBody>
      </p:sp>
      <p:sp>
        <p:nvSpPr>
          <p:cNvPr id="16" name="Platshållare för bildnummer 5">
            <a:extLst>
              <a:ext uri="{FF2B5EF4-FFF2-40B4-BE49-F238E27FC236}">
                <a16:creationId xmlns:a16="http://schemas.microsoft.com/office/drawing/2014/main" id="{CE84C9A7-2CB0-2746-830B-CE8D18AC5F30}"/>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grpSp>
        <p:nvGrpSpPr>
          <p:cNvPr id="18" name="Grupp 32">
            <a:extLst>
              <a:ext uri="{FF2B5EF4-FFF2-40B4-BE49-F238E27FC236}">
                <a16:creationId xmlns:a16="http://schemas.microsoft.com/office/drawing/2014/main" id="{892CF028-CD68-014F-845F-FFFCB68894A8}"/>
              </a:ext>
            </a:extLst>
          </p:cNvPr>
          <p:cNvGrpSpPr/>
          <p:nvPr userDrawn="1"/>
        </p:nvGrpSpPr>
        <p:grpSpPr>
          <a:xfrm>
            <a:off x="576140" y="6451484"/>
            <a:ext cx="615478" cy="91194"/>
            <a:chOff x="576140" y="6451484"/>
            <a:chExt cx="615478" cy="91194"/>
          </a:xfrm>
          <a:solidFill>
            <a:schemeClr val="tx2"/>
          </a:solidFill>
        </p:grpSpPr>
        <p:sp>
          <p:nvSpPr>
            <p:cNvPr id="20" name="Bild 2">
              <a:extLst>
                <a:ext uri="{FF2B5EF4-FFF2-40B4-BE49-F238E27FC236}">
                  <a16:creationId xmlns:a16="http://schemas.microsoft.com/office/drawing/2014/main" id="{BB6F4DFB-1FB4-AF4E-AE93-FD81ADD7997B}"/>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1"/>
                </a:solidFill>
              </a:endParaRPr>
            </a:p>
          </p:txBody>
        </p:sp>
        <p:sp>
          <p:nvSpPr>
            <p:cNvPr id="21" name="Bild 2">
              <a:extLst>
                <a:ext uri="{FF2B5EF4-FFF2-40B4-BE49-F238E27FC236}">
                  <a16:creationId xmlns:a16="http://schemas.microsoft.com/office/drawing/2014/main" id="{9302B9C7-F584-3D4B-865C-55B98056491D}"/>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1"/>
                </a:solidFill>
              </a:endParaRPr>
            </a:p>
          </p:txBody>
        </p:sp>
        <p:sp>
          <p:nvSpPr>
            <p:cNvPr id="22" name="Bild 2">
              <a:extLst>
                <a:ext uri="{FF2B5EF4-FFF2-40B4-BE49-F238E27FC236}">
                  <a16:creationId xmlns:a16="http://schemas.microsoft.com/office/drawing/2014/main" id="{F985D99D-13E7-EF49-B0AD-01E92B0054E9}"/>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1"/>
                </a:solidFill>
              </a:endParaRPr>
            </a:p>
          </p:txBody>
        </p:sp>
        <p:sp>
          <p:nvSpPr>
            <p:cNvPr id="23" name="Bild 2">
              <a:extLst>
                <a:ext uri="{FF2B5EF4-FFF2-40B4-BE49-F238E27FC236}">
                  <a16:creationId xmlns:a16="http://schemas.microsoft.com/office/drawing/2014/main" id="{3E730B4A-6C2F-0E49-8857-CB76E0527421}"/>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1"/>
                </a:solidFill>
              </a:endParaRPr>
            </a:p>
          </p:txBody>
        </p:sp>
        <p:sp>
          <p:nvSpPr>
            <p:cNvPr id="24" name="Bild 2">
              <a:extLst>
                <a:ext uri="{FF2B5EF4-FFF2-40B4-BE49-F238E27FC236}">
                  <a16:creationId xmlns:a16="http://schemas.microsoft.com/office/drawing/2014/main" id="{C00A891A-B8BE-A142-A7F1-CCA13BE7ED10}"/>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1"/>
                </a:solidFill>
              </a:endParaRPr>
            </a:p>
          </p:txBody>
        </p:sp>
        <p:sp>
          <p:nvSpPr>
            <p:cNvPr id="25" name="Bild 2">
              <a:extLst>
                <a:ext uri="{FF2B5EF4-FFF2-40B4-BE49-F238E27FC236}">
                  <a16:creationId xmlns:a16="http://schemas.microsoft.com/office/drawing/2014/main" id="{05B41D9C-1A87-1044-AF28-2C146A2B9154}"/>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1"/>
                </a:solidFill>
              </a:endParaRPr>
            </a:p>
          </p:txBody>
        </p:sp>
        <p:sp>
          <p:nvSpPr>
            <p:cNvPr id="26" name="Bild 2">
              <a:extLst>
                <a:ext uri="{FF2B5EF4-FFF2-40B4-BE49-F238E27FC236}">
                  <a16:creationId xmlns:a16="http://schemas.microsoft.com/office/drawing/2014/main" id="{B6D5D020-32AD-AB4E-BEAD-487BC943A244}"/>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1"/>
                </a:solidFill>
              </a:endParaRPr>
            </a:p>
          </p:txBody>
        </p:sp>
      </p:grpSp>
    </p:spTree>
    <p:extLst>
      <p:ext uri="{BB962C8B-B14F-4D97-AF65-F5344CB8AC3E}">
        <p14:creationId xmlns:p14="http://schemas.microsoft.com/office/powerpoint/2010/main" val="43925026"/>
      </p:ext>
    </p:extLst>
  </p:cSld>
  <p:clrMapOvr>
    <a:overrideClrMapping bg1="lt1" tx1="dk1" bg2="lt2" tx2="dk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 Full Image">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CBA7EE4-EB8C-8F45-95DB-49CBDE2D978D}"/>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Click on the icon to add an image</a:t>
            </a:r>
          </a:p>
        </p:txBody>
      </p:sp>
      <p:sp>
        <p:nvSpPr>
          <p:cNvPr id="6" name="textruta 5">
            <a:extLst>
              <a:ext uri="{FF2B5EF4-FFF2-40B4-BE49-F238E27FC236}">
                <a16:creationId xmlns:a16="http://schemas.microsoft.com/office/drawing/2014/main" id="{CAF12B7D-4908-C140-8479-BBA74C392BFA}"/>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6D001312-59F0-0442-8F6B-117B57EE550F}"/>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05ECD74A-D0B6-194F-B25C-1455CC84FABD}"/>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E8C8C4A5-D430-0940-8213-633339896161}"/>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Platshållare för datum 3">
            <a:extLst>
              <a:ext uri="{FF2B5EF4-FFF2-40B4-BE49-F238E27FC236}">
                <a16:creationId xmlns:a16="http://schemas.microsoft.com/office/drawing/2014/main" id="{83C01208-01E2-5D44-8A25-EF6024C0723F}"/>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0365720B-75F3-45C7-9897-F29158AECB71}" type="datetime1">
              <a:rPr lang="en-US" smtClean="0"/>
              <a:t>11/7/2025</a:t>
            </a:fld>
            <a:endParaRPr lang="en-US"/>
          </a:p>
        </p:txBody>
      </p:sp>
      <p:sp>
        <p:nvSpPr>
          <p:cNvPr id="13" name="Platshållare för sidfot 4">
            <a:extLst>
              <a:ext uri="{FF2B5EF4-FFF2-40B4-BE49-F238E27FC236}">
                <a16:creationId xmlns:a16="http://schemas.microsoft.com/office/drawing/2014/main" id="{68DCE312-A27F-814F-BDDD-00D27A24DD8C}"/>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nb-NO"/>
              <a:t>Skanska Norge Hovedpresentasjon - desember 2022</a:t>
            </a:r>
            <a:endParaRPr lang="en-US"/>
          </a:p>
        </p:txBody>
      </p:sp>
      <p:sp>
        <p:nvSpPr>
          <p:cNvPr id="14" name="Platshållare för bildnummer 5">
            <a:extLst>
              <a:ext uri="{FF2B5EF4-FFF2-40B4-BE49-F238E27FC236}">
                <a16:creationId xmlns:a16="http://schemas.microsoft.com/office/drawing/2014/main" id="{BF3C2BA5-B91C-7142-BA3D-478DF85F221B}"/>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16" name="Text Placeholder 4">
            <a:extLst>
              <a:ext uri="{FF2B5EF4-FFF2-40B4-BE49-F238E27FC236}">
                <a16:creationId xmlns:a16="http://schemas.microsoft.com/office/drawing/2014/main" id="{E37CECB8-B1B6-D144-BD70-CFF979706847}"/>
              </a:ext>
            </a:extLst>
          </p:cNvPr>
          <p:cNvSpPr>
            <a:spLocks noGrp="1"/>
          </p:cNvSpPr>
          <p:nvPr>
            <p:ph type="body" sz="quarter" idx="14"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92028006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 Full 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7A464D3A-71AD-CC4E-A666-6026DBFB2FDC}"/>
              </a:ext>
            </a:extLst>
          </p:cNvPr>
          <p:cNvSpPr>
            <a:spLocks noGrp="1"/>
          </p:cNvSpPr>
          <p:nvPr>
            <p:ph type="media" sz="quarter" idx="13" hasCustomPrompt="1"/>
          </p:nvPr>
        </p:nvSpPr>
        <p:spPr>
          <a:xfrm>
            <a:off x="0" y="0"/>
            <a:ext cx="12192000" cy="6858000"/>
          </a:xfrm>
          <a:solidFill>
            <a:srgbClr val="ECECEC"/>
          </a:solidFill>
        </p:spPr>
        <p:txBody>
          <a:bodyPr lIns="36000" tIns="36000" rIns="36000" bIns="36000"/>
          <a:lstStyle>
            <a:lvl1pPr marL="12700" indent="0" algn="ctr">
              <a:buNone/>
              <a:defRPr sz="1300"/>
            </a:lvl1pPr>
          </a:lstStyle>
          <a:p>
            <a:r>
              <a:rPr lang="en-US" noProof="0"/>
              <a:t>Click to add media</a:t>
            </a:r>
          </a:p>
        </p:txBody>
      </p:sp>
      <p:sp>
        <p:nvSpPr>
          <p:cNvPr id="7" name="Platshållare för datum 3">
            <a:extLst>
              <a:ext uri="{FF2B5EF4-FFF2-40B4-BE49-F238E27FC236}">
                <a16:creationId xmlns:a16="http://schemas.microsoft.com/office/drawing/2014/main" id="{A1BA11B1-CD86-5C4E-BECF-D3D588767D09}"/>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4E867D6-2947-4810-8D8F-0213B43DB047}" type="datetime1">
              <a:rPr lang="en-US" noProof="0" smtClean="0"/>
              <a:t>11/7/2025</a:t>
            </a:fld>
            <a:endParaRPr lang="en-US" noProof="0"/>
          </a:p>
        </p:txBody>
      </p:sp>
      <p:sp>
        <p:nvSpPr>
          <p:cNvPr id="8" name="Platshållare för sidfot 4">
            <a:extLst>
              <a:ext uri="{FF2B5EF4-FFF2-40B4-BE49-F238E27FC236}">
                <a16:creationId xmlns:a16="http://schemas.microsoft.com/office/drawing/2014/main" id="{6DC7E00E-15FF-1D48-9B00-D5BE75E2493A}"/>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nb-NO" noProof="0"/>
              <a:t>Skanska Norge Hovedpresentasjon - desember 2022</a:t>
            </a:r>
            <a:endParaRPr lang="en-US" noProof="0"/>
          </a:p>
        </p:txBody>
      </p:sp>
      <p:sp>
        <p:nvSpPr>
          <p:cNvPr id="9" name="Platshållare för bildnummer 5">
            <a:extLst>
              <a:ext uri="{FF2B5EF4-FFF2-40B4-BE49-F238E27FC236}">
                <a16:creationId xmlns:a16="http://schemas.microsoft.com/office/drawing/2014/main" id="{E27C82DA-ED11-C248-AB29-689C22549E61}"/>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154356066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 Three Images Text">
    <p:bg>
      <p:bgPr>
        <a:solidFill>
          <a:schemeClr val="bg1"/>
        </a:solidFill>
        <a:effectLst/>
      </p:bgPr>
    </p:bg>
    <p:spTree>
      <p:nvGrpSpPr>
        <p:cNvPr id="1" name=""/>
        <p:cNvGrpSpPr/>
        <p:nvPr/>
      </p:nvGrpSpPr>
      <p:grpSpPr>
        <a:xfrm>
          <a:off x="0" y="0"/>
          <a:ext cx="0" cy="0"/>
          <a:chOff x="0" y="0"/>
          <a:chExt cx="0" cy="0"/>
        </a:xfrm>
      </p:grpSpPr>
      <p:sp>
        <p:nvSpPr>
          <p:cNvPr id="21" name="Picture Placeholder 17">
            <a:extLst>
              <a:ext uri="{FF2B5EF4-FFF2-40B4-BE49-F238E27FC236}">
                <a16:creationId xmlns:a16="http://schemas.microsoft.com/office/drawing/2014/main" id="{D5A74226-F457-F043-94EE-661CB4E40ED2}"/>
              </a:ext>
            </a:extLst>
          </p:cNvPr>
          <p:cNvSpPr>
            <a:spLocks noGrp="1"/>
          </p:cNvSpPr>
          <p:nvPr>
            <p:ph type="pic" sz="quarter" idx="27" hasCustomPrompt="1"/>
          </p:nvPr>
        </p:nvSpPr>
        <p:spPr>
          <a:xfrm>
            <a:off x="4062560" y="0"/>
            <a:ext cx="4076277" cy="6858000"/>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25" name="Picture Placeholder 24">
            <a:extLst>
              <a:ext uri="{FF2B5EF4-FFF2-40B4-BE49-F238E27FC236}">
                <a16:creationId xmlns:a16="http://schemas.microsoft.com/office/drawing/2014/main" id="{7FFAF88D-4CA3-474F-A41C-BB68F020FECF}"/>
              </a:ext>
            </a:extLst>
          </p:cNvPr>
          <p:cNvSpPr>
            <a:spLocks noGrp="1"/>
          </p:cNvSpPr>
          <p:nvPr>
            <p:ph type="pic" sz="quarter" idx="13" hasCustomPrompt="1"/>
          </p:nvPr>
        </p:nvSpPr>
        <p:spPr>
          <a:xfrm>
            <a:off x="5" y="5"/>
            <a:ext cx="4072023" cy="6857997"/>
          </a:xfrm>
          <a:custGeom>
            <a:avLst/>
            <a:gdLst>
              <a:gd name="connsiteX0" fmla="*/ 1146049 w 4072023"/>
              <a:gd name="connsiteY0" fmla="*/ 6470534 h 6857997"/>
              <a:gd name="connsiteX1" fmla="*/ 1157832 w 4072023"/>
              <a:gd name="connsiteY1" fmla="*/ 6505507 h 6857997"/>
              <a:gd name="connsiteX2" fmla="*/ 1134642 w 4072023"/>
              <a:gd name="connsiteY2" fmla="*/ 6505507 h 6857997"/>
              <a:gd name="connsiteX3" fmla="*/ 788170 w 4072023"/>
              <a:gd name="connsiteY3" fmla="*/ 6470534 h 6857997"/>
              <a:gd name="connsiteX4" fmla="*/ 799953 w 4072023"/>
              <a:gd name="connsiteY4" fmla="*/ 6505507 h 6857997"/>
              <a:gd name="connsiteX5" fmla="*/ 776763 w 4072023"/>
              <a:gd name="connsiteY5" fmla="*/ 6505507 h 6857997"/>
              <a:gd name="connsiteX6" fmla="*/ 1132323 w 4072023"/>
              <a:gd name="connsiteY6" fmla="*/ 6451543 h 6857997"/>
              <a:gd name="connsiteX7" fmla="*/ 1100860 w 4072023"/>
              <a:gd name="connsiteY7" fmla="*/ 6542674 h 6857997"/>
              <a:gd name="connsiteX8" fmla="*/ 1123110 w 4072023"/>
              <a:gd name="connsiteY8" fmla="*/ 6542674 h 6857997"/>
              <a:gd name="connsiteX9" fmla="*/ 1128876 w 4072023"/>
              <a:gd name="connsiteY9" fmla="*/ 6524060 h 6857997"/>
              <a:gd name="connsiteX10" fmla="*/ 1163786 w 4072023"/>
              <a:gd name="connsiteY10" fmla="*/ 6524060 h 6857997"/>
              <a:gd name="connsiteX11" fmla="*/ 1169741 w 4072023"/>
              <a:gd name="connsiteY11" fmla="*/ 6542674 h 6857997"/>
              <a:gd name="connsiteX12" fmla="*/ 1191615 w 4072023"/>
              <a:gd name="connsiteY12" fmla="*/ 6542674 h 6857997"/>
              <a:gd name="connsiteX13" fmla="*/ 1159148 w 4072023"/>
              <a:gd name="connsiteY13" fmla="*/ 6451543 h 6857997"/>
              <a:gd name="connsiteX14" fmla="*/ 961907 w 4072023"/>
              <a:gd name="connsiteY14" fmla="*/ 6451543 h 6857997"/>
              <a:gd name="connsiteX15" fmla="*/ 933640 w 4072023"/>
              <a:gd name="connsiteY15" fmla="*/ 6479246 h 6857997"/>
              <a:gd name="connsiteX16" fmla="*/ 961907 w 4072023"/>
              <a:gd name="connsiteY16" fmla="*/ 6505821 h 6857997"/>
              <a:gd name="connsiteX17" fmla="*/ 983468 w 4072023"/>
              <a:gd name="connsiteY17" fmla="*/ 6505821 h 6857997"/>
              <a:gd name="connsiteX18" fmla="*/ 991678 w 4072023"/>
              <a:gd name="connsiteY18" fmla="*/ 6514282 h 6857997"/>
              <a:gd name="connsiteX19" fmla="*/ 983468 w 4072023"/>
              <a:gd name="connsiteY19" fmla="*/ 6522743 h 6857997"/>
              <a:gd name="connsiteX20" fmla="*/ 937338 w 4072023"/>
              <a:gd name="connsiteY20" fmla="*/ 6522743 h 6857997"/>
              <a:gd name="connsiteX21" fmla="*/ 937338 w 4072023"/>
              <a:gd name="connsiteY21" fmla="*/ 6542674 h 6857997"/>
              <a:gd name="connsiteX22" fmla="*/ 982716 w 4072023"/>
              <a:gd name="connsiteY22" fmla="*/ 6542674 h 6857997"/>
              <a:gd name="connsiteX23" fmla="*/ 1011358 w 4072023"/>
              <a:gd name="connsiteY23" fmla="*/ 6514282 h 6857997"/>
              <a:gd name="connsiteX24" fmla="*/ 986727 w 4072023"/>
              <a:gd name="connsiteY24" fmla="*/ 6487707 h 6857997"/>
              <a:gd name="connsiteX25" fmla="*/ 961907 w 4072023"/>
              <a:gd name="connsiteY25" fmla="*/ 6487707 h 6857997"/>
              <a:gd name="connsiteX26" fmla="*/ 953321 w 4072023"/>
              <a:gd name="connsiteY26" fmla="*/ 6479246 h 6857997"/>
              <a:gd name="connsiteX27" fmla="*/ 961907 w 4072023"/>
              <a:gd name="connsiteY27" fmla="*/ 6470785 h 6857997"/>
              <a:gd name="connsiteX28" fmla="*/ 1004965 w 4072023"/>
              <a:gd name="connsiteY28" fmla="*/ 6470785 h 6857997"/>
              <a:gd name="connsiteX29" fmla="*/ 1004965 w 4072023"/>
              <a:gd name="connsiteY29" fmla="*/ 6451543 h 6857997"/>
              <a:gd name="connsiteX30" fmla="*/ 841570 w 4072023"/>
              <a:gd name="connsiteY30" fmla="*/ 6451543 h 6857997"/>
              <a:gd name="connsiteX31" fmla="*/ 841570 w 4072023"/>
              <a:gd name="connsiteY31" fmla="*/ 6542674 h 6857997"/>
              <a:gd name="connsiteX32" fmla="*/ 862692 w 4072023"/>
              <a:gd name="connsiteY32" fmla="*/ 6542674 h 6857997"/>
              <a:gd name="connsiteX33" fmla="*/ 862692 w 4072023"/>
              <a:gd name="connsiteY33" fmla="*/ 6486454 h 6857997"/>
              <a:gd name="connsiteX34" fmla="*/ 898981 w 4072023"/>
              <a:gd name="connsiteY34" fmla="*/ 6542486 h 6857997"/>
              <a:gd name="connsiteX35" fmla="*/ 898981 w 4072023"/>
              <a:gd name="connsiteY35" fmla="*/ 6542674 h 6857997"/>
              <a:gd name="connsiteX36" fmla="*/ 920855 w 4072023"/>
              <a:gd name="connsiteY36" fmla="*/ 6542674 h 6857997"/>
              <a:gd name="connsiteX37" fmla="*/ 920793 w 4072023"/>
              <a:gd name="connsiteY37" fmla="*/ 6522994 h 6857997"/>
              <a:gd name="connsiteX38" fmla="*/ 920667 w 4072023"/>
              <a:gd name="connsiteY38" fmla="*/ 6451543 h 6857997"/>
              <a:gd name="connsiteX39" fmla="*/ 899671 w 4072023"/>
              <a:gd name="connsiteY39" fmla="*/ 6451543 h 6857997"/>
              <a:gd name="connsiteX40" fmla="*/ 899671 w 4072023"/>
              <a:gd name="connsiteY40" fmla="*/ 6508829 h 6857997"/>
              <a:gd name="connsiteX41" fmla="*/ 863068 w 4072023"/>
              <a:gd name="connsiteY41" fmla="*/ 6451543 h 6857997"/>
              <a:gd name="connsiteX42" fmla="*/ 774444 w 4072023"/>
              <a:gd name="connsiteY42" fmla="*/ 6451543 h 6857997"/>
              <a:gd name="connsiteX43" fmla="*/ 742918 w 4072023"/>
              <a:gd name="connsiteY43" fmla="*/ 6542674 h 6857997"/>
              <a:gd name="connsiteX44" fmla="*/ 765168 w 4072023"/>
              <a:gd name="connsiteY44" fmla="*/ 6542674 h 6857997"/>
              <a:gd name="connsiteX45" fmla="*/ 770934 w 4072023"/>
              <a:gd name="connsiteY45" fmla="*/ 6524060 h 6857997"/>
              <a:gd name="connsiteX46" fmla="*/ 805845 w 4072023"/>
              <a:gd name="connsiteY46" fmla="*/ 6524060 h 6857997"/>
              <a:gd name="connsiteX47" fmla="*/ 811799 w 4072023"/>
              <a:gd name="connsiteY47" fmla="*/ 6542674 h 6857997"/>
              <a:gd name="connsiteX48" fmla="*/ 833735 w 4072023"/>
              <a:gd name="connsiteY48" fmla="*/ 6542674 h 6857997"/>
              <a:gd name="connsiteX49" fmla="*/ 801269 w 4072023"/>
              <a:gd name="connsiteY49" fmla="*/ 6451543 h 6857997"/>
              <a:gd name="connsiteX50" fmla="*/ 604404 w 4072023"/>
              <a:gd name="connsiteY50" fmla="*/ 6451543 h 6857997"/>
              <a:gd name="connsiteX51" fmla="*/ 576137 w 4072023"/>
              <a:gd name="connsiteY51" fmla="*/ 6479246 h 6857997"/>
              <a:gd name="connsiteX52" fmla="*/ 604404 w 4072023"/>
              <a:gd name="connsiteY52" fmla="*/ 6505821 h 6857997"/>
              <a:gd name="connsiteX53" fmla="*/ 625964 w 4072023"/>
              <a:gd name="connsiteY53" fmla="*/ 6505821 h 6857997"/>
              <a:gd name="connsiteX54" fmla="*/ 634174 w 4072023"/>
              <a:gd name="connsiteY54" fmla="*/ 6514282 h 6857997"/>
              <a:gd name="connsiteX55" fmla="*/ 625964 w 4072023"/>
              <a:gd name="connsiteY55" fmla="*/ 6522743 h 6857997"/>
              <a:gd name="connsiteX56" fmla="*/ 579772 w 4072023"/>
              <a:gd name="connsiteY56" fmla="*/ 6522743 h 6857997"/>
              <a:gd name="connsiteX57" fmla="*/ 579772 w 4072023"/>
              <a:gd name="connsiteY57" fmla="*/ 6542674 h 6857997"/>
              <a:gd name="connsiteX58" fmla="*/ 625149 w 4072023"/>
              <a:gd name="connsiteY58" fmla="*/ 6542674 h 6857997"/>
              <a:gd name="connsiteX59" fmla="*/ 653792 w 4072023"/>
              <a:gd name="connsiteY59" fmla="*/ 6514282 h 6857997"/>
              <a:gd name="connsiteX60" fmla="*/ 629223 w 4072023"/>
              <a:gd name="connsiteY60" fmla="*/ 6487707 h 6857997"/>
              <a:gd name="connsiteX61" fmla="*/ 604404 w 4072023"/>
              <a:gd name="connsiteY61" fmla="*/ 6487707 h 6857997"/>
              <a:gd name="connsiteX62" fmla="*/ 595817 w 4072023"/>
              <a:gd name="connsiteY62" fmla="*/ 6479246 h 6857997"/>
              <a:gd name="connsiteX63" fmla="*/ 604404 w 4072023"/>
              <a:gd name="connsiteY63" fmla="*/ 6470785 h 6857997"/>
              <a:gd name="connsiteX64" fmla="*/ 647462 w 4072023"/>
              <a:gd name="connsiteY64" fmla="*/ 6470785 h 6857997"/>
              <a:gd name="connsiteX65" fmla="*/ 647462 w 4072023"/>
              <a:gd name="connsiteY65" fmla="*/ 6451543 h 6857997"/>
              <a:gd name="connsiteX66" fmla="*/ 1023956 w 4072023"/>
              <a:gd name="connsiteY66" fmla="*/ 6451480 h 6857997"/>
              <a:gd name="connsiteX67" fmla="*/ 1023956 w 4072023"/>
              <a:gd name="connsiteY67" fmla="*/ 6542674 h 6857997"/>
              <a:gd name="connsiteX68" fmla="*/ 1045016 w 4072023"/>
              <a:gd name="connsiteY68" fmla="*/ 6542674 h 6857997"/>
              <a:gd name="connsiteX69" fmla="*/ 1045016 w 4072023"/>
              <a:gd name="connsiteY69" fmla="*/ 6504191 h 6857997"/>
              <a:gd name="connsiteX70" fmla="*/ 1074975 w 4072023"/>
              <a:gd name="connsiteY70" fmla="*/ 6542674 h 6857997"/>
              <a:gd name="connsiteX71" fmla="*/ 1099481 w 4072023"/>
              <a:gd name="connsiteY71" fmla="*/ 6542674 h 6857997"/>
              <a:gd name="connsiteX72" fmla="*/ 1065009 w 4072023"/>
              <a:gd name="connsiteY72" fmla="*/ 6497109 h 6857997"/>
              <a:gd name="connsiteX73" fmla="*/ 1099481 w 4072023"/>
              <a:gd name="connsiteY73" fmla="*/ 6451480 h 6857997"/>
              <a:gd name="connsiteX74" fmla="*/ 1074975 w 4072023"/>
              <a:gd name="connsiteY74" fmla="*/ 6451480 h 6857997"/>
              <a:gd name="connsiteX75" fmla="*/ 1045016 w 4072023"/>
              <a:gd name="connsiteY75" fmla="*/ 6489963 h 6857997"/>
              <a:gd name="connsiteX76" fmla="*/ 1045016 w 4072023"/>
              <a:gd name="connsiteY76" fmla="*/ 6451480 h 6857997"/>
              <a:gd name="connsiteX77" fmla="*/ 666077 w 4072023"/>
              <a:gd name="connsiteY77" fmla="*/ 6451480 h 6857997"/>
              <a:gd name="connsiteX78" fmla="*/ 666077 w 4072023"/>
              <a:gd name="connsiteY78" fmla="*/ 6542674 h 6857997"/>
              <a:gd name="connsiteX79" fmla="*/ 687073 w 4072023"/>
              <a:gd name="connsiteY79" fmla="*/ 6542674 h 6857997"/>
              <a:gd name="connsiteX80" fmla="*/ 687073 w 4072023"/>
              <a:gd name="connsiteY80" fmla="*/ 6504191 h 6857997"/>
              <a:gd name="connsiteX81" fmla="*/ 717033 w 4072023"/>
              <a:gd name="connsiteY81" fmla="*/ 6542674 h 6857997"/>
              <a:gd name="connsiteX82" fmla="*/ 741602 w 4072023"/>
              <a:gd name="connsiteY82" fmla="*/ 6542674 h 6857997"/>
              <a:gd name="connsiteX83" fmla="*/ 707067 w 4072023"/>
              <a:gd name="connsiteY83" fmla="*/ 6497109 h 6857997"/>
              <a:gd name="connsiteX84" fmla="*/ 741602 w 4072023"/>
              <a:gd name="connsiteY84" fmla="*/ 6451480 h 6857997"/>
              <a:gd name="connsiteX85" fmla="*/ 717033 w 4072023"/>
              <a:gd name="connsiteY85" fmla="*/ 6451480 h 6857997"/>
              <a:gd name="connsiteX86" fmla="*/ 687073 w 4072023"/>
              <a:gd name="connsiteY86" fmla="*/ 6489963 h 6857997"/>
              <a:gd name="connsiteX87" fmla="*/ 687073 w 4072023"/>
              <a:gd name="connsiteY87" fmla="*/ 6451480 h 6857997"/>
              <a:gd name="connsiteX88" fmla="*/ 0 w 4072023"/>
              <a:gd name="connsiteY88" fmla="*/ 0 h 6857997"/>
              <a:gd name="connsiteX89" fmla="*/ 4072023 w 4072023"/>
              <a:gd name="connsiteY89" fmla="*/ 0 h 6857997"/>
              <a:gd name="connsiteX90" fmla="*/ 4072023 w 4072023"/>
              <a:gd name="connsiteY90" fmla="*/ 6857997 h 6857997"/>
              <a:gd name="connsiteX91" fmla="*/ 0 w 4072023"/>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4072023"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4072023" y="0"/>
                </a:lnTo>
                <a:lnTo>
                  <a:pt x="4072023"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8" name="Picture Placeholder 17">
            <a:extLst>
              <a:ext uri="{FF2B5EF4-FFF2-40B4-BE49-F238E27FC236}">
                <a16:creationId xmlns:a16="http://schemas.microsoft.com/office/drawing/2014/main" id="{1D8C10B2-C5B9-8C42-AAE6-7022794E8D33}"/>
              </a:ext>
            </a:extLst>
          </p:cNvPr>
          <p:cNvSpPr>
            <a:spLocks noGrp="1"/>
          </p:cNvSpPr>
          <p:nvPr>
            <p:ph type="pic" sz="quarter" idx="18" hasCustomPrompt="1"/>
          </p:nvPr>
        </p:nvSpPr>
        <p:spPr>
          <a:xfrm>
            <a:off x="8127999" y="0"/>
            <a:ext cx="4076277" cy="6858000"/>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6" name="Text Placeholder 18">
            <a:extLst>
              <a:ext uri="{FF2B5EF4-FFF2-40B4-BE49-F238E27FC236}">
                <a16:creationId xmlns:a16="http://schemas.microsoft.com/office/drawing/2014/main" id="{CAD788D9-156D-3B46-B27B-0C6E941B8270}"/>
              </a:ext>
            </a:extLst>
          </p:cNvPr>
          <p:cNvSpPr>
            <a:spLocks noGrp="1"/>
          </p:cNvSpPr>
          <p:nvPr>
            <p:ph type="body" sz="quarter" idx="21" hasCustomPrompt="1"/>
          </p:nvPr>
        </p:nvSpPr>
        <p:spPr>
          <a:xfrm>
            <a:off x="8146861" y="2600435"/>
            <a:ext cx="4057415" cy="1657129"/>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defRPr>
            </a:lvl1pPr>
          </a:lstStyle>
          <a:p>
            <a:pPr lvl="0"/>
            <a:r>
              <a:rPr lang="en-US" noProof="0"/>
              <a:t>Click to add text</a:t>
            </a:r>
          </a:p>
        </p:txBody>
      </p:sp>
      <p:sp>
        <p:nvSpPr>
          <p:cNvPr id="19" name="Text Placeholder 18">
            <a:extLst>
              <a:ext uri="{FF2B5EF4-FFF2-40B4-BE49-F238E27FC236}">
                <a16:creationId xmlns:a16="http://schemas.microsoft.com/office/drawing/2014/main" id="{9E751731-59C5-B049-9487-248BD0C40892}"/>
              </a:ext>
            </a:extLst>
          </p:cNvPr>
          <p:cNvSpPr>
            <a:spLocks noGrp="1"/>
          </p:cNvSpPr>
          <p:nvPr>
            <p:ph type="body" sz="quarter" idx="26" hasCustomPrompt="1"/>
          </p:nvPr>
        </p:nvSpPr>
        <p:spPr>
          <a:xfrm>
            <a:off x="-8834" y="2600435"/>
            <a:ext cx="4076276" cy="1657129"/>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defRPr>
            </a:lvl1pPr>
          </a:lstStyle>
          <a:p>
            <a:pPr lvl="0"/>
            <a:r>
              <a:rPr lang="en-US" noProof="0"/>
              <a:t>Click to add text</a:t>
            </a:r>
          </a:p>
        </p:txBody>
      </p:sp>
      <p:sp>
        <p:nvSpPr>
          <p:cNvPr id="22" name="Text Placeholder 18">
            <a:extLst>
              <a:ext uri="{FF2B5EF4-FFF2-40B4-BE49-F238E27FC236}">
                <a16:creationId xmlns:a16="http://schemas.microsoft.com/office/drawing/2014/main" id="{2DA0EC46-A30E-6E40-B15A-2A147BD09EBB}"/>
              </a:ext>
            </a:extLst>
          </p:cNvPr>
          <p:cNvSpPr>
            <a:spLocks noGrp="1"/>
          </p:cNvSpPr>
          <p:nvPr>
            <p:ph type="body" sz="quarter" idx="28" hasCustomPrompt="1"/>
          </p:nvPr>
        </p:nvSpPr>
        <p:spPr>
          <a:xfrm>
            <a:off x="4072836" y="2600435"/>
            <a:ext cx="4047138" cy="1657129"/>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defRPr>
            </a:lvl1pPr>
          </a:lstStyle>
          <a:p>
            <a:pPr lvl="0"/>
            <a:r>
              <a:rPr lang="en-US" noProof="0"/>
              <a:t>Click to add text</a:t>
            </a:r>
          </a:p>
        </p:txBody>
      </p:sp>
      <p:sp>
        <p:nvSpPr>
          <p:cNvPr id="11" name="textruta 5">
            <a:extLst>
              <a:ext uri="{FF2B5EF4-FFF2-40B4-BE49-F238E27FC236}">
                <a16:creationId xmlns:a16="http://schemas.microsoft.com/office/drawing/2014/main" id="{11454871-6E41-9045-84A7-31FC43D47801}"/>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2" name="textruta 11">
            <a:extLst>
              <a:ext uri="{FF2B5EF4-FFF2-40B4-BE49-F238E27FC236}">
                <a16:creationId xmlns:a16="http://schemas.microsoft.com/office/drawing/2014/main" id="{8E1720B2-EFAF-B84F-B64E-421B9C701D7D}"/>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3" name="Rektangel 12">
            <a:extLst>
              <a:ext uri="{FF2B5EF4-FFF2-40B4-BE49-F238E27FC236}">
                <a16:creationId xmlns:a16="http://schemas.microsoft.com/office/drawing/2014/main" id="{5A2B0DFE-5964-6446-982D-1886963B932D}"/>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ktangel 13">
            <a:extLst>
              <a:ext uri="{FF2B5EF4-FFF2-40B4-BE49-F238E27FC236}">
                <a16:creationId xmlns:a16="http://schemas.microsoft.com/office/drawing/2014/main" id="{D05655AB-CE15-6D47-8CB8-6546336F9E01}"/>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Platshållare för datum 3">
            <a:extLst>
              <a:ext uri="{FF2B5EF4-FFF2-40B4-BE49-F238E27FC236}">
                <a16:creationId xmlns:a16="http://schemas.microsoft.com/office/drawing/2014/main" id="{5F82BC1C-B4A5-2943-B1F7-2C1E6F11224B}"/>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F0A653C5-CD09-416C-8D8F-A2A40D08F201}" type="datetime1">
              <a:rPr lang="en-US" smtClean="0"/>
              <a:t>11/7/2025</a:t>
            </a:fld>
            <a:endParaRPr lang="en-US"/>
          </a:p>
        </p:txBody>
      </p:sp>
      <p:sp>
        <p:nvSpPr>
          <p:cNvPr id="17" name="Platshållare för sidfot 4">
            <a:extLst>
              <a:ext uri="{FF2B5EF4-FFF2-40B4-BE49-F238E27FC236}">
                <a16:creationId xmlns:a16="http://schemas.microsoft.com/office/drawing/2014/main" id="{34176E80-8CD3-D446-B2F2-66C3A2315ACE}"/>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nb-NO"/>
              <a:t>Skanska Norge Hovedpresentasjon - desember 2022</a:t>
            </a:r>
            <a:endParaRPr lang="en-US"/>
          </a:p>
        </p:txBody>
      </p:sp>
      <p:sp>
        <p:nvSpPr>
          <p:cNvPr id="20" name="Platshållare för bildnummer 5">
            <a:extLst>
              <a:ext uri="{FF2B5EF4-FFF2-40B4-BE49-F238E27FC236}">
                <a16:creationId xmlns:a16="http://schemas.microsoft.com/office/drawing/2014/main" id="{0452F84B-9D3A-DF46-B5DC-59D2BAE7C253}"/>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23" name="Text Placeholder 4">
            <a:extLst>
              <a:ext uri="{FF2B5EF4-FFF2-40B4-BE49-F238E27FC236}">
                <a16:creationId xmlns:a16="http://schemas.microsoft.com/office/drawing/2014/main" id="{DFEC13B5-DF4A-1E41-ADC4-C58B38BA57F6}"/>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4" name="Text Placeholder 4">
            <a:extLst>
              <a:ext uri="{FF2B5EF4-FFF2-40B4-BE49-F238E27FC236}">
                <a16:creationId xmlns:a16="http://schemas.microsoft.com/office/drawing/2014/main" id="{E2CCC3D8-EC70-8647-821E-C44326AA93C7}"/>
              </a:ext>
            </a:extLst>
          </p:cNvPr>
          <p:cNvSpPr>
            <a:spLocks noGrp="1"/>
          </p:cNvSpPr>
          <p:nvPr>
            <p:ph type="body" sz="quarter" idx="29" hasCustomPrompt="1"/>
          </p:nvPr>
        </p:nvSpPr>
        <p:spPr>
          <a:xfrm rot="5400000">
            <a:off x="6848567" y="803645"/>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6" name="Text Placeholder 4">
            <a:extLst>
              <a:ext uri="{FF2B5EF4-FFF2-40B4-BE49-F238E27FC236}">
                <a16:creationId xmlns:a16="http://schemas.microsoft.com/office/drawing/2014/main" id="{B3AFB980-8481-1048-B1F9-E5F80CF85165}"/>
              </a:ext>
            </a:extLst>
          </p:cNvPr>
          <p:cNvSpPr>
            <a:spLocks noGrp="1"/>
          </p:cNvSpPr>
          <p:nvPr>
            <p:ph type="body" sz="quarter" idx="30" hasCustomPrompt="1"/>
          </p:nvPr>
        </p:nvSpPr>
        <p:spPr>
          <a:xfrm rot="5400000">
            <a:off x="2781758" y="803645"/>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68951513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 Four Images Text">
    <p:bg>
      <p:bgPr>
        <a:solidFill>
          <a:schemeClr val="bg1"/>
        </a:solidFill>
        <a:effectLst/>
      </p:bgPr>
    </p:bg>
    <p:spTree>
      <p:nvGrpSpPr>
        <p:cNvPr id="1" name=""/>
        <p:cNvGrpSpPr/>
        <p:nvPr/>
      </p:nvGrpSpPr>
      <p:grpSpPr>
        <a:xfrm>
          <a:off x="0" y="0"/>
          <a:ext cx="0" cy="0"/>
          <a:chOff x="0" y="0"/>
          <a:chExt cx="0" cy="0"/>
        </a:xfrm>
      </p:grpSpPr>
      <p:sp>
        <p:nvSpPr>
          <p:cNvPr id="33" name="Picture Placeholder 17">
            <a:extLst>
              <a:ext uri="{FF2B5EF4-FFF2-40B4-BE49-F238E27FC236}">
                <a16:creationId xmlns:a16="http://schemas.microsoft.com/office/drawing/2014/main" id="{91BA1C63-2CDA-0D4F-B07B-0D835EE08330}"/>
              </a:ext>
            </a:extLst>
          </p:cNvPr>
          <p:cNvSpPr>
            <a:spLocks noGrp="1"/>
          </p:cNvSpPr>
          <p:nvPr>
            <p:ph type="pic" sz="quarter" idx="18" hasCustomPrompt="1"/>
          </p:nvPr>
        </p:nvSpPr>
        <p:spPr>
          <a:xfrm>
            <a:off x="6096557" y="3429002"/>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32" name="Picture Placeholder 31">
            <a:extLst>
              <a:ext uri="{FF2B5EF4-FFF2-40B4-BE49-F238E27FC236}">
                <a16:creationId xmlns:a16="http://schemas.microsoft.com/office/drawing/2014/main" id="{511CEB27-B422-504F-B7BF-31E339BFB94A}"/>
              </a:ext>
            </a:extLst>
          </p:cNvPr>
          <p:cNvSpPr>
            <a:spLocks noGrp="1"/>
          </p:cNvSpPr>
          <p:nvPr>
            <p:ph type="pic" sz="quarter" idx="25" hasCustomPrompt="1"/>
          </p:nvPr>
        </p:nvSpPr>
        <p:spPr>
          <a:xfrm>
            <a:off x="5" y="3429000"/>
            <a:ext cx="6096552" cy="3429002"/>
          </a:xfrm>
          <a:custGeom>
            <a:avLst/>
            <a:gdLst>
              <a:gd name="connsiteX0" fmla="*/ 1146049 w 6096552"/>
              <a:gd name="connsiteY0" fmla="*/ 3041539 h 3429002"/>
              <a:gd name="connsiteX1" fmla="*/ 1157832 w 6096552"/>
              <a:gd name="connsiteY1" fmla="*/ 3076512 h 3429002"/>
              <a:gd name="connsiteX2" fmla="*/ 1134642 w 6096552"/>
              <a:gd name="connsiteY2" fmla="*/ 3076512 h 3429002"/>
              <a:gd name="connsiteX3" fmla="*/ 788170 w 6096552"/>
              <a:gd name="connsiteY3" fmla="*/ 3041539 h 3429002"/>
              <a:gd name="connsiteX4" fmla="*/ 799953 w 6096552"/>
              <a:gd name="connsiteY4" fmla="*/ 3076512 h 3429002"/>
              <a:gd name="connsiteX5" fmla="*/ 776763 w 6096552"/>
              <a:gd name="connsiteY5" fmla="*/ 3076512 h 3429002"/>
              <a:gd name="connsiteX6" fmla="*/ 1132323 w 6096552"/>
              <a:gd name="connsiteY6" fmla="*/ 3022548 h 3429002"/>
              <a:gd name="connsiteX7" fmla="*/ 1100860 w 6096552"/>
              <a:gd name="connsiteY7" fmla="*/ 3113679 h 3429002"/>
              <a:gd name="connsiteX8" fmla="*/ 1123110 w 6096552"/>
              <a:gd name="connsiteY8" fmla="*/ 3113679 h 3429002"/>
              <a:gd name="connsiteX9" fmla="*/ 1128876 w 6096552"/>
              <a:gd name="connsiteY9" fmla="*/ 3095065 h 3429002"/>
              <a:gd name="connsiteX10" fmla="*/ 1163786 w 6096552"/>
              <a:gd name="connsiteY10" fmla="*/ 3095065 h 3429002"/>
              <a:gd name="connsiteX11" fmla="*/ 1169741 w 6096552"/>
              <a:gd name="connsiteY11" fmla="*/ 3113679 h 3429002"/>
              <a:gd name="connsiteX12" fmla="*/ 1191615 w 6096552"/>
              <a:gd name="connsiteY12" fmla="*/ 3113679 h 3429002"/>
              <a:gd name="connsiteX13" fmla="*/ 1159148 w 6096552"/>
              <a:gd name="connsiteY13" fmla="*/ 3022548 h 3429002"/>
              <a:gd name="connsiteX14" fmla="*/ 961907 w 6096552"/>
              <a:gd name="connsiteY14" fmla="*/ 3022548 h 3429002"/>
              <a:gd name="connsiteX15" fmla="*/ 933640 w 6096552"/>
              <a:gd name="connsiteY15" fmla="*/ 3050251 h 3429002"/>
              <a:gd name="connsiteX16" fmla="*/ 961907 w 6096552"/>
              <a:gd name="connsiteY16" fmla="*/ 3076826 h 3429002"/>
              <a:gd name="connsiteX17" fmla="*/ 983468 w 6096552"/>
              <a:gd name="connsiteY17" fmla="*/ 3076826 h 3429002"/>
              <a:gd name="connsiteX18" fmla="*/ 991678 w 6096552"/>
              <a:gd name="connsiteY18" fmla="*/ 3085287 h 3429002"/>
              <a:gd name="connsiteX19" fmla="*/ 983468 w 6096552"/>
              <a:gd name="connsiteY19" fmla="*/ 3093748 h 3429002"/>
              <a:gd name="connsiteX20" fmla="*/ 937338 w 6096552"/>
              <a:gd name="connsiteY20" fmla="*/ 3093748 h 3429002"/>
              <a:gd name="connsiteX21" fmla="*/ 937338 w 6096552"/>
              <a:gd name="connsiteY21" fmla="*/ 3113679 h 3429002"/>
              <a:gd name="connsiteX22" fmla="*/ 982716 w 6096552"/>
              <a:gd name="connsiteY22" fmla="*/ 3113679 h 3429002"/>
              <a:gd name="connsiteX23" fmla="*/ 1011358 w 6096552"/>
              <a:gd name="connsiteY23" fmla="*/ 3085287 h 3429002"/>
              <a:gd name="connsiteX24" fmla="*/ 986727 w 6096552"/>
              <a:gd name="connsiteY24" fmla="*/ 3058712 h 3429002"/>
              <a:gd name="connsiteX25" fmla="*/ 961907 w 6096552"/>
              <a:gd name="connsiteY25" fmla="*/ 3058712 h 3429002"/>
              <a:gd name="connsiteX26" fmla="*/ 953321 w 6096552"/>
              <a:gd name="connsiteY26" fmla="*/ 3050251 h 3429002"/>
              <a:gd name="connsiteX27" fmla="*/ 961907 w 6096552"/>
              <a:gd name="connsiteY27" fmla="*/ 3041790 h 3429002"/>
              <a:gd name="connsiteX28" fmla="*/ 1004965 w 6096552"/>
              <a:gd name="connsiteY28" fmla="*/ 3041790 h 3429002"/>
              <a:gd name="connsiteX29" fmla="*/ 1004965 w 6096552"/>
              <a:gd name="connsiteY29" fmla="*/ 3022548 h 3429002"/>
              <a:gd name="connsiteX30" fmla="*/ 841570 w 6096552"/>
              <a:gd name="connsiteY30" fmla="*/ 3022548 h 3429002"/>
              <a:gd name="connsiteX31" fmla="*/ 841570 w 6096552"/>
              <a:gd name="connsiteY31" fmla="*/ 3113679 h 3429002"/>
              <a:gd name="connsiteX32" fmla="*/ 862692 w 6096552"/>
              <a:gd name="connsiteY32" fmla="*/ 3113679 h 3429002"/>
              <a:gd name="connsiteX33" fmla="*/ 862692 w 6096552"/>
              <a:gd name="connsiteY33" fmla="*/ 3057459 h 3429002"/>
              <a:gd name="connsiteX34" fmla="*/ 898981 w 6096552"/>
              <a:gd name="connsiteY34" fmla="*/ 3113491 h 3429002"/>
              <a:gd name="connsiteX35" fmla="*/ 898981 w 6096552"/>
              <a:gd name="connsiteY35" fmla="*/ 3113679 h 3429002"/>
              <a:gd name="connsiteX36" fmla="*/ 920855 w 6096552"/>
              <a:gd name="connsiteY36" fmla="*/ 3113679 h 3429002"/>
              <a:gd name="connsiteX37" fmla="*/ 920793 w 6096552"/>
              <a:gd name="connsiteY37" fmla="*/ 3093999 h 3429002"/>
              <a:gd name="connsiteX38" fmla="*/ 920667 w 6096552"/>
              <a:gd name="connsiteY38" fmla="*/ 3022548 h 3429002"/>
              <a:gd name="connsiteX39" fmla="*/ 899671 w 6096552"/>
              <a:gd name="connsiteY39" fmla="*/ 3022548 h 3429002"/>
              <a:gd name="connsiteX40" fmla="*/ 899671 w 6096552"/>
              <a:gd name="connsiteY40" fmla="*/ 3079834 h 3429002"/>
              <a:gd name="connsiteX41" fmla="*/ 863068 w 6096552"/>
              <a:gd name="connsiteY41" fmla="*/ 3022548 h 3429002"/>
              <a:gd name="connsiteX42" fmla="*/ 774444 w 6096552"/>
              <a:gd name="connsiteY42" fmla="*/ 3022548 h 3429002"/>
              <a:gd name="connsiteX43" fmla="*/ 742918 w 6096552"/>
              <a:gd name="connsiteY43" fmla="*/ 3113679 h 3429002"/>
              <a:gd name="connsiteX44" fmla="*/ 765168 w 6096552"/>
              <a:gd name="connsiteY44" fmla="*/ 3113679 h 3429002"/>
              <a:gd name="connsiteX45" fmla="*/ 770934 w 6096552"/>
              <a:gd name="connsiteY45" fmla="*/ 3095065 h 3429002"/>
              <a:gd name="connsiteX46" fmla="*/ 805845 w 6096552"/>
              <a:gd name="connsiteY46" fmla="*/ 3095065 h 3429002"/>
              <a:gd name="connsiteX47" fmla="*/ 811799 w 6096552"/>
              <a:gd name="connsiteY47" fmla="*/ 3113679 h 3429002"/>
              <a:gd name="connsiteX48" fmla="*/ 833735 w 6096552"/>
              <a:gd name="connsiteY48" fmla="*/ 3113679 h 3429002"/>
              <a:gd name="connsiteX49" fmla="*/ 801269 w 6096552"/>
              <a:gd name="connsiteY49" fmla="*/ 3022548 h 3429002"/>
              <a:gd name="connsiteX50" fmla="*/ 604404 w 6096552"/>
              <a:gd name="connsiteY50" fmla="*/ 3022548 h 3429002"/>
              <a:gd name="connsiteX51" fmla="*/ 576137 w 6096552"/>
              <a:gd name="connsiteY51" fmla="*/ 3050251 h 3429002"/>
              <a:gd name="connsiteX52" fmla="*/ 604404 w 6096552"/>
              <a:gd name="connsiteY52" fmla="*/ 3076826 h 3429002"/>
              <a:gd name="connsiteX53" fmla="*/ 625964 w 6096552"/>
              <a:gd name="connsiteY53" fmla="*/ 3076826 h 3429002"/>
              <a:gd name="connsiteX54" fmla="*/ 634174 w 6096552"/>
              <a:gd name="connsiteY54" fmla="*/ 3085287 h 3429002"/>
              <a:gd name="connsiteX55" fmla="*/ 625964 w 6096552"/>
              <a:gd name="connsiteY55" fmla="*/ 3093748 h 3429002"/>
              <a:gd name="connsiteX56" fmla="*/ 579772 w 6096552"/>
              <a:gd name="connsiteY56" fmla="*/ 3093748 h 3429002"/>
              <a:gd name="connsiteX57" fmla="*/ 579772 w 6096552"/>
              <a:gd name="connsiteY57" fmla="*/ 3113679 h 3429002"/>
              <a:gd name="connsiteX58" fmla="*/ 625149 w 6096552"/>
              <a:gd name="connsiteY58" fmla="*/ 3113679 h 3429002"/>
              <a:gd name="connsiteX59" fmla="*/ 653792 w 6096552"/>
              <a:gd name="connsiteY59" fmla="*/ 3085287 h 3429002"/>
              <a:gd name="connsiteX60" fmla="*/ 629223 w 6096552"/>
              <a:gd name="connsiteY60" fmla="*/ 3058712 h 3429002"/>
              <a:gd name="connsiteX61" fmla="*/ 604404 w 6096552"/>
              <a:gd name="connsiteY61" fmla="*/ 3058712 h 3429002"/>
              <a:gd name="connsiteX62" fmla="*/ 595817 w 6096552"/>
              <a:gd name="connsiteY62" fmla="*/ 3050251 h 3429002"/>
              <a:gd name="connsiteX63" fmla="*/ 604404 w 6096552"/>
              <a:gd name="connsiteY63" fmla="*/ 3041790 h 3429002"/>
              <a:gd name="connsiteX64" fmla="*/ 647462 w 6096552"/>
              <a:gd name="connsiteY64" fmla="*/ 3041790 h 3429002"/>
              <a:gd name="connsiteX65" fmla="*/ 647462 w 6096552"/>
              <a:gd name="connsiteY65" fmla="*/ 3022548 h 3429002"/>
              <a:gd name="connsiteX66" fmla="*/ 1023956 w 6096552"/>
              <a:gd name="connsiteY66" fmla="*/ 3022485 h 3429002"/>
              <a:gd name="connsiteX67" fmla="*/ 1023956 w 6096552"/>
              <a:gd name="connsiteY67" fmla="*/ 3113679 h 3429002"/>
              <a:gd name="connsiteX68" fmla="*/ 1045016 w 6096552"/>
              <a:gd name="connsiteY68" fmla="*/ 3113679 h 3429002"/>
              <a:gd name="connsiteX69" fmla="*/ 1045016 w 6096552"/>
              <a:gd name="connsiteY69" fmla="*/ 3075196 h 3429002"/>
              <a:gd name="connsiteX70" fmla="*/ 1074975 w 6096552"/>
              <a:gd name="connsiteY70" fmla="*/ 3113679 h 3429002"/>
              <a:gd name="connsiteX71" fmla="*/ 1099481 w 6096552"/>
              <a:gd name="connsiteY71" fmla="*/ 3113679 h 3429002"/>
              <a:gd name="connsiteX72" fmla="*/ 1065009 w 6096552"/>
              <a:gd name="connsiteY72" fmla="*/ 3068114 h 3429002"/>
              <a:gd name="connsiteX73" fmla="*/ 1099481 w 6096552"/>
              <a:gd name="connsiteY73" fmla="*/ 3022485 h 3429002"/>
              <a:gd name="connsiteX74" fmla="*/ 1074975 w 6096552"/>
              <a:gd name="connsiteY74" fmla="*/ 3022485 h 3429002"/>
              <a:gd name="connsiteX75" fmla="*/ 1045016 w 6096552"/>
              <a:gd name="connsiteY75" fmla="*/ 3060968 h 3429002"/>
              <a:gd name="connsiteX76" fmla="*/ 1045016 w 6096552"/>
              <a:gd name="connsiteY76" fmla="*/ 3022485 h 3429002"/>
              <a:gd name="connsiteX77" fmla="*/ 666077 w 6096552"/>
              <a:gd name="connsiteY77" fmla="*/ 3022485 h 3429002"/>
              <a:gd name="connsiteX78" fmla="*/ 666077 w 6096552"/>
              <a:gd name="connsiteY78" fmla="*/ 3113679 h 3429002"/>
              <a:gd name="connsiteX79" fmla="*/ 687073 w 6096552"/>
              <a:gd name="connsiteY79" fmla="*/ 3113679 h 3429002"/>
              <a:gd name="connsiteX80" fmla="*/ 687073 w 6096552"/>
              <a:gd name="connsiteY80" fmla="*/ 3075196 h 3429002"/>
              <a:gd name="connsiteX81" fmla="*/ 717033 w 6096552"/>
              <a:gd name="connsiteY81" fmla="*/ 3113679 h 3429002"/>
              <a:gd name="connsiteX82" fmla="*/ 741602 w 6096552"/>
              <a:gd name="connsiteY82" fmla="*/ 3113679 h 3429002"/>
              <a:gd name="connsiteX83" fmla="*/ 707067 w 6096552"/>
              <a:gd name="connsiteY83" fmla="*/ 3068114 h 3429002"/>
              <a:gd name="connsiteX84" fmla="*/ 741602 w 6096552"/>
              <a:gd name="connsiteY84" fmla="*/ 3022485 h 3429002"/>
              <a:gd name="connsiteX85" fmla="*/ 717033 w 6096552"/>
              <a:gd name="connsiteY85" fmla="*/ 3022485 h 3429002"/>
              <a:gd name="connsiteX86" fmla="*/ 687073 w 6096552"/>
              <a:gd name="connsiteY86" fmla="*/ 3060968 h 3429002"/>
              <a:gd name="connsiteX87" fmla="*/ 687073 w 6096552"/>
              <a:gd name="connsiteY87" fmla="*/ 3022485 h 3429002"/>
              <a:gd name="connsiteX88" fmla="*/ 0 w 6096552"/>
              <a:gd name="connsiteY88" fmla="*/ 0 h 3429002"/>
              <a:gd name="connsiteX89" fmla="*/ 6096552 w 6096552"/>
              <a:gd name="connsiteY89" fmla="*/ 0 h 3429002"/>
              <a:gd name="connsiteX90" fmla="*/ 6096552 w 6096552"/>
              <a:gd name="connsiteY90" fmla="*/ 1 h 3429002"/>
              <a:gd name="connsiteX91" fmla="*/ 6096552 w 6096552"/>
              <a:gd name="connsiteY91" fmla="*/ 2 h 3429002"/>
              <a:gd name="connsiteX92" fmla="*/ 6096552 w 6096552"/>
              <a:gd name="connsiteY92" fmla="*/ 3429000 h 3429002"/>
              <a:gd name="connsiteX93" fmla="*/ 6096552 w 6096552"/>
              <a:gd name="connsiteY93" fmla="*/ 3429002 h 3429002"/>
              <a:gd name="connsiteX94" fmla="*/ 0 w 6096552"/>
              <a:gd name="connsiteY94" fmla="*/ 3429002 h 3429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6096552" h="3429002">
                <a:moveTo>
                  <a:pt x="1146049" y="3041539"/>
                </a:moveTo>
                <a:lnTo>
                  <a:pt x="1157832" y="3076512"/>
                </a:lnTo>
                <a:lnTo>
                  <a:pt x="1134642" y="3076512"/>
                </a:lnTo>
                <a:close/>
                <a:moveTo>
                  <a:pt x="788170" y="3041539"/>
                </a:moveTo>
                <a:lnTo>
                  <a:pt x="799953" y="3076512"/>
                </a:lnTo>
                <a:lnTo>
                  <a:pt x="776763" y="3076512"/>
                </a:lnTo>
                <a:close/>
                <a:moveTo>
                  <a:pt x="1132323" y="3022548"/>
                </a:moveTo>
                <a:lnTo>
                  <a:pt x="1100860" y="3113679"/>
                </a:lnTo>
                <a:lnTo>
                  <a:pt x="1123110" y="3113679"/>
                </a:lnTo>
                <a:lnTo>
                  <a:pt x="1128876" y="3095065"/>
                </a:lnTo>
                <a:lnTo>
                  <a:pt x="1163786" y="3095065"/>
                </a:lnTo>
                <a:lnTo>
                  <a:pt x="1169741" y="3113679"/>
                </a:lnTo>
                <a:lnTo>
                  <a:pt x="1191615" y="3113679"/>
                </a:lnTo>
                <a:lnTo>
                  <a:pt x="1159148" y="3022548"/>
                </a:lnTo>
                <a:close/>
                <a:moveTo>
                  <a:pt x="961907" y="3022548"/>
                </a:moveTo>
                <a:cubicBezTo>
                  <a:pt x="944358" y="3022548"/>
                  <a:pt x="933640" y="3032827"/>
                  <a:pt x="933640" y="3050251"/>
                </a:cubicBezTo>
                <a:cubicBezTo>
                  <a:pt x="933640" y="3067675"/>
                  <a:pt x="945987" y="3076826"/>
                  <a:pt x="961907" y="3076826"/>
                </a:cubicBezTo>
                <a:lnTo>
                  <a:pt x="983468" y="3076826"/>
                </a:lnTo>
                <a:cubicBezTo>
                  <a:pt x="988921" y="3076826"/>
                  <a:pt x="991678" y="3080962"/>
                  <a:pt x="991678" y="3085287"/>
                </a:cubicBezTo>
                <a:cubicBezTo>
                  <a:pt x="991678" y="3089737"/>
                  <a:pt x="988921" y="3093748"/>
                  <a:pt x="983468" y="3093748"/>
                </a:cubicBezTo>
                <a:lnTo>
                  <a:pt x="937338" y="3093748"/>
                </a:lnTo>
                <a:lnTo>
                  <a:pt x="937338" y="3113679"/>
                </a:lnTo>
                <a:lnTo>
                  <a:pt x="982716" y="3113679"/>
                </a:lnTo>
                <a:cubicBezTo>
                  <a:pt x="1000704" y="3113679"/>
                  <a:pt x="1011358" y="3103777"/>
                  <a:pt x="1011358" y="3085287"/>
                </a:cubicBezTo>
                <a:cubicBezTo>
                  <a:pt x="1011358" y="3068615"/>
                  <a:pt x="1000641" y="3058712"/>
                  <a:pt x="986727" y="3058712"/>
                </a:cubicBezTo>
                <a:lnTo>
                  <a:pt x="961907" y="3058712"/>
                </a:lnTo>
                <a:cubicBezTo>
                  <a:pt x="956078" y="3058712"/>
                  <a:pt x="953321" y="3054701"/>
                  <a:pt x="953321" y="3050251"/>
                </a:cubicBezTo>
                <a:cubicBezTo>
                  <a:pt x="953321" y="3045801"/>
                  <a:pt x="956078" y="3041790"/>
                  <a:pt x="961907" y="3041790"/>
                </a:cubicBezTo>
                <a:lnTo>
                  <a:pt x="1004965" y="3041790"/>
                </a:lnTo>
                <a:lnTo>
                  <a:pt x="1004965" y="3022548"/>
                </a:lnTo>
                <a:close/>
                <a:moveTo>
                  <a:pt x="841570" y="3022548"/>
                </a:moveTo>
                <a:lnTo>
                  <a:pt x="841570" y="3113679"/>
                </a:lnTo>
                <a:lnTo>
                  <a:pt x="862692" y="3113679"/>
                </a:lnTo>
                <a:lnTo>
                  <a:pt x="862692" y="3057459"/>
                </a:lnTo>
                <a:lnTo>
                  <a:pt x="898981" y="3113491"/>
                </a:lnTo>
                <a:lnTo>
                  <a:pt x="898981" y="3113679"/>
                </a:lnTo>
                <a:lnTo>
                  <a:pt x="920855" y="3113679"/>
                </a:lnTo>
                <a:lnTo>
                  <a:pt x="920793" y="3093999"/>
                </a:lnTo>
                <a:lnTo>
                  <a:pt x="920667" y="3022548"/>
                </a:lnTo>
                <a:lnTo>
                  <a:pt x="899671" y="3022548"/>
                </a:lnTo>
                <a:lnTo>
                  <a:pt x="899671" y="3079834"/>
                </a:lnTo>
                <a:lnTo>
                  <a:pt x="863068" y="3022548"/>
                </a:lnTo>
                <a:close/>
                <a:moveTo>
                  <a:pt x="774444" y="3022548"/>
                </a:moveTo>
                <a:lnTo>
                  <a:pt x="742918" y="3113679"/>
                </a:lnTo>
                <a:lnTo>
                  <a:pt x="765168" y="3113679"/>
                </a:lnTo>
                <a:lnTo>
                  <a:pt x="770934" y="3095065"/>
                </a:lnTo>
                <a:lnTo>
                  <a:pt x="805845" y="3095065"/>
                </a:lnTo>
                <a:lnTo>
                  <a:pt x="811799" y="3113679"/>
                </a:lnTo>
                <a:lnTo>
                  <a:pt x="833735" y="3113679"/>
                </a:lnTo>
                <a:lnTo>
                  <a:pt x="801269" y="3022548"/>
                </a:lnTo>
                <a:close/>
                <a:moveTo>
                  <a:pt x="604404" y="3022548"/>
                </a:moveTo>
                <a:cubicBezTo>
                  <a:pt x="586792" y="3022548"/>
                  <a:pt x="576137" y="3032827"/>
                  <a:pt x="576137" y="3050251"/>
                </a:cubicBezTo>
                <a:cubicBezTo>
                  <a:pt x="576137" y="3067675"/>
                  <a:pt x="588484" y="3076826"/>
                  <a:pt x="604404" y="3076826"/>
                </a:cubicBezTo>
                <a:lnTo>
                  <a:pt x="625964" y="3076826"/>
                </a:lnTo>
                <a:cubicBezTo>
                  <a:pt x="631417" y="3076826"/>
                  <a:pt x="634174" y="3080962"/>
                  <a:pt x="634174" y="3085287"/>
                </a:cubicBezTo>
                <a:cubicBezTo>
                  <a:pt x="634174" y="3089737"/>
                  <a:pt x="631417" y="3093748"/>
                  <a:pt x="625964" y="3093748"/>
                </a:cubicBezTo>
                <a:lnTo>
                  <a:pt x="579772" y="3093748"/>
                </a:lnTo>
                <a:lnTo>
                  <a:pt x="579772" y="3113679"/>
                </a:lnTo>
                <a:lnTo>
                  <a:pt x="625149" y="3113679"/>
                </a:lnTo>
                <a:cubicBezTo>
                  <a:pt x="643137" y="3113679"/>
                  <a:pt x="653792" y="3103777"/>
                  <a:pt x="653792" y="3085287"/>
                </a:cubicBezTo>
                <a:cubicBezTo>
                  <a:pt x="653792" y="3068615"/>
                  <a:pt x="643137" y="3058712"/>
                  <a:pt x="629223" y="3058712"/>
                </a:cubicBezTo>
                <a:lnTo>
                  <a:pt x="604404" y="3058712"/>
                </a:lnTo>
                <a:cubicBezTo>
                  <a:pt x="598575" y="3058712"/>
                  <a:pt x="595817" y="3054701"/>
                  <a:pt x="595817" y="3050251"/>
                </a:cubicBezTo>
                <a:cubicBezTo>
                  <a:pt x="595817" y="3045801"/>
                  <a:pt x="598575" y="3041790"/>
                  <a:pt x="604404" y="3041790"/>
                </a:cubicBezTo>
                <a:lnTo>
                  <a:pt x="647462" y="3041790"/>
                </a:lnTo>
                <a:lnTo>
                  <a:pt x="647462" y="3022548"/>
                </a:lnTo>
                <a:close/>
                <a:moveTo>
                  <a:pt x="1023956" y="3022485"/>
                </a:moveTo>
                <a:lnTo>
                  <a:pt x="1023956" y="3113679"/>
                </a:lnTo>
                <a:lnTo>
                  <a:pt x="1045016" y="3113679"/>
                </a:lnTo>
                <a:lnTo>
                  <a:pt x="1045016" y="3075196"/>
                </a:lnTo>
                <a:lnTo>
                  <a:pt x="1074975" y="3113679"/>
                </a:lnTo>
                <a:lnTo>
                  <a:pt x="1099481" y="3113679"/>
                </a:lnTo>
                <a:lnTo>
                  <a:pt x="1065009" y="3068114"/>
                </a:lnTo>
                <a:lnTo>
                  <a:pt x="1099481" y="3022485"/>
                </a:lnTo>
                <a:lnTo>
                  <a:pt x="1074975" y="3022485"/>
                </a:lnTo>
                <a:lnTo>
                  <a:pt x="1045016" y="3060968"/>
                </a:lnTo>
                <a:lnTo>
                  <a:pt x="1045016" y="3022485"/>
                </a:lnTo>
                <a:close/>
                <a:moveTo>
                  <a:pt x="666077" y="3022485"/>
                </a:moveTo>
                <a:lnTo>
                  <a:pt x="666077" y="3113679"/>
                </a:lnTo>
                <a:lnTo>
                  <a:pt x="687073" y="3113679"/>
                </a:lnTo>
                <a:lnTo>
                  <a:pt x="687073" y="3075196"/>
                </a:lnTo>
                <a:lnTo>
                  <a:pt x="717033" y="3113679"/>
                </a:lnTo>
                <a:lnTo>
                  <a:pt x="741602" y="3113679"/>
                </a:lnTo>
                <a:lnTo>
                  <a:pt x="707067" y="3068114"/>
                </a:lnTo>
                <a:lnTo>
                  <a:pt x="741602" y="3022485"/>
                </a:lnTo>
                <a:lnTo>
                  <a:pt x="717033" y="3022485"/>
                </a:lnTo>
                <a:lnTo>
                  <a:pt x="687073" y="3060968"/>
                </a:lnTo>
                <a:lnTo>
                  <a:pt x="687073" y="3022485"/>
                </a:lnTo>
                <a:close/>
                <a:moveTo>
                  <a:pt x="0" y="0"/>
                </a:moveTo>
                <a:lnTo>
                  <a:pt x="6096552" y="0"/>
                </a:lnTo>
                <a:lnTo>
                  <a:pt x="6096552" y="1"/>
                </a:lnTo>
                <a:lnTo>
                  <a:pt x="6096552" y="2"/>
                </a:lnTo>
                <a:lnTo>
                  <a:pt x="6096552" y="3429000"/>
                </a:lnTo>
                <a:lnTo>
                  <a:pt x="6096552" y="3429002"/>
                </a:lnTo>
                <a:lnTo>
                  <a:pt x="0" y="3429002"/>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20" name="Picture Placeholder 11">
            <a:extLst>
              <a:ext uri="{FF2B5EF4-FFF2-40B4-BE49-F238E27FC236}">
                <a16:creationId xmlns:a16="http://schemas.microsoft.com/office/drawing/2014/main" id="{E26C3E65-10F6-D14C-A4C6-B9C29EF3382F}"/>
              </a:ext>
            </a:extLst>
          </p:cNvPr>
          <p:cNvSpPr>
            <a:spLocks noGrp="1"/>
          </p:cNvSpPr>
          <p:nvPr>
            <p:ph type="pic" sz="quarter" idx="13" hasCustomPrompt="1"/>
          </p:nvPr>
        </p:nvSpPr>
        <p:spPr>
          <a:xfrm>
            <a:off x="3"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21" name="Picture Placeholder 13">
            <a:extLst>
              <a:ext uri="{FF2B5EF4-FFF2-40B4-BE49-F238E27FC236}">
                <a16:creationId xmlns:a16="http://schemas.microsoft.com/office/drawing/2014/main" id="{6478AEAD-2263-1A47-A959-55E27B18824E}"/>
              </a:ext>
            </a:extLst>
          </p:cNvPr>
          <p:cNvSpPr>
            <a:spLocks noGrp="1"/>
          </p:cNvSpPr>
          <p:nvPr>
            <p:ph type="pic" sz="quarter" idx="16" hasCustomPrompt="1"/>
          </p:nvPr>
        </p:nvSpPr>
        <p:spPr>
          <a:xfrm>
            <a:off x="6096557"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3" name="Text Placeholder 18">
            <a:extLst>
              <a:ext uri="{FF2B5EF4-FFF2-40B4-BE49-F238E27FC236}">
                <a16:creationId xmlns:a16="http://schemas.microsoft.com/office/drawing/2014/main" id="{AE36B329-0BE6-7A49-8654-DDEA7932EC4D}"/>
              </a:ext>
            </a:extLst>
          </p:cNvPr>
          <p:cNvSpPr>
            <a:spLocks noGrp="1"/>
          </p:cNvSpPr>
          <p:nvPr>
            <p:ph type="body" sz="quarter" idx="19" hasCustomPrompt="1"/>
          </p:nvPr>
        </p:nvSpPr>
        <p:spPr>
          <a:xfrm>
            <a:off x="6102156" y="1300220"/>
            <a:ext cx="6096552" cy="828564"/>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defRPr>
            </a:lvl1pPr>
          </a:lstStyle>
          <a:p>
            <a:pPr lvl="0"/>
            <a:r>
              <a:rPr lang="en-US" noProof="0"/>
              <a:t>Click to add text</a:t>
            </a:r>
          </a:p>
        </p:txBody>
      </p:sp>
      <p:sp>
        <p:nvSpPr>
          <p:cNvPr id="16" name="Text Placeholder 18">
            <a:extLst>
              <a:ext uri="{FF2B5EF4-FFF2-40B4-BE49-F238E27FC236}">
                <a16:creationId xmlns:a16="http://schemas.microsoft.com/office/drawing/2014/main" id="{CAD788D9-156D-3B46-B27B-0C6E941B8270}"/>
              </a:ext>
            </a:extLst>
          </p:cNvPr>
          <p:cNvSpPr>
            <a:spLocks noGrp="1"/>
          </p:cNvSpPr>
          <p:nvPr>
            <p:ph type="body" sz="quarter" idx="21" hasCustomPrompt="1"/>
          </p:nvPr>
        </p:nvSpPr>
        <p:spPr>
          <a:xfrm>
            <a:off x="6102155" y="4729219"/>
            <a:ext cx="6089839" cy="828564"/>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defRPr>
            </a:lvl1pPr>
          </a:lstStyle>
          <a:p>
            <a:pPr lvl="0"/>
            <a:r>
              <a:rPr lang="en-US" noProof="0"/>
              <a:t>Click to add text</a:t>
            </a:r>
          </a:p>
        </p:txBody>
      </p:sp>
      <p:sp>
        <p:nvSpPr>
          <p:cNvPr id="11" name="Text Placeholder 18">
            <a:extLst>
              <a:ext uri="{FF2B5EF4-FFF2-40B4-BE49-F238E27FC236}">
                <a16:creationId xmlns:a16="http://schemas.microsoft.com/office/drawing/2014/main" id="{CAE0F1B9-C51D-2C4C-8657-A80AEC2E3D1F}"/>
              </a:ext>
            </a:extLst>
          </p:cNvPr>
          <p:cNvSpPr>
            <a:spLocks noGrp="1"/>
          </p:cNvSpPr>
          <p:nvPr>
            <p:ph type="body" sz="quarter" idx="14" hasCustomPrompt="1"/>
          </p:nvPr>
        </p:nvSpPr>
        <p:spPr>
          <a:xfrm>
            <a:off x="0" y="1300220"/>
            <a:ext cx="6096000" cy="828564"/>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defRPr>
            </a:lvl1pPr>
          </a:lstStyle>
          <a:p>
            <a:pPr lvl="0"/>
            <a:r>
              <a:rPr lang="en-US" noProof="0"/>
              <a:t>Click to add text</a:t>
            </a:r>
          </a:p>
        </p:txBody>
      </p:sp>
      <p:sp>
        <p:nvSpPr>
          <p:cNvPr id="15" name="Text Placeholder 18">
            <a:extLst>
              <a:ext uri="{FF2B5EF4-FFF2-40B4-BE49-F238E27FC236}">
                <a16:creationId xmlns:a16="http://schemas.microsoft.com/office/drawing/2014/main" id="{7744189A-DC50-C443-9FD4-A84FC60A0108}"/>
              </a:ext>
            </a:extLst>
          </p:cNvPr>
          <p:cNvSpPr>
            <a:spLocks noGrp="1"/>
          </p:cNvSpPr>
          <p:nvPr>
            <p:ph type="body" sz="quarter" idx="20" hasCustomPrompt="1"/>
          </p:nvPr>
        </p:nvSpPr>
        <p:spPr>
          <a:xfrm>
            <a:off x="-5594" y="4729219"/>
            <a:ext cx="6101594" cy="828564"/>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defRPr>
            </a:lvl1pPr>
          </a:lstStyle>
          <a:p>
            <a:pPr lvl="0"/>
            <a:r>
              <a:rPr lang="en-US" noProof="0"/>
              <a:t>Click to add text</a:t>
            </a:r>
          </a:p>
        </p:txBody>
      </p:sp>
      <p:sp>
        <p:nvSpPr>
          <p:cNvPr id="14" name="textruta 5">
            <a:extLst>
              <a:ext uri="{FF2B5EF4-FFF2-40B4-BE49-F238E27FC236}">
                <a16:creationId xmlns:a16="http://schemas.microsoft.com/office/drawing/2014/main" id="{19FBFB5A-FFAC-8E48-BE9F-8171ABD4A956}"/>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7" name="textruta 16">
            <a:extLst>
              <a:ext uri="{FF2B5EF4-FFF2-40B4-BE49-F238E27FC236}">
                <a16:creationId xmlns:a16="http://schemas.microsoft.com/office/drawing/2014/main" id="{75DFCBE9-EE68-0440-97A2-234715FAABCE}"/>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8" name="Rektangel 17">
            <a:extLst>
              <a:ext uri="{FF2B5EF4-FFF2-40B4-BE49-F238E27FC236}">
                <a16:creationId xmlns:a16="http://schemas.microsoft.com/office/drawing/2014/main" id="{559F1CA4-11DF-CD41-9092-56CD49479BD3}"/>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ktangel 18">
            <a:extLst>
              <a:ext uri="{FF2B5EF4-FFF2-40B4-BE49-F238E27FC236}">
                <a16:creationId xmlns:a16="http://schemas.microsoft.com/office/drawing/2014/main" id="{420B4BDA-12DF-064A-BD9D-7A5CBB0BD6CB}"/>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Platshållare för datum 3">
            <a:extLst>
              <a:ext uri="{FF2B5EF4-FFF2-40B4-BE49-F238E27FC236}">
                <a16:creationId xmlns:a16="http://schemas.microsoft.com/office/drawing/2014/main" id="{095D123A-AEDC-BC4D-9CB3-3B6510387C2B}"/>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B8BC0DA2-1F8C-41EA-BF7F-CD0EC7E702EE}" type="datetime1">
              <a:rPr lang="en-US" smtClean="0"/>
              <a:t>11/7/2025</a:t>
            </a:fld>
            <a:endParaRPr lang="en-US"/>
          </a:p>
        </p:txBody>
      </p:sp>
      <p:sp>
        <p:nvSpPr>
          <p:cNvPr id="23" name="Platshållare för sidfot 4">
            <a:extLst>
              <a:ext uri="{FF2B5EF4-FFF2-40B4-BE49-F238E27FC236}">
                <a16:creationId xmlns:a16="http://schemas.microsoft.com/office/drawing/2014/main" id="{2C79257B-832F-5742-855F-0AA0C3381084}"/>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nb-NO"/>
              <a:t>Skanska Norge Hovedpresentasjon - desember 2022</a:t>
            </a:r>
            <a:endParaRPr lang="en-US"/>
          </a:p>
        </p:txBody>
      </p:sp>
      <p:sp>
        <p:nvSpPr>
          <p:cNvPr id="24" name="Platshållare för bildnummer 5">
            <a:extLst>
              <a:ext uri="{FF2B5EF4-FFF2-40B4-BE49-F238E27FC236}">
                <a16:creationId xmlns:a16="http://schemas.microsoft.com/office/drawing/2014/main" id="{EFDD78FE-8BED-3F40-B84D-A849758983FC}"/>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25" name="Text Placeholder 4">
            <a:extLst>
              <a:ext uri="{FF2B5EF4-FFF2-40B4-BE49-F238E27FC236}">
                <a16:creationId xmlns:a16="http://schemas.microsoft.com/office/drawing/2014/main" id="{71A9C98A-4687-4040-B606-2087DF2A2EFC}"/>
              </a:ext>
            </a:extLst>
          </p:cNvPr>
          <p:cNvSpPr>
            <a:spLocks noGrp="1"/>
          </p:cNvSpPr>
          <p:nvPr>
            <p:ph type="body" sz="quarter" idx="26"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6" name="Text Placeholder 4">
            <a:extLst>
              <a:ext uri="{FF2B5EF4-FFF2-40B4-BE49-F238E27FC236}">
                <a16:creationId xmlns:a16="http://schemas.microsoft.com/office/drawing/2014/main" id="{173D70AB-BF8E-C648-AAC9-4F8B819A8EA1}"/>
              </a:ext>
            </a:extLst>
          </p:cNvPr>
          <p:cNvSpPr>
            <a:spLocks noGrp="1"/>
          </p:cNvSpPr>
          <p:nvPr>
            <p:ph type="body" sz="quarter" idx="27" hasCustomPrompt="1"/>
          </p:nvPr>
        </p:nvSpPr>
        <p:spPr>
          <a:xfrm rot="5400000">
            <a:off x="4805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7" name="Text Placeholder 4">
            <a:extLst>
              <a:ext uri="{FF2B5EF4-FFF2-40B4-BE49-F238E27FC236}">
                <a16:creationId xmlns:a16="http://schemas.microsoft.com/office/drawing/2014/main" id="{71F88B05-AE87-C844-A8AD-6E40968EBE38}"/>
              </a:ext>
            </a:extLst>
          </p:cNvPr>
          <p:cNvSpPr>
            <a:spLocks noGrp="1"/>
          </p:cNvSpPr>
          <p:nvPr>
            <p:ph type="body" sz="quarter" idx="28" hasCustomPrompt="1"/>
          </p:nvPr>
        </p:nvSpPr>
        <p:spPr>
          <a:xfrm rot="5400000">
            <a:off x="4805730" y="4232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8" name="Text Placeholder 4">
            <a:extLst>
              <a:ext uri="{FF2B5EF4-FFF2-40B4-BE49-F238E27FC236}">
                <a16:creationId xmlns:a16="http://schemas.microsoft.com/office/drawing/2014/main" id="{57F2AD48-4016-D14A-BC63-41C3D6B3BDF0}"/>
              </a:ext>
            </a:extLst>
          </p:cNvPr>
          <p:cNvSpPr>
            <a:spLocks noGrp="1"/>
          </p:cNvSpPr>
          <p:nvPr>
            <p:ph type="body" sz="quarter" idx="29" hasCustomPrompt="1"/>
          </p:nvPr>
        </p:nvSpPr>
        <p:spPr>
          <a:xfrm rot="5400000">
            <a:off x="10902284" y="4232645"/>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29417698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 Three images">
    <p:bg>
      <p:bgPr>
        <a:solidFill>
          <a:schemeClr val="bg1"/>
        </a:solidFill>
        <a:effectLst/>
      </p:bgPr>
    </p:bg>
    <p:spTree>
      <p:nvGrpSpPr>
        <p:cNvPr id="1" name=""/>
        <p:cNvGrpSpPr/>
        <p:nvPr/>
      </p:nvGrpSpPr>
      <p:grpSpPr>
        <a:xfrm>
          <a:off x="0" y="0"/>
          <a:ext cx="0" cy="0"/>
          <a:chOff x="0" y="0"/>
          <a:chExt cx="0" cy="0"/>
        </a:xfrm>
      </p:grpSpPr>
      <p:sp>
        <p:nvSpPr>
          <p:cNvPr id="31" name="Picture Placeholder 30">
            <a:extLst>
              <a:ext uri="{FF2B5EF4-FFF2-40B4-BE49-F238E27FC236}">
                <a16:creationId xmlns:a16="http://schemas.microsoft.com/office/drawing/2014/main" id="{67A803C1-5E85-5C45-B84F-9737F92F8DDF}"/>
              </a:ext>
            </a:extLst>
          </p:cNvPr>
          <p:cNvSpPr>
            <a:spLocks noGrp="1"/>
          </p:cNvSpPr>
          <p:nvPr>
            <p:ph type="pic" sz="quarter" idx="13" hasCustomPrompt="1"/>
          </p:nvPr>
        </p:nvSpPr>
        <p:spPr>
          <a:xfrm>
            <a:off x="5" y="5"/>
            <a:ext cx="6109247" cy="6857997"/>
          </a:xfrm>
          <a:custGeom>
            <a:avLst/>
            <a:gdLst>
              <a:gd name="connsiteX0" fmla="*/ 1146049 w 6094408"/>
              <a:gd name="connsiteY0" fmla="*/ 6470534 h 6857997"/>
              <a:gd name="connsiteX1" fmla="*/ 1157832 w 6094408"/>
              <a:gd name="connsiteY1" fmla="*/ 6505507 h 6857997"/>
              <a:gd name="connsiteX2" fmla="*/ 1134642 w 6094408"/>
              <a:gd name="connsiteY2" fmla="*/ 6505507 h 6857997"/>
              <a:gd name="connsiteX3" fmla="*/ 788170 w 6094408"/>
              <a:gd name="connsiteY3" fmla="*/ 6470534 h 6857997"/>
              <a:gd name="connsiteX4" fmla="*/ 799953 w 6094408"/>
              <a:gd name="connsiteY4" fmla="*/ 6505507 h 6857997"/>
              <a:gd name="connsiteX5" fmla="*/ 776763 w 6094408"/>
              <a:gd name="connsiteY5" fmla="*/ 6505507 h 6857997"/>
              <a:gd name="connsiteX6" fmla="*/ 1132323 w 6094408"/>
              <a:gd name="connsiteY6" fmla="*/ 6451543 h 6857997"/>
              <a:gd name="connsiteX7" fmla="*/ 1100860 w 6094408"/>
              <a:gd name="connsiteY7" fmla="*/ 6542674 h 6857997"/>
              <a:gd name="connsiteX8" fmla="*/ 1123110 w 6094408"/>
              <a:gd name="connsiteY8" fmla="*/ 6542674 h 6857997"/>
              <a:gd name="connsiteX9" fmla="*/ 1128876 w 6094408"/>
              <a:gd name="connsiteY9" fmla="*/ 6524060 h 6857997"/>
              <a:gd name="connsiteX10" fmla="*/ 1163786 w 6094408"/>
              <a:gd name="connsiteY10" fmla="*/ 6524060 h 6857997"/>
              <a:gd name="connsiteX11" fmla="*/ 1169741 w 6094408"/>
              <a:gd name="connsiteY11" fmla="*/ 6542674 h 6857997"/>
              <a:gd name="connsiteX12" fmla="*/ 1191615 w 6094408"/>
              <a:gd name="connsiteY12" fmla="*/ 6542674 h 6857997"/>
              <a:gd name="connsiteX13" fmla="*/ 1159148 w 6094408"/>
              <a:gd name="connsiteY13" fmla="*/ 6451543 h 6857997"/>
              <a:gd name="connsiteX14" fmla="*/ 961907 w 6094408"/>
              <a:gd name="connsiteY14" fmla="*/ 6451543 h 6857997"/>
              <a:gd name="connsiteX15" fmla="*/ 933640 w 6094408"/>
              <a:gd name="connsiteY15" fmla="*/ 6479246 h 6857997"/>
              <a:gd name="connsiteX16" fmla="*/ 961907 w 6094408"/>
              <a:gd name="connsiteY16" fmla="*/ 6505821 h 6857997"/>
              <a:gd name="connsiteX17" fmla="*/ 983468 w 6094408"/>
              <a:gd name="connsiteY17" fmla="*/ 6505821 h 6857997"/>
              <a:gd name="connsiteX18" fmla="*/ 991678 w 6094408"/>
              <a:gd name="connsiteY18" fmla="*/ 6514282 h 6857997"/>
              <a:gd name="connsiteX19" fmla="*/ 983468 w 6094408"/>
              <a:gd name="connsiteY19" fmla="*/ 6522743 h 6857997"/>
              <a:gd name="connsiteX20" fmla="*/ 937338 w 6094408"/>
              <a:gd name="connsiteY20" fmla="*/ 6522743 h 6857997"/>
              <a:gd name="connsiteX21" fmla="*/ 937338 w 6094408"/>
              <a:gd name="connsiteY21" fmla="*/ 6542674 h 6857997"/>
              <a:gd name="connsiteX22" fmla="*/ 982716 w 6094408"/>
              <a:gd name="connsiteY22" fmla="*/ 6542674 h 6857997"/>
              <a:gd name="connsiteX23" fmla="*/ 1011358 w 6094408"/>
              <a:gd name="connsiteY23" fmla="*/ 6514282 h 6857997"/>
              <a:gd name="connsiteX24" fmla="*/ 986727 w 6094408"/>
              <a:gd name="connsiteY24" fmla="*/ 6487707 h 6857997"/>
              <a:gd name="connsiteX25" fmla="*/ 961907 w 6094408"/>
              <a:gd name="connsiteY25" fmla="*/ 6487707 h 6857997"/>
              <a:gd name="connsiteX26" fmla="*/ 953321 w 6094408"/>
              <a:gd name="connsiteY26" fmla="*/ 6479246 h 6857997"/>
              <a:gd name="connsiteX27" fmla="*/ 961907 w 6094408"/>
              <a:gd name="connsiteY27" fmla="*/ 6470785 h 6857997"/>
              <a:gd name="connsiteX28" fmla="*/ 1004965 w 6094408"/>
              <a:gd name="connsiteY28" fmla="*/ 6470785 h 6857997"/>
              <a:gd name="connsiteX29" fmla="*/ 1004965 w 6094408"/>
              <a:gd name="connsiteY29" fmla="*/ 6451543 h 6857997"/>
              <a:gd name="connsiteX30" fmla="*/ 841570 w 6094408"/>
              <a:gd name="connsiteY30" fmla="*/ 6451543 h 6857997"/>
              <a:gd name="connsiteX31" fmla="*/ 841570 w 6094408"/>
              <a:gd name="connsiteY31" fmla="*/ 6542674 h 6857997"/>
              <a:gd name="connsiteX32" fmla="*/ 862692 w 6094408"/>
              <a:gd name="connsiteY32" fmla="*/ 6542674 h 6857997"/>
              <a:gd name="connsiteX33" fmla="*/ 862692 w 6094408"/>
              <a:gd name="connsiteY33" fmla="*/ 6486454 h 6857997"/>
              <a:gd name="connsiteX34" fmla="*/ 898981 w 6094408"/>
              <a:gd name="connsiteY34" fmla="*/ 6542486 h 6857997"/>
              <a:gd name="connsiteX35" fmla="*/ 898981 w 6094408"/>
              <a:gd name="connsiteY35" fmla="*/ 6542674 h 6857997"/>
              <a:gd name="connsiteX36" fmla="*/ 920855 w 6094408"/>
              <a:gd name="connsiteY36" fmla="*/ 6542674 h 6857997"/>
              <a:gd name="connsiteX37" fmla="*/ 920793 w 6094408"/>
              <a:gd name="connsiteY37" fmla="*/ 6522994 h 6857997"/>
              <a:gd name="connsiteX38" fmla="*/ 920667 w 6094408"/>
              <a:gd name="connsiteY38" fmla="*/ 6451543 h 6857997"/>
              <a:gd name="connsiteX39" fmla="*/ 899671 w 6094408"/>
              <a:gd name="connsiteY39" fmla="*/ 6451543 h 6857997"/>
              <a:gd name="connsiteX40" fmla="*/ 899671 w 6094408"/>
              <a:gd name="connsiteY40" fmla="*/ 6508829 h 6857997"/>
              <a:gd name="connsiteX41" fmla="*/ 863068 w 6094408"/>
              <a:gd name="connsiteY41" fmla="*/ 6451543 h 6857997"/>
              <a:gd name="connsiteX42" fmla="*/ 774444 w 6094408"/>
              <a:gd name="connsiteY42" fmla="*/ 6451543 h 6857997"/>
              <a:gd name="connsiteX43" fmla="*/ 742918 w 6094408"/>
              <a:gd name="connsiteY43" fmla="*/ 6542674 h 6857997"/>
              <a:gd name="connsiteX44" fmla="*/ 765168 w 6094408"/>
              <a:gd name="connsiteY44" fmla="*/ 6542674 h 6857997"/>
              <a:gd name="connsiteX45" fmla="*/ 770934 w 6094408"/>
              <a:gd name="connsiteY45" fmla="*/ 6524060 h 6857997"/>
              <a:gd name="connsiteX46" fmla="*/ 805845 w 6094408"/>
              <a:gd name="connsiteY46" fmla="*/ 6524060 h 6857997"/>
              <a:gd name="connsiteX47" fmla="*/ 811799 w 6094408"/>
              <a:gd name="connsiteY47" fmla="*/ 6542674 h 6857997"/>
              <a:gd name="connsiteX48" fmla="*/ 833735 w 6094408"/>
              <a:gd name="connsiteY48" fmla="*/ 6542674 h 6857997"/>
              <a:gd name="connsiteX49" fmla="*/ 801269 w 6094408"/>
              <a:gd name="connsiteY49" fmla="*/ 6451543 h 6857997"/>
              <a:gd name="connsiteX50" fmla="*/ 604404 w 6094408"/>
              <a:gd name="connsiteY50" fmla="*/ 6451543 h 6857997"/>
              <a:gd name="connsiteX51" fmla="*/ 576137 w 6094408"/>
              <a:gd name="connsiteY51" fmla="*/ 6479246 h 6857997"/>
              <a:gd name="connsiteX52" fmla="*/ 604404 w 6094408"/>
              <a:gd name="connsiteY52" fmla="*/ 6505821 h 6857997"/>
              <a:gd name="connsiteX53" fmla="*/ 625964 w 6094408"/>
              <a:gd name="connsiteY53" fmla="*/ 6505821 h 6857997"/>
              <a:gd name="connsiteX54" fmla="*/ 634174 w 6094408"/>
              <a:gd name="connsiteY54" fmla="*/ 6514282 h 6857997"/>
              <a:gd name="connsiteX55" fmla="*/ 625964 w 6094408"/>
              <a:gd name="connsiteY55" fmla="*/ 6522743 h 6857997"/>
              <a:gd name="connsiteX56" fmla="*/ 579772 w 6094408"/>
              <a:gd name="connsiteY56" fmla="*/ 6522743 h 6857997"/>
              <a:gd name="connsiteX57" fmla="*/ 579772 w 6094408"/>
              <a:gd name="connsiteY57" fmla="*/ 6542674 h 6857997"/>
              <a:gd name="connsiteX58" fmla="*/ 625149 w 6094408"/>
              <a:gd name="connsiteY58" fmla="*/ 6542674 h 6857997"/>
              <a:gd name="connsiteX59" fmla="*/ 653792 w 6094408"/>
              <a:gd name="connsiteY59" fmla="*/ 6514282 h 6857997"/>
              <a:gd name="connsiteX60" fmla="*/ 629223 w 6094408"/>
              <a:gd name="connsiteY60" fmla="*/ 6487707 h 6857997"/>
              <a:gd name="connsiteX61" fmla="*/ 604404 w 6094408"/>
              <a:gd name="connsiteY61" fmla="*/ 6487707 h 6857997"/>
              <a:gd name="connsiteX62" fmla="*/ 595817 w 6094408"/>
              <a:gd name="connsiteY62" fmla="*/ 6479246 h 6857997"/>
              <a:gd name="connsiteX63" fmla="*/ 604404 w 6094408"/>
              <a:gd name="connsiteY63" fmla="*/ 6470785 h 6857997"/>
              <a:gd name="connsiteX64" fmla="*/ 647462 w 6094408"/>
              <a:gd name="connsiteY64" fmla="*/ 6470785 h 6857997"/>
              <a:gd name="connsiteX65" fmla="*/ 647462 w 6094408"/>
              <a:gd name="connsiteY65" fmla="*/ 6451543 h 6857997"/>
              <a:gd name="connsiteX66" fmla="*/ 1023956 w 6094408"/>
              <a:gd name="connsiteY66" fmla="*/ 6451480 h 6857997"/>
              <a:gd name="connsiteX67" fmla="*/ 1023956 w 6094408"/>
              <a:gd name="connsiteY67" fmla="*/ 6542674 h 6857997"/>
              <a:gd name="connsiteX68" fmla="*/ 1045016 w 6094408"/>
              <a:gd name="connsiteY68" fmla="*/ 6542674 h 6857997"/>
              <a:gd name="connsiteX69" fmla="*/ 1045016 w 6094408"/>
              <a:gd name="connsiteY69" fmla="*/ 6504191 h 6857997"/>
              <a:gd name="connsiteX70" fmla="*/ 1074975 w 6094408"/>
              <a:gd name="connsiteY70" fmla="*/ 6542674 h 6857997"/>
              <a:gd name="connsiteX71" fmla="*/ 1099481 w 6094408"/>
              <a:gd name="connsiteY71" fmla="*/ 6542674 h 6857997"/>
              <a:gd name="connsiteX72" fmla="*/ 1065009 w 6094408"/>
              <a:gd name="connsiteY72" fmla="*/ 6497109 h 6857997"/>
              <a:gd name="connsiteX73" fmla="*/ 1099481 w 6094408"/>
              <a:gd name="connsiteY73" fmla="*/ 6451480 h 6857997"/>
              <a:gd name="connsiteX74" fmla="*/ 1074975 w 6094408"/>
              <a:gd name="connsiteY74" fmla="*/ 6451480 h 6857997"/>
              <a:gd name="connsiteX75" fmla="*/ 1045016 w 6094408"/>
              <a:gd name="connsiteY75" fmla="*/ 6489963 h 6857997"/>
              <a:gd name="connsiteX76" fmla="*/ 1045016 w 6094408"/>
              <a:gd name="connsiteY76" fmla="*/ 6451480 h 6857997"/>
              <a:gd name="connsiteX77" fmla="*/ 666077 w 6094408"/>
              <a:gd name="connsiteY77" fmla="*/ 6451480 h 6857997"/>
              <a:gd name="connsiteX78" fmla="*/ 666077 w 6094408"/>
              <a:gd name="connsiteY78" fmla="*/ 6542674 h 6857997"/>
              <a:gd name="connsiteX79" fmla="*/ 687073 w 6094408"/>
              <a:gd name="connsiteY79" fmla="*/ 6542674 h 6857997"/>
              <a:gd name="connsiteX80" fmla="*/ 687073 w 6094408"/>
              <a:gd name="connsiteY80" fmla="*/ 6504191 h 6857997"/>
              <a:gd name="connsiteX81" fmla="*/ 717033 w 6094408"/>
              <a:gd name="connsiteY81" fmla="*/ 6542674 h 6857997"/>
              <a:gd name="connsiteX82" fmla="*/ 741602 w 6094408"/>
              <a:gd name="connsiteY82" fmla="*/ 6542674 h 6857997"/>
              <a:gd name="connsiteX83" fmla="*/ 707067 w 6094408"/>
              <a:gd name="connsiteY83" fmla="*/ 6497109 h 6857997"/>
              <a:gd name="connsiteX84" fmla="*/ 741602 w 6094408"/>
              <a:gd name="connsiteY84" fmla="*/ 6451480 h 6857997"/>
              <a:gd name="connsiteX85" fmla="*/ 717033 w 6094408"/>
              <a:gd name="connsiteY85" fmla="*/ 6451480 h 6857997"/>
              <a:gd name="connsiteX86" fmla="*/ 687073 w 6094408"/>
              <a:gd name="connsiteY86" fmla="*/ 6489963 h 6857997"/>
              <a:gd name="connsiteX87" fmla="*/ 687073 w 6094408"/>
              <a:gd name="connsiteY87" fmla="*/ 6451480 h 6857997"/>
              <a:gd name="connsiteX88" fmla="*/ 0 w 6094408"/>
              <a:gd name="connsiteY88" fmla="*/ 0 h 6857997"/>
              <a:gd name="connsiteX89" fmla="*/ 6094408 w 6094408"/>
              <a:gd name="connsiteY89" fmla="*/ 0 h 6857997"/>
              <a:gd name="connsiteX90" fmla="*/ 6094408 w 6094408"/>
              <a:gd name="connsiteY90" fmla="*/ 6857997 h 6857997"/>
              <a:gd name="connsiteX91" fmla="*/ 0 w 6094408"/>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094408"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6094408" y="0"/>
                </a:lnTo>
                <a:lnTo>
                  <a:pt x="6094408"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6" name="Picture Placeholder 13">
            <a:extLst>
              <a:ext uri="{FF2B5EF4-FFF2-40B4-BE49-F238E27FC236}">
                <a16:creationId xmlns:a16="http://schemas.microsoft.com/office/drawing/2014/main" id="{4112384D-AFE6-0044-8D33-BD96D1F23E2F}"/>
              </a:ext>
            </a:extLst>
          </p:cNvPr>
          <p:cNvSpPr>
            <a:spLocks noGrp="1"/>
          </p:cNvSpPr>
          <p:nvPr>
            <p:ph type="pic" sz="quarter" idx="19" hasCustomPrompt="1"/>
          </p:nvPr>
        </p:nvSpPr>
        <p:spPr>
          <a:xfrm>
            <a:off x="6098400"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7" name="Picture Placeholder 17">
            <a:extLst>
              <a:ext uri="{FF2B5EF4-FFF2-40B4-BE49-F238E27FC236}">
                <a16:creationId xmlns:a16="http://schemas.microsoft.com/office/drawing/2014/main" id="{ACAB582F-A4D3-6042-80E5-449FA4DD1AC0}"/>
              </a:ext>
            </a:extLst>
          </p:cNvPr>
          <p:cNvSpPr>
            <a:spLocks noGrp="1"/>
          </p:cNvSpPr>
          <p:nvPr>
            <p:ph type="pic" sz="quarter" idx="20" hasCustomPrompt="1"/>
          </p:nvPr>
        </p:nvSpPr>
        <p:spPr>
          <a:xfrm>
            <a:off x="6098400" y="3429002"/>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22" name="Text Placeholder 18">
            <a:extLst>
              <a:ext uri="{FF2B5EF4-FFF2-40B4-BE49-F238E27FC236}">
                <a16:creationId xmlns:a16="http://schemas.microsoft.com/office/drawing/2014/main" id="{1BB6EBC7-3CB0-7949-AB1F-7B011BF726B5}"/>
              </a:ext>
            </a:extLst>
          </p:cNvPr>
          <p:cNvSpPr>
            <a:spLocks noGrp="1"/>
          </p:cNvSpPr>
          <p:nvPr>
            <p:ph type="body" sz="quarter" idx="23" hasCustomPrompt="1"/>
          </p:nvPr>
        </p:nvSpPr>
        <p:spPr>
          <a:xfrm>
            <a:off x="-6151" y="3014721"/>
            <a:ext cx="6109247" cy="828564"/>
          </a:xfrm>
          <a:prstGeom prst="rect">
            <a:avLst/>
          </a:prstGeom>
        </p:spPr>
        <p:txBody>
          <a:bodyPr lIns="540000" tIns="0" rIns="540000" bIns="0" anchor="ctr">
            <a:noAutofit/>
          </a:bodyPr>
          <a:lstStyle>
            <a:lvl1pPr marL="0" indent="0" algn="ctr">
              <a:lnSpc>
                <a:spcPct val="85000"/>
              </a:lnSpc>
              <a:spcBef>
                <a:spcPts val="0"/>
              </a:spcBef>
              <a:buNone/>
              <a:defRPr sz="2600" spc="40" baseline="0">
                <a:solidFill>
                  <a:schemeClr val="bg1"/>
                </a:solidFill>
              </a:defRPr>
            </a:lvl1pPr>
          </a:lstStyle>
          <a:p>
            <a:pPr lvl="0"/>
            <a:r>
              <a:rPr lang="en-US" noProof="0"/>
              <a:t>Click to add text</a:t>
            </a:r>
          </a:p>
        </p:txBody>
      </p:sp>
      <p:sp>
        <p:nvSpPr>
          <p:cNvPr id="23" name="Text Placeholder 18">
            <a:extLst>
              <a:ext uri="{FF2B5EF4-FFF2-40B4-BE49-F238E27FC236}">
                <a16:creationId xmlns:a16="http://schemas.microsoft.com/office/drawing/2014/main" id="{1A6292A0-28D6-8F43-9A84-193B84BC52B2}"/>
              </a:ext>
            </a:extLst>
          </p:cNvPr>
          <p:cNvSpPr>
            <a:spLocks noGrp="1"/>
          </p:cNvSpPr>
          <p:nvPr>
            <p:ph type="body" sz="quarter" idx="24" hasCustomPrompt="1"/>
          </p:nvPr>
        </p:nvSpPr>
        <p:spPr>
          <a:xfrm>
            <a:off x="6102155" y="1300220"/>
            <a:ext cx="6105491" cy="828564"/>
          </a:xfrm>
          <a:prstGeom prst="rect">
            <a:avLst/>
          </a:prstGeom>
        </p:spPr>
        <p:txBody>
          <a:bodyPr lIns="540000" tIns="0" rIns="540000" bIns="0" anchor="ctr">
            <a:noAutofit/>
          </a:bodyPr>
          <a:lstStyle>
            <a:lvl1pPr marL="0" indent="0" algn="ctr">
              <a:lnSpc>
                <a:spcPct val="85000"/>
              </a:lnSpc>
              <a:spcBef>
                <a:spcPts val="0"/>
              </a:spcBef>
              <a:buNone/>
              <a:defRPr sz="2600" spc="40" baseline="0">
                <a:solidFill>
                  <a:schemeClr val="bg1"/>
                </a:solidFill>
              </a:defRPr>
            </a:lvl1pPr>
          </a:lstStyle>
          <a:p>
            <a:pPr lvl="0"/>
            <a:r>
              <a:rPr lang="en-US" noProof="0"/>
              <a:t>Click to add text</a:t>
            </a:r>
          </a:p>
        </p:txBody>
      </p:sp>
      <p:sp>
        <p:nvSpPr>
          <p:cNvPr id="24" name="Text Placeholder 18">
            <a:extLst>
              <a:ext uri="{FF2B5EF4-FFF2-40B4-BE49-F238E27FC236}">
                <a16:creationId xmlns:a16="http://schemas.microsoft.com/office/drawing/2014/main" id="{D141078C-5B10-0549-8F72-9894A9BF4F46}"/>
              </a:ext>
            </a:extLst>
          </p:cNvPr>
          <p:cNvSpPr>
            <a:spLocks noGrp="1"/>
          </p:cNvSpPr>
          <p:nvPr>
            <p:ph type="body" sz="quarter" idx="21" hasCustomPrompt="1"/>
          </p:nvPr>
        </p:nvSpPr>
        <p:spPr>
          <a:xfrm>
            <a:off x="6102156" y="4729219"/>
            <a:ext cx="6105490" cy="828564"/>
          </a:xfrm>
          <a:prstGeom prst="rect">
            <a:avLst/>
          </a:prstGeom>
        </p:spPr>
        <p:txBody>
          <a:bodyPr lIns="540000" tIns="0" rIns="540000" bIns="0" anchor="ctr">
            <a:noAutofit/>
          </a:bodyPr>
          <a:lstStyle>
            <a:lvl1pPr marL="0" indent="0" algn="ctr">
              <a:lnSpc>
                <a:spcPct val="85000"/>
              </a:lnSpc>
              <a:spcBef>
                <a:spcPts val="0"/>
              </a:spcBef>
              <a:buNone/>
              <a:defRPr sz="2600" spc="40" baseline="0">
                <a:solidFill>
                  <a:schemeClr val="bg1"/>
                </a:solidFill>
              </a:defRPr>
            </a:lvl1pPr>
          </a:lstStyle>
          <a:p>
            <a:pPr lvl="0"/>
            <a:r>
              <a:rPr lang="en-US" noProof="0"/>
              <a:t>Click to add text</a:t>
            </a:r>
          </a:p>
        </p:txBody>
      </p:sp>
      <p:sp>
        <p:nvSpPr>
          <p:cNvPr id="12" name="textruta 5">
            <a:extLst>
              <a:ext uri="{FF2B5EF4-FFF2-40B4-BE49-F238E27FC236}">
                <a16:creationId xmlns:a16="http://schemas.microsoft.com/office/drawing/2014/main" id="{BAE890E4-E523-6647-98A4-B32F05744FF3}"/>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3" name="textruta 12">
            <a:extLst>
              <a:ext uri="{FF2B5EF4-FFF2-40B4-BE49-F238E27FC236}">
                <a16:creationId xmlns:a16="http://schemas.microsoft.com/office/drawing/2014/main" id="{11616D45-9A27-C34A-86FA-CB9409332032}"/>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4" name="Rektangel 13">
            <a:extLst>
              <a:ext uri="{FF2B5EF4-FFF2-40B4-BE49-F238E27FC236}">
                <a16:creationId xmlns:a16="http://schemas.microsoft.com/office/drawing/2014/main" id="{F19A6BCC-975E-7545-BB3A-57857992C98F}"/>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Rektangel 14">
            <a:extLst>
              <a:ext uri="{FF2B5EF4-FFF2-40B4-BE49-F238E27FC236}">
                <a16:creationId xmlns:a16="http://schemas.microsoft.com/office/drawing/2014/main" id="{D6050EB3-8959-584C-BBC7-5A81E084A618}"/>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Platshållare för datum 3">
            <a:extLst>
              <a:ext uri="{FF2B5EF4-FFF2-40B4-BE49-F238E27FC236}">
                <a16:creationId xmlns:a16="http://schemas.microsoft.com/office/drawing/2014/main" id="{7274DBF8-BA28-BD43-A9B5-0497B225AD69}"/>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C039C0CD-2B69-4A99-8A73-2638910E4D67}" type="datetime1">
              <a:rPr lang="en-US" smtClean="0"/>
              <a:t>11/7/2025</a:t>
            </a:fld>
            <a:endParaRPr lang="en-US"/>
          </a:p>
        </p:txBody>
      </p:sp>
      <p:sp>
        <p:nvSpPr>
          <p:cNvPr id="19" name="Platshållare för sidfot 4">
            <a:extLst>
              <a:ext uri="{FF2B5EF4-FFF2-40B4-BE49-F238E27FC236}">
                <a16:creationId xmlns:a16="http://schemas.microsoft.com/office/drawing/2014/main" id="{FE9EF8A8-2297-194D-8536-889E5D4E052B}"/>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nb-NO"/>
              <a:t>Skanska Norge Hovedpresentasjon - desember 2022</a:t>
            </a:r>
            <a:endParaRPr lang="en-US"/>
          </a:p>
        </p:txBody>
      </p:sp>
      <p:sp>
        <p:nvSpPr>
          <p:cNvPr id="20" name="Platshållare för bildnummer 5">
            <a:extLst>
              <a:ext uri="{FF2B5EF4-FFF2-40B4-BE49-F238E27FC236}">
                <a16:creationId xmlns:a16="http://schemas.microsoft.com/office/drawing/2014/main" id="{65E7AF51-DAFE-9047-8450-28B0B3DE053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21" name="Text Placeholder 4">
            <a:extLst>
              <a:ext uri="{FF2B5EF4-FFF2-40B4-BE49-F238E27FC236}">
                <a16:creationId xmlns:a16="http://schemas.microsoft.com/office/drawing/2014/main" id="{B38D1478-E2C4-9C47-9554-2B6F1BEF76AF}"/>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5" name="Text Placeholder 4">
            <a:extLst>
              <a:ext uri="{FF2B5EF4-FFF2-40B4-BE49-F238E27FC236}">
                <a16:creationId xmlns:a16="http://schemas.microsoft.com/office/drawing/2014/main" id="{968682EE-E62E-7F45-8D53-EA4C7D3E2A5B}"/>
              </a:ext>
            </a:extLst>
          </p:cNvPr>
          <p:cNvSpPr>
            <a:spLocks noGrp="1"/>
          </p:cNvSpPr>
          <p:nvPr>
            <p:ph type="body" sz="quarter" idx="25" hasCustomPrompt="1"/>
          </p:nvPr>
        </p:nvSpPr>
        <p:spPr>
          <a:xfrm rot="5400000">
            <a:off x="4818982"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6" name="Text Placeholder 4">
            <a:extLst>
              <a:ext uri="{FF2B5EF4-FFF2-40B4-BE49-F238E27FC236}">
                <a16:creationId xmlns:a16="http://schemas.microsoft.com/office/drawing/2014/main" id="{A5503383-A8B0-564C-8751-AEE0A84AE6C3}"/>
              </a:ext>
            </a:extLst>
          </p:cNvPr>
          <p:cNvSpPr>
            <a:spLocks noGrp="1"/>
          </p:cNvSpPr>
          <p:nvPr>
            <p:ph type="body" sz="quarter" idx="26" hasCustomPrompt="1"/>
          </p:nvPr>
        </p:nvSpPr>
        <p:spPr>
          <a:xfrm rot="5400000">
            <a:off x="10901730" y="4232646"/>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361576691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5 Four Images Icons">
    <p:bg>
      <p:bgPr>
        <a:solidFill>
          <a:schemeClr val="bg1"/>
        </a:solidFill>
        <a:effectLst/>
      </p:bgPr>
    </p:bg>
    <p:spTree>
      <p:nvGrpSpPr>
        <p:cNvPr id="1" name=""/>
        <p:cNvGrpSpPr/>
        <p:nvPr/>
      </p:nvGrpSpPr>
      <p:grpSpPr>
        <a:xfrm>
          <a:off x="0" y="0"/>
          <a:ext cx="0" cy="0"/>
          <a:chOff x="0" y="0"/>
          <a:chExt cx="0" cy="0"/>
        </a:xfrm>
      </p:grpSpPr>
      <p:sp>
        <p:nvSpPr>
          <p:cNvPr id="12" name="Picture Placeholder 28">
            <a:extLst>
              <a:ext uri="{FF2B5EF4-FFF2-40B4-BE49-F238E27FC236}">
                <a16:creationId xmlns:a16="http://schemas.microsoft.com/office/drawing/2014/main" id="{66A1736D-0DE2-E745-88D9-563B710EF5D1}"/>
              </a:ext>
            </a:extLst>
          </p:cNvPr>
          <p:cNvSpPr>
            <a:spLocks noGrp="1"/>
          </p:cNvSpPr>
          <p:nvPr>
            <p:ph type="pic" sz="quarter" idx="17" hasCustomPrompt="1"/>
          </p:nvPr>
        </p:nvSpPr>
        <p:spPr>
          <a:xfrm>
            <a:off x="4" y="3429002"/>
            <a:ext cx="6095996" cy="3428998"/>
          </a:xfrm>
          <a:custGeom>
            <a:avLst/>
            <a:gdLst>
              <a:gd name="connsiteX0" fmla="*/ 1146049 w 6095996"/>
              <a:gd name="connsiteY0" fmla="*/ 3041536 h 3428998"/>
              <a:gd name="connsiteX1" fmla="*/ 1157832 w 6095996"/>
              <a:gd name="connsiteY1" fmla="*/ 3076509 h 3428998"/>
              <a:gd name="connsiteX2" fmla="*/ 1134642 w 6095996"/>
              <a:gd name="connsiteY2" fmla="*/ 3076509 h 3428998"/>
              <a:gd name="connsiteX3" fmla="*/ 788169 w 6095996"/>
              <a:gd name="connsiteY3" fmla="*/ 3041536 h 3428998"/>
              <a:gd name="connsiteX4" fmla="*/ 799952 w 6095996"/>
              <a:gd name="connsiteY4" fmla="*/ 3076509 h 3428998"/>
              <a:gd name="connsiteX5" fmla="*/ 776762 w 6095996"/>
              <a:gd name="connsiteY5" fmla="*/ 3076509 h 3428998"/>
              <a:gd name="connsiteX6" fmla="*/ 1132323 w 6095996"/>
              <a:gd name="connsiteY6" fmla="*/ 3022545 h 3428998"/>
              <a:gd name="connsiteX7" fmla="*/ 1100859 w 6095996"/>
              <a:gd name="connsiteY7" fmla="*/ 3113676 h 3428998"/>
              <a:gd name="connsiteX8" fmla="*/ 1123109 w 6095996"/>
              <a:gd name="connsiteY8" fmla="*/ 3113676 h 3428998"/>
              <a:gd name="connsiteX9" fmla="*/ 1128876 w 6095996"/>
              <a:gd name="connsiteY9" fmla="*/ 3095062 h 3428998"/>
              <a:gd name="connsiteX10" fmla="*/ 1163786 w 6095996"/>
              <a:gd name="connsiteY10" fmla="*/ 3095062 h 3428998"/>
              <a:gd name="connsiteX11" fmla="*/ 1169740 w 6095996"/>
              <a:gd name="connsiteY11" fmla="*/ 3113676 h 3428998"/>
              <a:gd name="connsiteX12" fmla="*/ 1191614 w 6095996"/>
              <a:gd name="connsiteY12" fmla="*/ 3113676 h 3428998"/>
              <a:gd name="connsiteX13" fmla="*/ 1159148 w 6095996"/>
              <a:gd name="connsiteY13" fmla="*/ 3022545 h 3428998"/>
              <a:gd name="connsiteX14" fmla="*/ 961907 w 6095996"/>
              <a:gd name="connsiteY14" fmla="*/ 3022545 h 3428998"/>
              <a:gd name="connsiteX15" fmla="*/ 933640 w 6095996"/>
              <a:gd name="connsiteY15" fmla="*/ 3050248 h 3428998"/>
              <a:gd name="connsiteX16" fmla="*/ 961907 w 6095996"/>
              <a:gd name="connsiteY16" fmla="*/ 3076823 h 3428998"/>
              <a:gd name="connsiteX17" fmla="*/ 983467 w 6095996"/>
              <a:gd name="connsiteY17" fmla="*/ 3076823 h 3428998"/>
              <a:gd name="connsiteX18" fmla="*/ 991678 w 6095996"/>
              <a:gd name="connsiteY18" fmla="*/ 3085284 h 3428998"/>
              <a:gd name="connsiteX19" fmla="*/ 983467 w 6095996"/>
              <a:gd name="connsiteY19" fmla="*/ 3093745 h 3428998"/>
              <a:gd name="connsiteX20" fmla="*/ 937338 w 6095996"/>
              <a:gd name="connsiteY20" fmla="*/ 3093745 h 3428998"/>
              <a:gd name="connsiteX21" fmla="*/ 937338 w 6095996"/>
              <a:gd name="connsiteY21" fmla="*/ 3113676 h 3428998"/>
              <a:gd name="connsiteX22" fmla="*/ 982715 w 6095996"/>
              <a:gd name="connsiteY22" fmla="*/ 3113676 h 3428998"/>
              <a:gd name="connsiteX23" fmla="*/ 1011358 w 6095996"/>
              <a:gd name="connsiteY23" fmla="*/ 3085284 h 3428998"/>
              <a:gd name="connsiteX24" fmla="*/ 986727 w 6095996"/>
              <a:gd name="connsiteY24" fmla="*/ 3058709 h 3428998"/>
              <a:gd name="connsiteX25" fmla="*/ 961907 w 6095996"/>
              <a:gd name="connsiteY25" fmla="*/ 3058709 h 3428998"/>
              <a:gd name="connsiteX26" fmla="*/ 953320 w 6095996"/>
              <a:gd name="connsiteY26" fmla="*/ 3050248 h 3428998"/>
              <a:gd name="connsiteX27" fmla="*/ 961907 w 6095996"/>
              <a:gd name="connsiteY27" fmla="*/ 3041787 h 3428998"/>
              <a:gd name="connsiteX28" fmla="*/ 1004965 w 6095996"/>
              <a:gd name="connsiteY28" fmla="*/ 3041787 h 3428998"/>
              <a:gd name="connsiteX29" fmla="*/ 1004965 w 6095996"/>
              <a:gd name="connsiteY29" fmla="*/ 3022545 h 3428998"/>
              <a:gd name="connsiteX30" fmla="*/ 841570 w 6095996"/>
              <a:gd name="connsiteY30" fmla="*/ 3022545 h 3428998"/>
              <a:gd name="connsiteX31" fmla="*/ 841570 w 6095996"/>
              <a:gd name="connsiteY31" fmla="*/ 3113676 h 3428998"/>
              <a:gd name="connsiteX32" fmla="*/ 862691 w 6095996"/>
              <a:gd name="connsiteY32" fmla="*/ 3113676 h 3428998"/>
              <a:gd name="connsiteX33" fmla="*/ 862691 w 6095996"/>
              <a:gd name="connsiteY33" fmla="*/ 3057456 h 3428998"/>
              <a:gd name="connsiteX34" fmla="*/ 898981 w 6095996"/>
              <a:gd name="connsiteY34" fmla="*/ 3113488 h 3428998"/>
              <a:gd name="connsiteX35" fmla="*/ 898981 w 6095996"/>
              <a:gd name="connsiteY35" fmla="*/ 3113676 h 3428998"/>
              <a:gd name="connsiteX36" fmla="*/ 920855 w 6095996"/>
              <a:gd name="connsiteY36" fmla="*/ 3113676 h 3428998"/>
              <a:gd name="connsiteX37" fmla="*/ 920792 w 6095996"/>
              <a:gd name="connsiteY37" fmla="*/ 3093996 h 3428998"/>
              <a:gd name="connsiteX38" fmla="*/ 920667 w 6095996"/>
              <a:gd name="connsiteY38" fmla="*/ 3022545 h 3428998"/>
              <a:gd name="connsiteX39" fmla="*/ 899670 w 6095996"/>
              <a:gd name="connsiteY39" fmla="*/ 3022545 h 3428998"/>
              <a:gd name="connsiteX40" fmla="*/ 899670 w 6095996"/>
              <a:gd name="connsiteY40" fmla="*/ 3079831 h 3428998"/>
              <a:gd name="connsiteX41" fmla="*/ 863067 w 6095996"/>
              <a:gd name="connsiteY41" fmla="*/ 3022545 h 3428998"/>
              <a:gd name="connsiteX42" fmla="*/ 774443 w 6095996"/>
              <a:gd name="connsiteY42" fmla="*/ 3022545 h 3428998"/>
              <a:gd name="connsiteX43" fmla="*/ 742918 w 6095996"/>
              <a:gd name="connsiteY43" fmla="*/ 3113676 h 3428998"/>
              <a:gd name="connsiteX44" fmla="*/ 765167 w 6095996"/>
              <a:gd name="connsiteY44" fmla="*/ 3113676 h 3428998"/>
              <a:gd name="connsiteX45" fmla="*/ 770934 w 6095996"/>
              <a:gd name="connsiteY45" fmla="*/ 3095062 h 3428998"/>
              <a:gd name="connsiteX46" fmla="*/ 805844 w 6095996"/>
              <a:gd name="connsiteY46" fmla="*/ 3095062 h 3428998"/>
              <a:gd name="connsiteX47" fmla="*/ 811798 w 6095996"/>
              <a:gd name="connsiteY47" fmla="*/ 3113676 h 3428998"/>
              <a:gd name="connsiteX48" fmla="*/ 833735 w 6095996"/>
              <a:gd name="connsiteY48" fmla="*/ 3113676 h 3428998"/>
              <a:gd name="connsiteX49" fmla="*/ 801269 w 6095996"/>
              <a:gd name="connsiteY49" fmla="*/ 3022545 h 3428998"/>
              <a:gd name="connsiteX50" fmla="*/ 604403 w 6095996"/>
              <a:gd name="connsiteY50" fmla="*/ 3022545 h 3428998"/>
              <a:gd name="connsiteX51" fmla="*/ 576136 w 6095996"/>
              <a:gd name="connsiteY51" fmla="*/ 3050248 h 3428998"/>
              <a:gd name="connsiteX52" fmla="*/ 604403 w 6095996"/>
              <a:gd name="connsiteY52" fmla="*/ 3076823 h 3428998"/>
              <a:gd name="connsiteX53" fmla="*/ 625964 w 6095996"/>
              <a:gd name="connsiteY53" fmla="*/ 3076823 h 3428998"/>
              <a:gd name="connsiteX54" fmla="*/ 634174 w 6095996"/>
              <a:gd name="connsiteY54" fmla="*/ 3085284 h 3428998"/>
              <a:gd name="connsiteX55" fmla="*/ 625964 w 6095996"/>
              <a:gd name="connsiteY55" fmla="*/ 3093745 h 3428998"/>
              <a:gd name="connsiteX56" fmla="*/ 579772 w 6095996"/>
              <a:gd name="connsiteY56" fmla="*/ 3093745 h 3428998"/>
              <a:gd name="connsiteX57" fmla="*/ 579772 w 6095996"/>
              <a:gd name="connsiteY57" fmla="*/ 3113676 h 3428998"/>
              <a:gd name="connsiteX58" fmla="*/ 625149 w 6095996"/>
              <a:gd name="connsiteY58" fmla="*/ 3113676 h 3428998"/>
              <a:gd name="connsiteX59" fmla="*/ 653792 w 6095996"/>
              <a:gd name="connsiteY59" fmla="*/ 3085284 h 3428998"/>
              <a:gd name="connsiteX60" fmla="*/ 629223 w 6095996"/>
              <a:gd name="connsiteY60" fmla="*/ 3058709 h 3428998"/>
              <a:gd name="connsiteX61" fmla="*/ 604403 w 6095996"/>
              <a:gd name="connsiteY61" fmla="*/ 3058709 h 3428998"/>
              <a:gd name="connsiteX62" fmla="*/ 595817 w 6095996"/>
              <a:gd name="connsiteY62" fmla="*/ 3050248 h 3428998"/>
              <a:gd name="connsiteX63" fmla="*/ 604403 w 6095996"/>
              <a:gd name="connsiteY63" fmla="*/ 3041787 h 3428998"/>
              <a:gd name="connsiteX64" fmla="*/ 647461 w 6095996"/>
              <a:gd name="connsiteY64" fmla="*/ 3041787 h 3428998"/>
              <a:gd name="connsiteX65" fmla="*/ 647461 w 6095996"/>
              <a:gd name="connsiteY65" fmla="*/ 3022545 h 3428998"/>
              <a:gd name="connsiteX66" fmla="*/ 1023956 w 6095996"/>
              <a:gd name="connsiteY66" fmla="*/ 3022482 h 3428998"/>
              <a:gd name="connsiteX67" fmla="*/ 1023956 w 6095996"/>
              <a:gd name="connsiteY67" fmla="*/ 3113676 h 3428998"/>
              <a:gd name="connsiteX68" fmla="*/ 1045015 w 6095996"/>
              <a:gd name="connsiteY68" fmla="*/ 3113676 h 3428998"/>
              <a:gd name="connsiteX69" fmla="*/ 1045015 w 6095996"/>
              <a:gd name="connsiteY69" fmla="*/ 3075193 h 3428998"/>
              <a:gd name="connsiteX70" fmla="*/ 1074975 w 6095996"/>
              <a:gd name="connsiteY70" fmla="*/ 3113676 h 3428998"/>
              <a:gd name="connsiteX71" fmla="*/ 1099481 w 6095996"/>
              <a:gd name="connsiteY71" fmla="*/ 3113676 h 3428998"/>
              <a:gd name="connsiteX72" fmla="*/ 1065009 w 6095996"/>
              <a:gd name="connsiteY72" fmla="*/ 3068111 h 3428998"/>
              <a:gd name="connsiteX73" fmla="*/ 1099481 w 6095996"/>
              <a:gd name="connsiteY73" fmla="*/ 3022482 h 3428998"/>
              <a:gd name="connsiteX74" fmla="*/ 1074975 w 6095996"/>
              <a:gd name="connsiteY74" fmla="*/ 3022482 h 3428998"/>
              <a:gd name="connsiteX75" fmla="*/ 1045015 w 6095996"/>
              <a:gd name="connsiteY75" fmla="*/ 3060965 h 3428998"/>
              <a:gd name="connsiteX76" fmla="*/ 1045015 w 6095996"/>
              <a:gd name="connsiteY76" fmla="*/ 3022482 h 3428998"/>
              <a:gd name="connsiteX77" fmla="*/ 666076 w 6095996"/>
              <a:gd name="connsiteY77" fmla="*/ 3022482 h 3428998"/>
              <a:gd name="connsiteX78" fmla="*/ 666076 w 6095996"/>
              <a:gd name="connsiteY78" fmla="*/ 3113676 h 3428998"/>
              <a:gd name="connsiteX79" fmla="*/ 687073 w 6095996"/>
              <a:gd name="connsiteY79" fmla="*/ 3113676 h 3428998"/>
              <a:gd name="connsiteX80" fmla="*/ 687073 w 6095996"/>
              <a:gd name="connsiteY80" fmla="*/ 3075193 h 3428998"/>
              <a:gd name="connsiteX81" fmla="*/ 717032 w 6095996"/>
              <a:gd name="connsiteY81" fmla="*/ 3113676 h 3428998"/>
              <a:gd name="connsiteX82" fmla="*/ 741601 w 6095996"/>
              <a:gd name="connsiteY82" fmla="*/ 3113676 h 3428998"/>
              <a:gd name="connsiteX83" fmla="*/ 707067 w 6095996"/>
              <a:gd name="connsiteY83" fmla="*/ 3068111 h 3428998"/>
              <a:gd name="connsiteX84" fmla="*/ 741601 w 6095996"/>
              <a:gd name="connsiteY84" fmla="*/ 3022482 h 3428998"/>
              <a:gd name="connsiteX85" fmla="*/ 717032 w 6095996"/>
              <a:gd name="connsiteY85" fmla="*/ 3022482 h 3428998"/>
              <a:gd name="connsiteX86" fmla="*/ 687073 w 6095996"/>
              <a:gd name="connsiteY86" fmla="*/ 3060965 h 3428998"/>
              <a:gd name="connsiteX87" fmla="*/ 687073 w 6095996"/>
              <a:gd name="connsiteY87" fmla="*/ 3022482 h 3428998"/>
              <a:gd name="connsiteX88" fmla="*/ 0 w 6095996"/>
              <a:gd name="connsiteY88" fmla="*/ 0 h 3428998"/>
              <a:gd name="connsiteX89" fmla="*/ 6095996 w 6095996"/>
              <a:gd name="connsiteY89" fmla="*/ 0 h 3428998"/>
              <a:gd name="connsiteX90" fmla="*/ 6095996 w 6095996"/>
              <a:gd name="connsiteY90" fmla="*/ 3428998 h 3428998"/>
              <a:gd name="connsiteX91" fmla="*/ 0 w 6095996"/>
              <a:gd name="connsiteY91" fmla="*/ 3428998 h 342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095996" h="3428998">
                <a:moveTo>
                  <a:pt x="1146049" y="3041536"/>
                </a:moveTo>
                <a:lnTo>
                  <a:pt x="1157832" y="3076509"/>
                </a:lnTo>
                <a:lnTo>
                  <a:pt x="1134642" y="3076509"/>
                </a:lnTo>
                <a:close/>
                <a:moveTo>
                  <a:pt x="788169" y="3041536"/>
                </a:moveTo>
                <a:lnTo>
                  <a:pt x="799952" y="3076509"/>
                </a:lnTo>
                <a:lnTo>
                  <a:pt x="776762" y="3076509"/>
                </a:lnTo>
                <a:close/>
                <a:moveTo>
                  <a:pt x="1132323" y="3022545"/>
                </a:moveTo>
                <a:lnTo>
                  <a:pt x="1100859" y="3113676"/>
                </a:lnTo>
                <a:lnTo>
                  <a:pt x="1123109" y="3113676"/>
                </a:lnTo>
                <a:lnTo>
                  <a:pt x="1128876" y="3095062"/>
                </a:lnTo>
                <a:lnTo>
                  <a:pt x="1163786" y="3095062"/>
                </a:lnTo>
                <a:lnTo>
                  <a:pt x="1169740" y="3113676"/>
                </a:lnTo>
                <a:lnTo>
                  <a:pt x="1191614" y="3113676"/>
                </a:lnTo>
                <a:lnTo>
                  <a:pt x="1159148" y="3022545"/>
                </a:lnTo>
                <a:close/>
                <a:moveTo>
                  <a:pt x="961907" y="3022545"/>
                </a:moveTo>
                <a:cubicBezTo>
                  <a:pt x="944358" y="3022545"/>
                  <a:pt x="933640" y="3032824"/>
                  <a:pt x="933640" y="3050248"/>
                </a:cubicBezTo>
                <a:cubicBezTo>
                  <a:pt x="933640" y="3067672"/>
                  <a:pt x="945987" y="3076823"/>
                  <a:pt x="961907" y="3076823"/>
                </a:cubicBezTo>
                <a:lnTo>
                  <a:pt x="983467" y="3076823"/>
                </a:lnTo>
                <a:cubicBezTo>
                  <a:pt x="988920" y="3076823"/>
                  <a:pt x="991678" y="3080959"/>
                  <a:pt x="991678" y="3085284"/>
                </a:cubicBezTo>
                <a:cubicBezTo>
                  <a:pt x="991678" y="3089734"/>
                  <a:pt x="988920" y="3093745"/>
                  <a:pt x="983467" y="3093745"/>
                </a:cubicBezTo>
                <a:lnTo>
                  <a:pt x="937338" y="3093745"/>
                </a:lnTo>
                <a:lnTo>
                  <a:pt x="937338" y="3113676"/>
                </a:lnTo>
                <a:lnTo>
                  <a:pt x="982715" y="3113676"/>
                </a:lnTo>
                <a:cubicBezTo>
                  <a:pt x="1000703" y="3113676"/>
                  <a:pt x="1011358" y="3103774"/>
                  <a:pt x="1011358" y="3085284"/>
                </a:cubicBezTo>
                <a:cubicBezTo>
                  <a:pt x="1011358" y="3068612"/>
                  <a:pt x="1000641" y="3058709"/>
                  <a:pt x="986727" y="3058709"/>
                </a:cubicBezTo>
                <a:lnTo>
                  <a:pt x="961907" y="3058709"/>
                </a:lnTo>
                <a:cubicBezTo>
                  <a:pt x="956078" y="3058709"/>
                  <a:pt x="953320" y="3054698"/>
                  <a:pt x="953320" y="3050248"/>
                </a:cubicBezTo>
                <a:cubicBezTo>
                  <a:pt x="953320" y="3045798"/>
                  <a:pt x="956078" y="3041787"/>
                  <a:pt x="961907" y="3041787"/>
                </a:cubicBezTo>
                <a:lnTo>
                  <a:pt x="1004965" y="3041787"/>
                </a:lnTo>
                <a:lnTo>
                  <a:pt x="1004965" y="3022545"/>
                </a:lnTo>
                <a:close/>
                <a:moveTo>
                  <a:pt x="841570" y="3022545"/>
                </a:moveTo>
                <a:lnTo>
                  <a:pt x="841570" y="3113676"/>
                </a:lnTo>
                <a:lnTo>
                  <a:pt x="862691" y="3113676"/>
                </a:lnTo>
                <a:lnTo>
                  <a:pt x="862691" y="3057456"/>
                </a:lnTo>
                <a:lnTo>
                  <a:pt x="898981" y="3113488"/>
                </a:lnTo>
                <a:lnTo>
                  <a:pt x="898981" y="3113676"/>
                </a:lnTo>
                <a:lnTo>
                  <a:pt x="920855" y="3113676"/>
                </a:lnTo>
                <a:lnTo>
                  <a:pt x="920792" y="3093996"/>
                </a:lnTo>
                <a:lnTo>
                  <a:pt x="920667" y="3022545"/>
                </a:lnTo>
                <a:lnTo>
                  <a:pt x="899670" y="3022545"/>
                </a:lnTo>
                <a:lnTo>
                  <a:pt x="899670" y="3079831"/>
                </a:lnTo>
                <a:lnTo>
                  <a:pt x="863067" y="3022545"/>
                </a:lnTo>
                <a:close/>
                <a:moveTo>
                  <a:pt x="774443" y="3022545"/>
                </a:moveTo>
                <a:lnTo>
                  <a:pt x="742918" y="3113676"/>
                </a:lnTo>
                <a:lnTo>
                  <a:pt x="765167" y="3113676"/>
                </a:lnTo>
                <a:lnTo>
                  <a:pt x="770934" y="3095062"/>
                </a:lnTo>
                <a:lnTo>
                  <a:pt x="805844" y="3095062"/>
                </a:lnTo>
                <a:lnTo>
                  <a:pt x="811798" y="3113676"/>
                </a:lnTo>
                <a:lnTo>
                  <a:pt x="833735" y="3113676"/>
                </a:lnTo>
                <a:lnTo>
                  <a:pt x="801269" y="3022545"/>
                </a:lnTo>
                <a:close/>
                <a:moveTo>
                  <a:pt x="604403" y="3022545"/>
                </a:moveTo>
                <a:cubicBezTo>
                  <a:pt x="586791" y="3022545"/>
                  <a:pt x="576136" y="3032824"/>
                  <a:pt x="576136" y="3050248"/>
                </a:cubicBezTo>
                <a:cubicBezTo>
                  <a:pt x="576136" y="3067672"/>
                  <a:pt x="588484" y="3076823"/>
                  <a:pt x="604403" y="3076823"/>
                </a:cubicBezTo>
                <a:lnTo>
                  <a:pt x="625964" y="3076823"/>
                </a:lnTo>
                <a:cubicBezTo>
                  <a:pt x="631416" y="3076823"/>
                  <a:pt x="634174" y="3080959"/>
                  <a:pt x="634174" y="3085284"/>
                </a:cubicBezTo>
                <a:cubicBezTo>
                  <a:pt x="634174" y="3089734"/>
                  <a:pt x="631416" y="3093745"/>
                  <a:pt x="625964" y="3093745"/>
                </a:cubicBezTo>
                <a:lnTo>
                  <a:pt x="579772" y="3093745"/>
                </a:lnTo>
                <a:lnTo>
                  <a:pt x="579772" y="3113676"/>
                </a:lnTo>
                <a:lnTo>
                  <a:pt x="625149" y="3113676"/>
                </a:lnTo>
                <a:cubicBezTo>
                  <a:pt x="643137" y="3113676"/>
                  <a:pt x="653792" y="3103774"/>
                  <a:pt x="653792" y="3085284"/>
                </a:cubicBezTo>
                <a:cubicBezTo>
                  <a:pt x="653792" y="3068612"/>
                  <a:pt x="643137" y="3058709"/>
                  <a:pt x="629223" y="3058709"/>
                </a:cubicBezTo>
                <a:lnTo>
                  <a:pt x="604403" y="3058709"/>
                </a:lnTo>
                <a:cubicBezTo>
                  <a:pt x="598574" y="3058709"/>
                  <a:pt x="595817" y="3054698"/>
                  <a:pt x="595817" y="3050248"/>
                </a:cubicBezTo>
                <a:cubicBezTo>
                  <a:pt x="595817" y="3045798"/>
                  <a:pt x="598574" y="3041787"/>
                  <a:pt x="604403" y="3041787"/>
                </a:cubicBezTo>
                <a:lnTo>
                  <a:pt x="647461" y="3041787"/>
                </a:lnTo>
                <a:lnTo>
                  <a:pt x="647461" y="3022545"/>
                </a:lnTo>
                <a:close/>
                <a:moveTo>
                  <a:pt x="1023956" y="3022482"/>
                </a:moveTo>
                <a:lnTo>
                  <a:pt x="1023956" y="3113676"/>
                </a:lnTo>
                <a:lnTo>
                  <a:pt x="1045015" y="3113676"/>
                </a:lnTo>
                <a:lnTo>
                  <a:pt x="1045015" y="3075193"/>
                </a:lnTo>
                <a:lnTo>
                  <a:pt x="1074975" y="3113676"/>
                </a:lnTo>
                <a:lnTo>
                  <a:pt x="1099481" y="3113676"/>
                </a:lnTo>
                <a:lnTo>
                  <a:pt x="1065009" y="3068111"/>
                </a:lnTo>
                <a:lnTo>
                  <a:pt x="1099481" y="3022482"/>
                </a:lnTo>
                <a:lnTo>
                  <a:pt x="1074975" y="3022482"/>
                </a:lnTo>
                <a:lnTo>
                  <a:pt x="1045015" y="3060965"/>
                </a:lnTo>
                <a:lnTo>
                  <a:pt x="1045015" y="3022482"/>
                </a:lnTo>
                <a:close/>
                <a:moveTo>
                  <a:pt x="666076" y="3022482"/>
                </a:moveTo>
                <a:lnTo>
                  <a:pt x="666076" y="3113676"/>
                </a:lnTo>
                <a:lnTo>
                  <a:pt x="687073" y="3113676"/>
                </a:lnTo>
                <a:lnTo>
                  <a:pt x="687073" y="3075193"/>
                </a:lnTo>
                <a:lnTo>
                  <a:pt x="717032" y="3113676"/>
                </a:lnTo>
                <a:lnTo>
                  <a:pt x="741601" y="3113676"/>
                </a:lnTo>
                <a:lnTo>
                  <a:pt x="707067" y="3068111"/>
                </a:lnTo>
                <a:lnTo>
                  <a:pt x="741601" y="3022482"/>
                </a:lnTo>
                <a:lnTo>
                  <a:pt x="717032" y="3022482"/>
                </a:lnTo>
                <a:lnTo>
                  <a:pt x="687073" y="3060965"/>
                </a:lnTo>
                <a:lnTo>
                  <a:pt x="687073" y="3022482"/>
                </a:lnTo>
                <a:close/>
                <a:moveTo>
                  <a:pt x="0" y="0"/>
                </a:moveTo>
                <a:lnTo>
                  <a:pt x="6095996" y="0"/>
                </a:lnTo>
                <a:lnTo>
                  <a:pt x="6095996"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3" name="Picture Placeholder 17">
            <a:extLst>
              <a:ext uri="{FF2B5EF4-FFF2-40B4-BE49-F238E27FC236}">
                <a16:creationId xmlns:a16="http://schemas.microsoft.com/office/drawing/2014/main" id="{F6D91FA2-3158-514E-AC7C-830A94A59D60}"/>
              </a:ext>
            </a:extLst>
          </p:cNvPr>
          <p:cNvSpPr>
            <a:spLocks noGrp="1"/>
          </p:cNvSpPr>
          <p:nvPr>
            <p:ph type="pic" sz="quarter" idx="18" hasCustomPrompt="1"/>
          </p:nvPr>
        </p:nvSpPr>
        <p:spPr>
          <a:xfrm>
            <a:off x="6096557" y="3429002"/>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0" name="Picture Placeholder 11">
            <a:extLst>
              <a:ext uri="{FF2B5EF4-FFF2-40B4-BE49-F238E27FC236}">
                <a16:creationId xmlns:a16="http://schemas.microsoft.com/office/drawing/2014/main" id="{1B7FC29D-F898-3A44-989C-87EB7E0AE74E}"/>
              </a:ext>
            </a:extLst>
          </p:cNvPr>
          <p:cNvSpPr>
            <a:spLocks noGrp="1"/>
          </p:cNvSpPr>
          <p:nvPr>
            <p:ph type="pic" sz="quarter" idx="13" hasCustomPrompt="1"/>
          </p:nvPr>
        </p:nvSpPr>
        <p:spPr>
          <a:xfrm>
            <a:off x="3"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1" name="Picture Placeholder 13">
            <a:extLst>
              <a:ext uri="{FF2B5EF4-FFF2-40B4-BE49-F238E27FC236}">
                <a16:creationId xmlns:a16="http://schemas.microsoft.com/office/drawing/2014/main" id="{F7C6A77F-C0D1-A44A-862B-B2F2882592E3}"/>
              </a:ext>
            </a:extLst>
          </p:cNvPr>
          <p:cNvSpPr>
            <a:spLocks noGrp="1"/>
          </p:cNvSpPr>
          <p:nvPr>
            <p:ph type="pic" sz="quarter" idx="16" hasCustomPrompt="1"/>
          </p:nvPr>
        </p:nvSpPr>
        <p:spPr>
          <a:xfrm>
            <a:off x="6096557"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4" name="Picture Placeholder 4">
            <a:extLst>
              <a:ext uri="{FF2B5EF4-FFF2-40B4-BE49-F238E27FC236}">
                <a16:creationId xmlns:a16="http://schemas.microsoft.com/office/drawing/2014/main" id="{81D91098-732B-074B-B219-BF059229333C}"/>
              </a:ext>
            </a:extLst>
          </p:cNvPr>
          <p:cNvSpPr>
            <a:spLocks noGrp="1"/>
          </p:cNvSpPr>
          <p:nvPr>
            <p:ph type="pic" sz="quarter" idx="39" hasCustomPrompt="1"/>
          </p:nvPr>
        </p:nvSpPr>
        <p:spPr>
          <a:xfrm>
            <a:off x="2058068" y="800102"/>
            <a:ext cx="1979867" cy="1828800"/>
          </a:xfrm>
        </p:spPr>
        <p:txBody>
          <a:bodyPr/>
          <a:lstStyle>
            <a:lvl1pPr marL="12700" indent="0" algn="ctr">
              <a:buNone/>
              <a:defRPr sz="1300">
                <a:solidFill>
                  <a:schemeClr val="tx2"/>
                </a:solidFill>
              </a:defRPr>
            </a:lvl1pPr>
          </a:lstStyle>
          <a:p>
            <a:r>
              <a:rPr lang="en-US" noProof="0"/>
              <a:t>Click to add icon</a:t>
            </a:r>
          </a:p>
        </p:txBody>
      </p:sp>
      <p:sp>
        <p:nvSpPr>
          <p:cNvPr id="15" name="Picture Placeholder 4">
            <a:extLst>
              <a:ext uri="{FF2B5EF4-FFF2-40B4-BE49-F238E27FC236}">
                <a16:creationId xmlns:a16="http://schemas.microsoft.com/office/drawing/2014/main" id="{71F87AE1-7112-F54A-A977-6BBBC300F50F}"/>
              </a:ext>
            </a:extLst>
          </p:cNvPr>
          <p:cNvSpPr>
            <a:spLocks noGrp="1"/>
          </p:cNvSpPr>
          <p:nvPr>
            <p:ph type="pic" sz="quarter" idx="40" hasCustomPrompt="1"/>
          </p:nvPr>
        </p:nvSpPr>
        <p:spPr>
          <a:xfrm>
            <a:off x="2058069" y="4229101"/>
            <a:ext cx="1979867" cy="1828800"/>
          </a:xfrm>
        </p:spPr>
        <p:txBody>
          <a:bodyPr/>
          <a:lstStyle>
            <a:lvl1pPr marL="12700" indent="0" algn="ctr">
              <a:buNone/>
              <a:defRPr sz="1300">
                <a:solidFill>
                  <a:schemeClr val="tx2"/>
                </a:solidFill>
              </a:defRPr>
            </a:lvl1pPr>
          </a:lstStyle>
          <a:p>
            <a:r>
              <a:rPr lang="en-US" noProof="0"/>
              <a:t>Click to add icon</a:t>
            </a:r>
          </a:p>
        </p:txBody>
      </p:sp>
      <p:sp>
        <p:nvSpPr>
          <p:cNvPr id="18" name="Picture Placeholder 4">
            <a:extLst>
              <a:ext uri="{FF2B5EF4-FFF2-40B4-BE49-F238E27FC236}">
                <a16:creationId xmlns:a16="http://schemas.microsoft.com/office/drawing/2014/main" id="{19DE4C17-73C1-B043-AFB8-39C52FFF977C}"/>
              </a:ext>
            </a:extLst>
          </p:cNvPr>
          <p:cNvSpPr>
            <a:spLocks noGrp="1"/>
          </p:cNvSpPr>
          <p:nvPr>
            <p:ph type="pic" sz="quarter" idx="41" hasCustomPrompt="1"/>
          </p:nvPr>
        </p:nvSpPr>
        <p:spPr>
          <a:xfrm>
            <a:off x="8154622" y="800102"/>
            <a:ext cx="1979867" cy="1828800"/>
          </a:xfrm>
        </p:spPr>
        <p:txBody>
          <a:bodyPr/>
          <a:lstStyle>
            <a:lvl1pPr marL="12700" indent="0" algn="ctr">
              <a:buNone/>
              <a:defRPr sz="1300">
                <a:solidFill>
                  <a:schemeClr val="tx2"/>
                </a:solidFill>
              </a:defRPr>
            </a:lvl1pPr>
          </a:lstStyle>
          <a:p>
            <a:r>
              <a:rPr lang="en-US" noProof="0"/>
              <a:t>Click to add icon</a:t>
            </a:r>
          </a:p>
        </p:txBody>
      </p:sp>
      <p:sp>
        <p:nvSpPr>
          <p:cNvPr id="19" name="Picture Placeholder 4">
            <a:extLst>
              <a:ext uri="{FF2B5EF4-FFF2-40B4-BE49-F238E27FC236}">
                <a16:creationId xmlns:a16="http://schemas.microsoft.com/office/drawing/2014/main" id="{9EAD56EA-10D4-4F4A-832B-AA6DC1EA75DB}"/>
              </a:ext>
            </a:extLst>
          </p:cNvPr>
          <p:cNvSpPr>
            <a:spLocks noGrp="1"/>
          </p:cNvSpPr>
          <p:nvPr>
            <p:ph type="pic" sz="quarter" idx="42" hasCustomPrompt="1"/>
          </p:nvPr>
        </p:nvSpPr>
        <p:spPr>
          <a:xfrm>
            <a:off x="8154622" y="4229101"/>
            <a:ext cx="1979867" cy="1828800"/>
          </a:xfrm>
        </p:spPr>
        <p:txBody>
          <a:bodyPr/>
          <a:lstStyle>
            <a:lvl1pPr marL="12700" indent="0" algn="ctr">
              <a:buNone/>
              <a:defRPr sz="1300">
                <a:solidFill>
                  <a:schemeClr val="tx2"/>
                </a:solidFill>
              </a:defRPr>
            </a:lvl1pPr>
          </a:lstStyle>
          <a:p>
            <a:r>
              <a:rPr lang="en-US" noProof="0"/>
              <a:t>Click to add icon</a:t>
            </a:r>
          </a:p>
        </p:txBody>
      </p:sp>
      <p:sp>
        <p:nvSpPr>
          <p:cNvPr id="21" name="textruta 5">
            <a:extLst>
              <a:ext uri="{FF2B5EF4-FFF2-40B4-BE49-F238E27FC236}">
                <a16:creationId xmlns:a16="http://schemas.microsoft.com/office/drawing/2014/main" id="{A867E855-1CA1-124C-A73A-4577E63450A5}"/>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22" name="textruta 21">
            <a:extLst>
              <a:ext uri="{FF2B5EF4-FFF2-40B4-BE49-F238E27FC236}">
                <a16:creationId xmlns:a16="http://schemas.microsoft.com/office/drawing/2014/main" id="{5C3A5ECD-B09B-A84A-8F8E-F03DFD781083}"/>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23" name="Rektangel 22">
            <a:extLst>
              <a:ext uri="{FF2B5EF4-FFF2-40B4-BE49-F238E27FC236}">
                <a16:creationId xmlns:a16="http://schemas.microsoft.com/office/drawing/2014/main" id="{D93BA509-6EA5-E74C-96F8-12235769CEBF}"/>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4" name="Rektangel 23">
            <a:extLst>
              <a:ext uri="{FF2B5EF4-FFF2-40B4-BE49-F238E27FC236}">
                <a16:creationId xmlns:a16="http://schemas.microsoft.com/office/drawing/2014/main" id="{FB1B6B98-C666-824F-AC61-3E64E1ECD821}"/>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5" name="Platshållare för datum 3">
            <a:extLst>
              <a:ext uri="{FF2B5EF4-FFF2-40B4-BE49-F238E27FC236}">
                <a16:creationId xmlns:a16="http://schemas.microsoft.com/office/drawing/2014/main" id="{AB7A9C74-9AB2-BB49-869A-0162E88878E6}"/>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2400DB1F-D80E-427B-B096-B7B0E5D0F3FD}" type="datetime1">
              <a:rPr lang="en-US" smtClean="0"/>
              <a:t>11/7/2025</a:t>
            </a:fld>
            <a:endParaRPr lang="en-US"/>
          </a:p>
        </p:txBody>
      </p:sp>
      <p:sp>
        <p:nvSpPr>
          <p:cNvPr id="26" name="Platshållare för sidfot 4">
            <a:extLst>
              <a:ext uri="{FF2B5EF4-FFF2-40B4-BE49-F238E27FC236}">
                <a16:creationId xmlns:a16="http://schemas.microsoft.com/office/drawing/2014/main" id="{C32F7104-2978-1146-B115-B3C3ABC66A81}"/>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nb-NO"/>
              <a:t>Skanska Norge Hovedpresentasjon - desember 2022</a:t>
            </a:r>
            <a:endParaRPr lang="en-US"/>
          </a:p>
        </p:txBody>
      </p:sp>
      <p:sp>
        <p:nvSpPr>
          <p:cNvPr id="27" name="Platshållare för bildnummer 5">
            <a:extLst>
              <a:ext uri="{FF2B5EF4-FFF2-40B4-BE49-F238E27FC236}">
                <a16:creationId xmlns:a16="http://schemas.microsoft.com/office/drawing/2014/main" id="{0D35DA1E-AB9D-5147-A3BA-2D38678EF3C2}"/>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345647549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 Two Images Graphic">
    <p:bg>
      <p:bgPr>
        <a:solidFill>
          <a:schemeClr val="bg1"/>
        </a:solidFill>
        <a:effectLst/>
      </p:bgPr>
    </p:bg>
    <p:spTree>
      <p:nvGrpSpPr>
        <p:cNvPr id="1" name=""/>
        <p:cNvGrpSpPr/>
        <p:nvPr/>
      </p:nvGrpSpPr>
      <p:grpSpPr>
        <a:xfrm>
          <a:off x="0" y="0"/>
          <a:ext cx="0" cy="0"/>
          <a:chOff x="0" y="0"/>
          <a:chExt cx="0" cy="0"/>
        </a:xfrm>
      </p:grpSpPr>
      <p:sp>
        <p:nvSpPr>
          <p:cNvPr id="16" name="Picture Placeholder 13">
            <a:extLst>
              <a:ext uri="{FF2B5EF4-FFF2-40B4-BE49-F238E27FC236}">
                <a16:creationId xmlns:a16="http://schemas.microsoft.com/office/drawing/2014/main" id="{4112384D-AFE6-0044-8D33-BD96D1F23E2F}"/>
              </a:ext>
            </a:extLst>
          </p:cNvPr>
          <p:cNvSpPr>
            <a:spLocks noGrp="1"/>
          </p:cNvSpPr>
          <p:nvPr>
            <p:ph type="pic" sz="quarter" idx="19" hasCustomPrompt="1"/>
          </p:nvPr>
        </p:nvSpPr>
        <p:spPr>
          <a:xfrm>
            <a:off x="6106523"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chemeClr val="accent6">
              <a:lumMod val="90000"/>
            </a:schemeClr>
          </a:solidFill>
        </p:spPr>
        <p:txBody>
          <a:bodyPr wrap="square" lIns="36000" tIns="36000" rIns="36000" bIns="36000" anchor="t">
            <a:noAutofit/>
          </a:bodyPr>
          <a:lstStyle>
            <a:lvl1pPr marL="0" indent="0" algn="ctr">
              <a:buNone/>
              <a:defRPr sz="1300">
                <a:solidFill>
                  <a:schemeClr val="tx2"/>
                </a:solidFill>
              </a:defRPr>
            </a:lvl1pPr>
          </a:lstStyle>
          <a:p>
            <a:r>
              <a:rPr lang="en-GB"/>
              <a:t>Click on the icon to add an image</a:t>
            </a:r>
          </a:p>
        </p:txBody>
      </p:sp>
      <p:sp>
        <p:nvSpPr>
          <p:cNvPr id="2" name="Date Placeholder 1">
            <a:extLst>
              <a:ext uri="{FF2B5EF4-FFF2-40B4-BE49-F238E27FC236}">
                <a16:creationId xmlns:a16="http://schemas.microsoft.com/office/drawing/2014/main" id="{CB933F6B-2C2A-DB4E-8D3A-6DB67A584F23}"/>
              </a:ext>
            </a:extLst>
          </p:cNvPr>
          <p:cNvSpPr>
            <a:spLocks noGrp="1"/>
          </p:cNvSpPr>
          <p:nvPr>
            <p:ph type="dt" sz="half" idx="16"/>
          </p:nvPr>
        </p:nvSpPr>
        <p:spPr>
          <a:xfrm>
            <a:off x="2185246" y="6453942"/>
            <a:ext cx="1878120" cy="112593"/>
          </a:xfrm>
          <a:prstGeom prst="rect">
            <a:avLst/>
          </a:prstGeom>
        </p:spPr>
        <p:txBody>
          <a:bodyPr/>
          <a:lstStyle>
            <a:lvl1pPr>
              <a:defRPr>
                <a:solidFill>
                  <a:schemeClr val="bg1"/>
                </a:solidFill>
              </a:defRPr>
            </a:lvl1pPr>
          </a:lstStyle>
          <a:p>
            <a:fld id="{ACE7E293-BCAB-4365-89CA-F82B2D1578AF}" type="datetime1">
              <a:rPr lang="en-US" smtClean="0"/>
              <a:t>11/7/2025</a:t>
            </a:fld>
            <a:endParaRPr lang="en-US"/>
          </a:p>
        </p:txBody>
      </p:sp>
      <p:sp>
        <p:nvSpPr>
          <p:cNvPr id="13" name="Picture Placeholder 12">
            <a:extLst>
              <a:ext uri="{FF2B5EF4-FFF2-40B4-BE49-F238E27FC236}">
                <a16:creationId xmlns:a16="http://schemas.microsoft.com/office/drawing/2014/main" id="{E694F34C-2436-894C-9A38-5ECC387754EF}"/>
              </a:ext>
            </a:extLst>
          </p:cNvPr>
          <p:cNvSpPr>
            <a:spLocks noGrp="1"/>
          </p:cNvSpPr>
          <p:nvPr>
            <p:ph type="pic" sz="quarter" idx="13" hasCustomPrompt="1"/>
          </p:nvPr>
        </p:nvSpPr>
        <p:spPr>
          <a:xfrm>
            <a:off x="5" y="5"/>
            <a:ext cx="6109247" cy="6857997"/>
          </a:xfrm>
          <a:custGeom>
            <a:avLst/>
            <a:gdLst>
              <a:gd name="connsiteX0" fmla="*/ 1146049 w 6094408"/>
              <a:gd name="connsiteY0" fmla="*/ 6470534 h 6857997"/>
              <a:gd name="connsiteX1" fmla="*/ 1157832 w 6094408"/>
              <a:gd name="connsiteY1" fmla="*/ 6505507 h 6857997"/>
              <a:gd name="connsiteX2" fmla="*/ 1134642 w 6094408"/>
              <a:gd name="connsiteY2" fmla="*/ 6505507 h 6857997"/>
              <a:gd name="connsiteX3" fmla="*/ 788170 w 6094408"/>
              <a:gd name="connsiteY3" fmla="*/ 6470534 h 6857997"/>
              <a:gd name="connsiteX4" fmla="*/ 799953 w 6094408"/>
              <a:gd name="connsiteY4" fmla="*/ 6505507 h 6857997"/>
              <a:gd name="connsiteX5" fmla="*/ 776763 w 6094408"/>
              <a:gd name="connsiteY5" fmla="*/ 6505507 h 6857997"/>
              <a:gd name="connsiteX6" fmla="*/ 1132323 w 6094408"/>
              <a:gd name="connsiteY6" fmla="*/ 6451543 h 6857997"/>
              <a:gd name="connsiteX7" fmla="*/ 1100860 w 6094408"/>
              <a:gd name="connsiteY7" fmla="*/ 6542674 h 6857997"/>
              <a:gd name="connsiteX8" fmla="*/ 1123110 w 6094408"/>
              <a:gd name="connsiteY8" fmla="*/ 6542674 h 6857997"/>
              <a:gd name="connsiteX9" fmla="*/ 1128876 w 6094408"/>
              <a:gd name="connsiteY9" fmla="*/ 6524060 h 6857997"/>
              <a:gd name="connsiteX10" fmla="*/ 1163786 w 6094408"/>
              <a:gd name="connsiteY10" fmla="*/ 6524060 h 6857997"/>
              <a:gd name="connsiteX11" fmla="*/ 1169741 w 6094408"/>
              <a:gd name="connsiteY11" fmla="*/ 6542674 h 6857997"/>
              <a:gd name="connsiteX12" fmla="*/ 1191615 w 6094408"/>
              <a:gd name="connsiteY12" fmla="*/ 6542674 h 6857997"/>
              <a:gd name="connsiteX13" fmla="*/ 1159148 w 6094408"/>
              <a:gd name="connsiteY13" fmla="*/ 6451543 h 6857997"/>
              <a:gd name="connsiteX14" fmla="*/ 961907 w 6094408"/>
              <a:gd name="connsiteY14" fmla="*/ 6451543 h 6857997"/>
              <a:gd name="connsiteX15" fmla="*/ 933640 w 6094408"/>
              <a:gd name="connsiteY15" fmla="*/ 6479246 h 6857997"/>
              <a:gd name="connsiteX16" fmla="*/ 961907 w 6094408"/>
              <a:gd name="connsiteY16" fmla="*/ 6505821 h 6857997"/>
              <a:gd name="connsiteX17" fmla="*/ 983468 w 6094408"/>
              <a:gd name="connsiteY17" fmla="*/ 6505821 h 6857997"/>
              <a:gd name="connsiteX18" fmla="*/ 991678 w 6094408"/>
              <a:gd name="connsiteY18" fmla="*/ 6514282 h 6857997"/>
              <a:gd name="connsiteX19" fmla="*/ 983468 w 6094408"/>
              <a:gd name="connsiteY19" fmla="*/ 6522743 h 6857997"/>
              <a:gd name="connsiteX20" fmla="*/ 937338 w 6094408"/>
              <a:gd name="connsiteY20" fmla="*/ 6522743 h 6857997"/>
              <a:gd name="connsiteX21" fmla="*/ 937338 w 6094408"/>
              <a:gd name="connsiteY21" fmla="*/ 6542674 h 6857997"/>
              <a:gd name="connsiteX22" fmla="*/ 982716 w 6094408"/>
              <a:gd name="connsiteY22" fmla="*/ 6542674 h 6857997"/>
              <a:gd name="connsiteX23" fmla="*/ 1011358 w 6094408"/>
              <a:gd name="connsiteY23" fmla="*/ 6514282 h 6857997"/>
              <a:gd name="connsiteX24" fmla="*/ 986727 w 6094408"/>
              <a:gd name="connsiteY24" fmla="*/ 6487707 h 6857997"/>
              <a:gd name="connsiteX25" fmla="*/ 961907 w 6094408"/>
              <a:gd name="connsiteY25" fmla="*/ 6487707 h 6857997"/>
              <a:gd name="connsiteX26" fmla="*/ 953321 w 6094408"/>
              <a:gd name="connsiteY26" fmla="*/ 6479246 h 6857997"/>
              <a:gd name="connsiteX27" fmla="*/ 961907 w 6094408"/>
              <a:gd name="connsiteY27" fmla="*/ 6470785 h 6857997"/>
              <a:gd name="connsiteX28" fmla="*/ 1004965 w 6094408"/>
              <a:gd name="connsiteY28" fmla="*/ 6470785 h 6857997"/>
              <a:gd name="connsiteX29" fmla="*/ 1004965 w 6094408"/>
              <a:gd name="connsiteY29" fmla="*/ 6451543 h 6857997"/>
              <a:gd name="connsiteX30" fmla="*/ 841570 w 6094408"/>
              <a:gd name="connsiteY30" fmla="*/ 6451543 h 6857997"/>
              <a:gd name="connsiteX31" fmla="*/ 841570 w 6094408"/>
              <a:gd name="connsiteY31" fmla="*/ 6542674 h 6857997"/>
              <a:gd name="connsiteX32" fmla="*/ 862692 w 6094408"/>
              <a:gd name="connsiteY32" fmla="*/ 6542674 h 6857997"/>
              <a:gd name="connsiteX33" fmla="*/ 862692 w 6094408"/>
              <a:gd name="connsiteY33" fmla="*/ 6486454 h 6857997"/>
              <a:gd name="connsiteX34" fmla="*/ 898981 w 6094408"/>
              <a:gd name="connsiteY34" fmla="*/ 6542486 h 6857997"/>
              <a:gd name="connsiteX35" fmla="*/ 898981 w 6094408"/>
              <a:gd name="connsiteY35" fmla="*/ 6542674 h 6857997"/>
              <a:gd name="connsiteX36" fmla="*/ 920855 w 6094408"/>
              <a:gd name="connsiteY36" fmla="*/ 6542674 h 6857997"/>
              <a:gd name="connsiteX37" fmla="*/ 920793 w 6094408"/>
              <a:gd name="connsiteY37" fmla="*/ 6522994 h 6857997"/>
              <a:gd name="connsiteX38" fmla="*/ 920667 w 6094408"/>
              <a:gd name="connsiteY38" fmla="*/ 6451543 h 6857997"/>
              <a:gd name="connsiteX39" fmla="*/ 899671 w 6094408"/>
              <a:gd name="connsiteY39" fmla="*/ 6451543 h 6857997"/>
              <a:gd name="connsiteX40" fmla="*/ 899671 w 6094408"/>
              <a:gd name="connsiteY40" fmla="*/ 6508829 h 6857997"/>
              <a:gd name="connsiteX41" fmla="*/ 863068 w 6094408"/>
              <a:gd name="connsiteY41" fmla="*/ 6451543 h 6857997"/>
              <a:gd name="connsiteX42" fmla="*/ 774444 w 6094408"/>
              <a:gd name="connsiteY42" fmla="*/ 6451543 h 6857997"/>
              <a:gd name="connsiteX43" fmla="*/ 742918 w 6094408"/>
              <a:gd name="connsiteY43" fmla="*/ 6542674 h 6857997"/>
              <a:gd name="connsiteX44" fmla="*/ 765168 w 6094408"/>
              <a:gd name="connsiteY44" fmla="*/ 6542674 h 6857997"/>
              <a:gd name="connsiteX45" fmla="*/ 770934 w 6094408"/>
              <a:gd name="connsiteY45" fmla="*/ 6524060 h 6857997"/>
              <a:gd name="connsiteX46" fmla="*/ 805845 w 6094408"/>
              <a:gd name="connsiteY46" fmla="*/ 6524060 h 6857997"/>
              <a:gd name="connsiteX47" fmla="*/ 811799 w 6094408"/>
              <a:gd name="connsiteY47" fmla="*/ 6542674 h 6857997"/>
              <a:gd name="connsiteX48" fmla="*/ 833735 w 6094408"/>
              <a:gd name="connsiteY48" fmla="*/ 6542674 h 6857997"/>
              <a:gd name="connsiteX49" fmla="*/ 801269 w 6094408"/>
              <a:gd name="connsiteY49" fmla="*/ 6451543 h 6857997"/>
              <a:gd name="connsiteX50" fmla="*/ 604404 w 6094408"/>
              <a:gd name="connsiteY50" fmla="*/ 6451543 h 6857997"/>
              <a:gd name="connsiteX51" fmla="*/ 576137 w 6094408"/>
              <a:gd name="connsiteY51" fmla="*/ 6479246 h 6857997"/>
              <a:gd name="connsiteX52" fmla="*/ 604404 w 6094408"/>
              <a:gd name="connsiteY52" fmla="*/ 6505821 h 6857997"/>
              <a:gd name="connsiteX53" fmla="*/ 625964 w 6094408"/>
              <a:gd name="connsiteY53" fmla="*/ 6505821 h 6857997"/>
              <a:gd name="connsiteX54" fmla="*/ 634174 w 6094408"/>
              <a:gd name="connsiteY54" fmla="*/ 6514282 h 6857997"/>
              <a:gd name="connsiteX55" fmla="*/ 625964 w 6094408"/>
              <a:gd name="connsiteY55" fmla="*/ 6522743 h 6857997"/>
              <a:gd name="connsiteX56" fmla="*/ 579772 w 6094408"/>
              <a:gd name="connsiteY56" fmla="*/ 6522743 h 6857997"/>
              <a:gd name="connsiteX57" fmla="*/ 579772 w 6094408"/>
              <a:gd name="connsiteY57" fmla="*/ 6542674 h 6857997"/>
              <a:gd name="connsiteX58" fmla="*/ 625149 w 6094408"/>
              <a:gd name="connsiteY58" fmla="*/ 6542674 h 6857997"/>
              <a:gd name="connsiteX59" fmla="*/ 653792 w 6094408"/>
              <a:gd name="connsiteY59" fmla="*/ 6514282 h 6857997"/>
              <a:gd name="connsiteX60" fmla="*/ 629223 w 6094408"/>
              <a:gd name="connsiteY60" fmla="*/ 6487707 h 6857997"/>
              <a:gd name="connsiteX61" fmla="*/ 604404 w 6094408"/>
              <a:gd name="connsiteY61" fmla="*/ 6487707 h 6857997"/>
              <a:gd name="connsiteX62" fmla="*/ 595817 w 6094408"/>
              <a:gd name="connsiteY62" fmla="*/ 6479246 h 6857997"/>
              <a:gd name="connsiteX63" fmla="*/ 604404 w 6094408"/>
              <a:gd name="connsiteY63" fmla="*/ 6470785 h 6857997"/>
              <a:gd name="connsiteX64" fmla="*/ 647462 w 6094408"/>
              <a:gd name="connsiteY64" fmla="*/ 6470785 h 6857997"/>
              <a:gd name="connsiteX65" fmla="*/ 647462 w 6094408"/>
              <a:gd name="connsiteY65" fmla="*/ 6451543 h 6857997"/>
              <a:gd name="connsiteX66" fmla="*/ 1023956 w 6094408"/>
              <a:gd name="connsiteY66" fmla="*/ 6451480 h 6857997"/>
              <a:gd name="connsiteX67" fmla="*/ 1023956 w 6094408"/>
              <a:gd name="connsiteY67" fmla="*/ 6542674 h 6857997"/>
              <a:gd name="connsiteX68" fmla="*/ 1045016 w 6094408"/>
              <a:gd name="connsiteY68" fmla="*/ 6542674 h 6857997"/>
              <a:gd name="connsiteX69" fmla="*/ 1045016 w 6094408"/>
              <a:gd name="connsiteY69" fmla="*/ 6504191 h 6857997"/>
              <a:gd name="connsiteX70" fmla="*/ 1074975 w 6094408"/>
              <a:gd name="connsiteY70" fmla="*/ 6542674 h 6857997"/>
              <a:gd name="connsiteX71" fmla="*/ 1099481 w 6094408"/>
              <a:gd name="connsiteY71" fmla="*/ 6542674 h 6857997"/>
              <a:gd name="connsiteX72" fmla="*/ 1065009 w 6094408"/>
              <a:gd name="connsiteY72" fmla="*/ 6497109 h 6857997"/>
              <a:gd name="connsiteX73" fmla="*/ 1099481 w 6094408"/>
              <a:gd name="connsiteY73" fmla="*/ 6451480 h 6857997"/>
              <a:gd name="connsiteX74" fmla="*/ 1074975 w 6094408"/>
              <a:gd name="connsiteY74" fmla="*/ 6451480 h 6857997"/>
              <a:gd name="connsiteX75" fmla="*/ 1045016 w 6094408"/>
              <a:gd name="connsiteY75" fmla="*/ 6489963 h 6857997"/>
              <a:gd name="connsiteX76" fmla="*/ 1045016 w 6094408"/>
              <a:gd name="connsiteY76" fmla="*/ 6451480 h 6857997"/>
              <a:gd name="connsiteX77" fmla="*/ 666077 w 6094408"/>
              <a:gd name="connsiteY77" fmla="*/ 6451480 h 6857997"/>
              <a:gd name="connsiteX78" fmla="*/ 666077 w 6094408"/>
              <a:gd name="connsiteY78" fmla="*/ 6542674 h 6857997"/>
              <a:gd name="connsiteX79" fmla="*/ 687073 w 6094408"/>
              <a:gd name="connsiteY79" fmla="*/ 6542674 h 6857997"/>
              <a:gd name="connsiteX80" fmla="*/ 687073 w 6094408"/>
              <a:gd name="connsiteY80" fmla="*/ 6504191 h 6857997"/>
              <a:gd name="connsiteX81" fmla="*/ 717033 w 6094408"/>
              <a:gd name="connsiteY81" fmla="*/ 6542674 h 6857997"/>
              <a:gd name="connsiteX82" fmla="*/ 741602 w 6094408"/>
              <a:gd name="connsiteY82" fmla="*/ 6542674 h 6857997"/>
              <a:gd name="connsiteX83" fmla="*/ 707067 w 6094408"/>
              <a:gd name="connsiteY83" fmla="*/ 6497109 h 6857997"/>
              <a:gd name="connsiteX84" fmla="*/ 741602 w 6094408"/>
              <a:gd name="connsiteY84" fmla="*/ 6451480 h 6857997"/>
              <a:gd name="connsiteX85" fmla="*/ 717033 w 6094408"/>
              <a:gd name="connsiteY85" fmla="*/ 6451480 h 6857997"/>
              <a:gd name="connsiteX86" fmla="*/ 687073 w 6094408"/>
              <a:gd name="connsiteY86" fmla="*/ 6489963 h 6857997"/>
              <a:gd name="connsiteX87" fmla="*/ 687073 w 6094408"/>
              <a:gd name="connsiteY87" fmla="*/ 6451480 h 6857997"/>
              <a:gd name="connsiteX88" fmla="*/ 0 w 6094408"/>
              <a:gd name="connsiteY88" fmla="*/ 0 h 6857997"/>
              <a:gd name="connsiteX89" fmla="*/ 6094408 w 6094408"/>
              <a:gd name="connsiteY89" fmla="*/ 0 h 6857997"/>
              <a:gd name="connsiteX90" fmla="*/ 6094408 w 6094408"/>
              <a:gd name="connsiteY90" fmla="*/ 6857997 h 6857997"/>
              <a:gd name="connsiteX91" fmla="*/ 0 w 6094408"/>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094408"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6094408" y="0"/>
                </a:lnTo>
                <a:lnTo>
                  <a:pt x="6094408" y="6857997"/>
                </a:lnTo>
                <a:lnTo>
                  <a:pt x="0" y="6857997"/>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tx2"/>
                </a:solidFill>
              </a:defRPr>
            </a:lvl1pPr>
          </a:lstStyle>
          <a:p>
            <a:r>
              <a:rPr lang="en-GB"/>
              <a:t>Click on the icon to add an image</a:t>
            </a:r>
          </a:p>
        </p:txBody>
      </p:sp>
      <p:sp>
        <p:nvSpPr>
          <p:cNvPr id="6" name="textruta 5">
            <a:extLst>
              <a:ext uri="{FF2B5EF4-FFF2-40B4-BE49-F238E27FC236}">
                <a16:creationId xmlns:a16="http://schemas.microsoft.com/office/drawing/2014/main" id="{9FE728FC-C64C-ED4F-8B3A-2159EA348AD2}"/>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GB" sz="900" baseline="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GB" sz="900" b="1" baseline="0">
                <a:solidFill>
                  <a:schemeClr val="tx1">
                    <a:lumMod val="65000"/>
                    <a:lumOff val="35000"/>
                  </a:schemeClr>
                </a:solidFill>
                <a:latin typeface="Arial" panose="020B0604020202020204" pitchFamily="34" charset="0"/>
                <a:cs typeface="Arial" panose="020B0604020202020204" pitchFamily="34" charset="0"/>
              </a:rPr>
              <a:t>right click the image </a:t>
            </a:r>
            <a:r>
              <a:rPr lang="en-GB" sz="900" baseline="0">
                <a:solidFill>
                  <a:schemeClr val="tx1">
                    <a:lumMod val="65000"/>
                    <a:lumOff val="35000"/>
                  </a:schemeClr>
                </a:solidFill>
                <a:latin typeface="Arial" panose="020B0604020202020204" pitchFamily="34" charset="0"/>
                <a:cs typeface="Arial" panose="020B0604020202020204" pitchFamily="34" charset="0"/>
              </a:rPr>
              <a:t>and use – </a:t>
            </a:r>
            <a:r>
              <a:rPr lang="en-GB" sz="900" b="1">
                <a:solidFill>
                  <a:schemeClr val="tx1">
                    <a:lumMod val="65000"/>
                    <a:lumOff val="35000"/>
                  </a:schemeClr>
                </a:solidFill>
                <a:latin typeface="Arial" panose="020B0604020202020204" pitchFamily="34" charset="0"/>
                <a:cs typeface="Arial" panose="020B0604020202020204" pitchFamily="34" charset="0"/>
              </a:rPr>
              <a:t>S</a:t>
            </a:r>
            <a:r>
              <a:rPr lang="en-GB" sz="900" b="1" baseline="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7" name="textruta 6">
            <a:extLst>
              <a:ext uri="{FF2B5EF4-FFF2-40B4-BE49-F238E27FC236}">
                <a16:creationId xmlns:a16="http://schemas.microsoft.com/office/drawing/2014/main" id="{BE6ABED2-384F-4748-8CE8-E5DB02B0EC75}"/>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GB" sz="900" baseline="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GB" sz="900" b="1" baseline="0">
                <a:solidFill>
                  <a:schemeClr val="tx1">
                    <a:lumMod val="65000"/>
                    <a:lumOff val="35000"/>
                  </a:schemeClr>
                </a:solidFill>
                <a:latin typeface="Arial" panose="020B0604020202020204" pitchFamily="34" charset="0"/>
                <a:cs typeface="Arial" panose="020B0604020202020204" pitchFamily="34" charset="0"/>
              </a:rPr>
              <a:t>Format Background </a:t>
            </a:r>
            <a:r>
              <a:rPr lang="en-GB" sz="900" baseline="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GB" sz="900" b="1" baseline="0">
                <a:solidFill>
                  <a:schemeClr val="tx1">
                    <a:lumMod val="65000"/>
                    <a:lumOff val="35000"/>
                  </a:schemeClr>
                </a:solidFill>
                <a:latin typeface="Arial" panose="020B0604020202020204" pitchFamily="34" charset="0"/>
                <a:cs typeface="Arial" panose="020B0604020202020204" pitchFamily="34" charset="0"/>
              </a:rPr>
              <a:t>Solid fill</a:t>
            </a:r>
            <a:r>
              <a:rPr lang="en-GB" sz="900" baseline="0">
                <a:solidFill>
                  <a:schemeClr val="tx1">
                    <a:lumMod val="65000"/>
                    <a:lumOff val="35000"/>
                  </a:schemeClr>
                </a:solidFill>
                <a:latin typeface="Arial" panose="020B0604020202020204" pitchFamily="34" charset="0"/>
                <a:cs typeface="Arial" panose="020B0604020202020204" pitchFamily="34" charset="0"/>
              </a:rPr>
              <a:t> – </a:t>
            </a:r>
            <a:r>
              <a:rPr lang="en-GB" sz="900" b="1" baseline="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GB" sz="900" baseline="0">
              <a:solidFill>
                <a:schemeClr val="tx1">
                  <a:lumMod val="65000"/>
                  <a:lumOff val="35000"/>
                </a:schemeClr>
              </a:solidFill>
              <a:latin typeface="Arial" panose="020B0604020202020204" pitchFamily="34" charset="0"/>
              <a:cs typeface="Arial" panose="020B0604020202020204" pitchFamily="34" charset="0"/>
            </a:endParaRPr>
          </a:p>
          <a:p>
            <a:pPr algn="ctr"/>
            <a:endParaRPr lang="en-GB" sz="900" baseline="0">
              <a:solidFill>
                <a:schemeClr val="tx1">
                  <a:lumMod val="65000"/>
                  <a:lumOff val="35000"/>
                </a:schemeClr>
              </a:solidFill>
              <a:latin typeface="Arial" panose="020B0604020202020204" pitchFamily="34" charset="0"/>
              <a:cs typeface="Arial" panose="020B0604020202020204" pitchFamily="34" charset="0"/>
            </a:endParaRPr>
          </a:p>
          <a:p>
            <a:pPr algn="ctr"/>
            <a:endParaRPr lang="en-GB" sz="900" baseline="0">
              <a:solidFill>
                <a:schemeClr val="tx1">
                  <a:lumMod val="65000"/>
                  <a:lumOff val="35000"/>
                </a:schemeClr>
              </a:solidFill>
              <a:latin typeface="Arial" panose="020B0604020202020204" pitchFamily="34" charset="0"/>
              <a:cs typeface="Arial" panose="020B0604020202020204" pitchFamily="34" charset="0"/>
            </a:endParaRPr>
          </a:p>
        </p:txBody>
      </p:sp>
      <p:sp>
        <p:nvSpPr>
          <p:cNvPr id="8" name="Rektangel 7">
            <a:extLst>
              <a:ext uri="{FF2B5EF4-FFF2-40B4-BE49-F238E27FC236}">
                <a16:creationId xmlns:a16="http://schemas.microsoft.com/office/drawing/2014/main" id="{739A018F-446B-C241-8ABA-56BE21D1A174}"/>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ktangel 8">
            <a:extLst>
              <a:ext uri="{FF2B5EF4-FFF2-40B4-BE49-F238E27FC236}">
                <a16:creationId xmlns:a16="http://schemas.microsoft.com/office/drawing/2014/main" id="{D857EEAE-5D56-214C-B466-54015AC35F80}"/>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B3D60CCC-F2DD-4247-911D-3D6E39D2B63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106523" y="3429000"/>
            <a:ext cx="6096000" cy="3429000"/>
          </a:xfrm>
          <a:prstGeom prst="rect">
            <a:avLst/>
          </a:prstGeom>
        </p:spPr>
      </p:pic>
      <p:sp>
        <p:nvSpPr>
          <p:cNvPr id="10" name="Text Placeholder 4">
            <a:extLst>
              <a:ext uri="{FF2B5EF4-FFF2-40B4-BE49-F238E27FC236}">
                <a16:creationId xmlns:a16="http://schemas.microsoft.com/office/drawing/2014/main" id="{CC8634A3-40E2-E941-BE06-B35A402E81A2}"/>
              </a:ext>
            </a:extLst>
          </p:cNvPr>
          <p:cNvSpPr>
            <a:spLocks noGrp="1"/>
          </p:cNvSpPr>
          <p:nvPr>
            <p:ph type="body" sz="quarter" idx="20"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11" name="Text Placeholder 4">
            <a:extLst>
              <a:ext uri="{FF2B5EF4-FFF2-40B4-BE49-F238E27FC236}">
                <a16:creationId xmlns:a16="http://schemas.microsoft.com/office/drawing/2014/main" id="{7FF54DF7-8C90-5048-91F4-ED1EB63FEBB9}"/>
              </a:ext>
            </a:extLst>
          </p:cNvPr>
          <p:cNvSpPr>
            <a:spLocks noGrp="1"/>
          </p:cNvSpPr>
          <p:nvPr>
            <p:ph type="body" sz="quarter" idx="21" hasCustomPrompt="1"/>
          </p:nvPr>
        </p:nvSpPr>
        <p:spPr>
          <a:xfrm rot="5400000">
            <a:off x="4818982"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36007994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heme" Target="../theme/theme1.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theme" Target="../theme/theme2.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9" Type="http://schemas.openxmlformats.org/officeDocument/2006/relationships/slideLayout" Target="../slideLayouts/slideLayout115.xml"/><Relationship Id="rId21" Type="http://schemas.openxmlformats.org/officeDocument/2006/relationships/slideLayout" Target="../slideLayouts/slideLayout97.xml"/><Relationship Id="rId34" Type="http://schemas.openxmlformats.org/officeDocument/2006/relationships/slideLayout" Target="../slideLayouts/slideLayout110.xml"/><Relationship Id="rId42" Type="http://schemas.openxmlformats.org/officeDocument/2006/relationships/slideLayout" Target="../slideLayouts/slideLayout118.xml"/><Relationship Id="rId47" Type="http://schemas.openxmlformats.org/officeDocument/2006/relationships/slideLayout" Target="../slideLayouts/slideLayout123.xml"/><Relationship Id="rId50" Type="http://schemas.openxmlformats.org/officeDocument/2006/relationships/slideLayout" Target="../slideLayouts/slideLayout126.xml"/><Relationship Id="rId7" Type="http://schemas.openxmlformats.org/officeDocument/2006/relationships/slideLayout" Target="../slideLayouts/slideLayout83.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9" Type="http://schemas.openxmlformats.org/officeDocument/2006/relationships/slideLayout" Target="../slideLayouts/slideLayout105.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32" Type="http://schemas.openxmlformats.org/officeDocument/2006/relationships/slideLayout" Target="../slideLayouts/slideLayout108.xml"/><Relationship Id="rId37" Type="http://schemas.openxmlformats.org/officeDocument/2006/relationships/slideLayout" Target="../slideLayouts/slideLayout113.xml"/><Relationship Id="rId40" Type="http://schemas.openxmlformats.org/officeDocument/2006/relationships/slideLayout" Target="../slideLayouts/slideLayout116.xml"/><Relationship Id="rId45" Type="http://schemas.openxmlformats.org/officeDocument/2006/relationships/slideLayout" Target="../slideLayouts/slideLayout121.xml"/><Relationship Id="rId53" Type="http://schemas.openxmlformats.org/officeDocument/2006/relationships/slideLayout" Target="../slideLayouts/slideLayout129.xml"/><Relationship Id="rId5" Type="http://schemas.openxmlformats.org/officeDocument/2006/relationships/slideLayout" Target="../slideLayouts/slideLayout81.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31" Type="http://schemas.openxmlformats.org/officeDocument/2006/relationships/slideLayout" Target="../slideLayouts/slideLayout107.xml"/><Relationship Id="rId44" Type="http://schemas.openxmlformats.org/officeDocument/2006/relationships/slideLayout" Target="../slideLayouts/slideLayout120.xml"/><Relationship Id="rId52" Type="http://schemas.openxmlformats.org/officeDocument/2006/relationships/slideLayout" Target="../slideLayouts/slideLayout128.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35" Type="http://schemas.openxmlformats.org/officeDocument/2006/relationships/slideLayout" Target="../slideLayouts/slideLayout111.xml"/><Relationship Id="rId43" Type="http://schemas.openxmlformats.org/officeDocument/2006/relationships/slideLayout" Target="../slideLayouts/slideLayout119.xml"/><Relationship Id="rId48" Type="http://schemas.openxmlformats.org/officeDocument/2006/relationships/slideLayout" Target="../slideLayouts/slideLayout124.xml"/><Relationship Id="rId8" Type="http://schemas.openxmlformats.org/officeDocument/2006/relationships/slideLayout" Target="../slideLayouts/slideLayout84.xml"/><Relationship Id="rId51" Type="http://schemas.openxmlformats.org/officeDocument/2006/relationships/slideLayout" Target="../slideLayouts/slideLayout127.xml"/><Relationship Id="rId3" Type="http://schemas.openxmlformats.org/officeDocument/2006/relationships/slideLayout" Target="../slideLayouts/slideLayout79.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slideLayout" Target="../slideLayouts/slideLayout109.xml"/><Relationship Id="rId38" Type="http://schemas.openxmlformats.org/officeDocument/2006/relationships/slideLayout" Target="../slideLayouts/slideLayout114.xml"/><Relationship Id="rId46" Type="http://schemas.openxmlformats.org/officeDocument/2006/relationships/slideLayout" Target="../slideLayouts/slideLayout122.xml"/><Relationship Id="rId20" Type="http://schemas.openxmlformats.org/officeDocument/2006/relationships/slideLayout" Target="../slideLayouts/slideLayout96.xml"/><Relationship Id="rId41" Type="http://schemas.openxmlformats.org/officeDocument/2006/relationships/slideLayout" Target="../slideLayouts/slideLayout117.xml"/><Relationship Id="rId54" Type="http://schemas.openxmlformats.org/officeDocument/2006/relationships/theme" Target="../theme/theme3.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36" Type="http://schemas.openxmlformats.org/officeDocument/2006/relationships/slideLayout" Target="../slideLayouts/slideLayout112.xml"/><Relationship Id="rId49" Type="http://schemas.openxmlformats.org/officeDocument/2006/relationships/slideLayout" Target="../slideLayouts/slideLayout1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B2822-A321-45B7-9957-B7E679D34C1E}"/>
              </a:ext>
            </a:extLst>
          </p:cNvPr>
          <p:cNvSpPr>
            <a:spLocks noGrp="1"/>
          </p:cNvSpPr>
          <p:nvPr>
            <p:ph type="title"/>
          </p:nvPr>
        </p:nvSpPr>
        <p:spPr>
          <a:xfrm>
            <a:off x="576000" y="730800"/>
            <a:ext cx="11021062" cy="576000"/>
          </a:xfrm>
          <a:prstGeom prst="rect">
            <a:avLst/>
          </a:prstGeom>
        </p:spPr>
        <p:txBody>
          <a:bodyPr vert="horz" lIns="0" tIns="0" rIns="0" bIns="0" rtlCol="0" anchor="t">
            <a:noAutofit/>
          </a:bodyPr>
          <a:lstStyle/>
          <a:p>
            <a:r>
              <a:rPr lang="nb-NO" noProof="0" dirty="0"/>
              <a:t>Klikk for å redigere </a:t>
            </a:r>
            <a:r>
              <a:rPr lang="nb-NO" noProof="0" dirty="0" err="1"/>
              <a:t>maltittellysbildet</a:t>
            </a:r>
            <a:endParaRPr lang="en-US" noProof="0" dirty="0"/>
          </a:p>
        </p:txBody>
      </p:sp>
      <p:sp>
        <p:nvSpPr>
          <p:cNvPr id="35" name="Text Placeholder 2">
            <a:extLst>
              <a:ext uri="{FF2B5EF4-FFF2-40B4-BE49-F238E27FC236}">
                <a16:creationId xmlns:a16="http://schemas.microsoft.com/office/drawing/2014/main" id="{B36444E1-9481-3246-8530-C77C48B222A1}"/>
              </a:ext>
            </a:extLst>
          </p:cNvPr>
          <p:cNvSpPr>
            <a:spLocks noGrp="1"/>
          </p:cNvSpPr>
          <p:nvPr>
            <p:ph type="body" idx="1"/>
          </p:nvPr>
        </p:nvSpPr>
        <p:spPr>
          <a:xfrm>
            <a:off x="576000" y="1825625"/>
            <a:ext cx="11028679" cy="4303713"/>
          </a:xfrm>
          <a:prstGeom prst="rect">
            <a:avLst/>
          </a:prstGeom>
        </p:spPr>
        <p:txBody>
          <a:bodyPr vert="horz" lIns="0" tIns="0" rIns="0" bIns="0" rtlCol="0">
            <a:noAutofit/>
          </a:body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en</a:t>
            </a:r>
            <a:r>
              <a:rPr lang="en-US" noProof="0" dirty="0"/>
              <a:t> </a:t>
            </a:r>
            <a:r>
              <a:rPr lang="en-US" noProof="0" dirty="0" err="1"/>
              <a:t>tittel</a:t>
            </a:r>
            <a:endParaRPr lang="en-US" noProof="0" dirty="0"/>
          </a:p>
          <a:p>
            <a:pPr lvl="1"/>
            <a:r>
              <a:rPr lang="en-US" noProof="0" dirty="0"/>
              <a:t>Andre </a:t>
            </a:r>
            <a:r>
              <a:rPr lang="en-US" noProof="0" dirty="0" err="1"/>
              <a:t>nivå</a:t>
            </a:r>
            <a:endParaRPr lang="en-US" noProof="0" dirty="0"/>
          </a:p>
          <a:p>
            <a:pPr lvl="2"/>
            <a:r>
              <a:rPr lang="en-US" noProof="0" dirty="0" err="1"/>
              <a:t>Tredje</a:t>
            </a:r>
            <a:r>
              <a:rPr lang="en-US" noProof="0" dirty="0"/>
              <a:t> </a:t>
            </a:r>
            <a:r>
              <a:rPr lang="en-US" noProof="0" dirty="0" err="1"/>
              <a:t>nivå</a:t>
            </a:r>
            <a:endParaRPr lang="en-US" noProof="0" dirty="0"/>
          </a:p>
          <a:p>
            <a:pPr lvl="3"/>
            <a:r>
              <a:rPr lang="en-US" noProof="0" dirty="0" err="1"/>
              <a:t>Fjerde</a:t>
            </a:r>
            <a:r>
              <a:rPr lang="en-US" noProof="0" dirty="0"/>
              <a:t> </a:t>
            </a:r>
            <a:r>
              <a:rPr lang="en-US" noProof="0" dirty="0" err="1"/>
              <a:t>nivå</a:t>
            </a:r>
            <a:endParaRPr lang="en-US" noProof="0" dirty="0"/>
          </a:p>
          <a:p>
            <a:pPr lvl="4"/>
            <a:r>
              <a:rPr lang="en-US" noProof="0" dirty="0" err="1"/>
              <a:t>Femte</a:t>
            </a:r>
            <a:r>
              <a:rPr lang="en-US" noProof="0" dirty="0"/>
              <a:t> </a:t>
            </a:r>
            <a:r>
              <a:rPr lang="en-US" noProof="0" dirty="0" err="1"/>
              <a:t>nivå</a:t>
            </a:r>
            <a:endParaRPr lang="en-US" noProof="0" dirty="0"/>
          </a:p>
        </p:txBody>
      </p:sp>
    </p:spTree>
    <p:extLst>
      <p:ext uri="{BB962C8B-B14F-4D97-AF65-F5344CB8AC3E}">
        <p14:creationId xmlns:p14="http://schemas.microsoft.com/office/powerpoint/2010/main" val="2733114217"/>
      </p:ext>
    </p:extLst>
  </p:cSld>
  <p:clrMap bg1="lt1" tx1="dk1" bg2="lt2" tx2="dk2" accent1="accent1" accent2="accent2" accent3="accent3" accent4="accent4" accent5="accent5" accent6="accent6" hlink="hlink" folHlink="folHlink"/>
  <p:sldLayoutIdLst>
    <p:sldLayoutId id="2147483650" r:id="rId1"/>
    <p:sldLayoutId id="2147483652" r:id="rId2"/>
    <p:sldLayoutId id="2147483717" r:id="rId3"/>
    <p:sldLayoutId id="2147483651" r:id="rId4"/>
    <p:sldLayoutId id="2147483653" r:id="rId5"/>
    <p:sldLayoutId id="2147483655" r:id="rId6"/>
    <p:sldLayoutId id="2147483718" r:id="rId7"/>
    <p:sldLayoutId id="2147483719" r:id="rId8"/>
    <p:sldLayoutId id="2147483658" r:id="rId9"/>
    <p:sldLayoutId id="2147483726" r:id="rId10"/>
    <p:sldLayoutId id="2147483659" r:id="rId11"/>
    <p:sldLayoutId id="2147483739" r:id="rId12"/>
    <p:sldLayoutId id="2147483740" r:id="rId13"/>
    <p:sldLayoutId id="2147483656" r:id="rId14"/>
    <p:sldLayoutId id="2147483657" r:id="rId15"/>
    <p:sldLayoutId id="2147483663" r:id="rId16"/>
    <p:sldLayoutId id="2147483730" r:id="rId17"/>
    <p:sldLayoutId id="2147483733" r:id="rId18"/>
    <p:sldLayoutId id="2147483686" r:id="rId19"/>
    <p:sldLayoutId id="2147483685" r:id="rId20"/>
    <p:sldLayoutId id="2147483668" r:id="rId21"/>
    <p:sldLayoutId id="2147483669" r:id="rId22"/>
    <p:sldLayoutId id="2147483670" r:id="rId23"/>
    <p:sldLayoutId id="2147483741" r:id="rId24"/>
    <p:sldLayoutId id="2147483671" r:id="rId25"/>
    <p:sldLayoutId id="2147483716" r:id="rId26"/>
    <p:sldLayoutId id="2147483722" r:id="rId27"/>
    <p:sldLayoutId id="2147483665" r:id="rId28"/>
    <p:sldLayoutId id="2147483751" r:id="rId29"/>
    <p:sldLayoutId id="2147483666" r:id="rId30"/>
    <p:sldLayoutId id="2147483664" r:id="rId31"/>
    <p:sldLayoutId id="2147483667" r:id="rId32"/>
    <p:sldLayoutId id="2147483755" r:id="rId33"/>
    <p:sldLayoutId id="2147483754" r:id="rId34"/>
    <p:sldLayoutId id="2147483753" r:id="rId35"/>
    <p:sldLayoutId id="2147483752" r:id="rId36"/>
    <p:sldLayoutId id="2147483734" r:id="rId37"/>
    <p:sldLayoutId id="2147483735" r:id="rId38"/>
    <p:sldLayoutId id="2147483737" r:id="rId39"/>
    <p:sldLayoutId id="2147483736" r:id="rId40"/>
    <p:sldLayoutId id="2147483738" r:id="rId41"/>
    <p:sldLayoutId id="2147483745" r:id="rId42"/>
    <p:sldLayoutId id="2147483746" r:id="rId43"/>
    <p:sldLayoutId id="2147483744" r:id="rId44"/>
    <p:sldLayoutId id="2147483681" r:id="rId45"/>
    <p:sldLayoutId id="2147483680" r:id="rId46"/>
    <p:sldLayoutId id="2147483747" r:id="rId47"/>
    <p:sldLayoutId id="2147483749" r:id="rId48"/>
    <p:sldLayoutId id="2147483684" r:id="rId49"/>
    <p:sldLayoutId id="2147483683" r:id="rId50"/>
    <p:sldLayoutId id="2147483743" r:id="rId51"/>
    <p:sldLayoutId id="2147483688" r:id="rId52"/>
    <p:sldLayoutId id="2147483687" r:id="rId53"/>
    <p:sldLayoutId id="2147483728" r:id="rId54"/>
    <p:sldLayoutId id="2147483727" r:id="rId55"/>
    <p:sldLayoutId id="2147483725" r:id="rId56"/>
    <p:sldLayoutId id="2147483756" r:id="rId57"/>
  </p:sldLayoutIdLst>
  <p:hf sldNum="0" hdr="0" ftr="0"/>
  <p:txStyles>
    <p:titleStyle>
      <a:lvl1pPr algn="l" defTabSz="914400" rtl="0" eaLnBrk="1" latinLnBrk="0" hangingPunct="1">
        <a:lnSpc>
          <a:spcPct val="85000"/>
        </a:lnSpc>
        <a:spcBef>
          <a:spcPct val="0"/>
        </a:spcBef>
        <a:buNone/>
        <a:defRPr sz="3600" kern="1200" spc="40" baseline="0">
          <a:solidFill>
            <a:schemeClr val="tx2"/>
          </a:solidFill>
          <a:latin typeface="+mj-lt"/>
          <a:ea typeface="+mj-ea"/>
          <a:cs typeface="+mj-cs"/>
        </a:defRPr>
      </a:lvl1pPr>
    </p:titleStyle>
    <p:bodyStyle>
      <a:lvl1pPr marL="180000" indent="-180000" algn="l" defTabSz="914400" rtl="0" eaLnBrk="1" latinLnBrk="0" hangingPunct="1">
        <a:lnSpc>
          <a:spcPct val="100000"/>
        </a:lnSpc>
        <a:spcBef>
          <a:spcPts val="1500"/>
        </a:spcBef>
        <a:spcAft>
          <a:spcPts val="300"/>
        </a:spcAft>
        <a:buFont typeface="Arial" panose="020B0604020202020204" pitchFamily="34" charset="0"/>
        <a:buChar char="•"/>
        <a:tabLst/>
        <a:defRPr sz="1800" kern="1200" spc="40" baseline="0">
          <a:solidFill>
            <a:schemeClr val="tx2"/>
          </a:solidFill>
          <a:latin typeface="+mn-lt"/>
          <a:ea typeface="+mn-ea"/>
          <a:cs typeface="+mn-cs"/>
        </a:defRPr>
      </a:lvl1pPr>
      <a:lvl2pPr marL="360000" indent="-180000" algn="l" defTabSz="914400" rtl="0" eaLnBrk="1" latinLnBrk="0" hangingPunct="1">
        <a:lnSpc>
          <a:spcPct val="100000"/>
        </a:lnSpc>
        <a:spcBef>
          <a:spcPts val="500"/>
        </a:spcBef>
        <a:spcAft>
          <a:spcPts val="0"/>
        </a:spcAft>
        <a:buFont typeface="System Font Regular"/>
        <a:buChar char="–"/>
        <a:tabLst/>
        <a:defRPr sz="1600" kern="1200" spc="40" baseline="0">
          <a:solidFill>
            <a:schemeClr val="tx2"/>
          </a:solidFill>
          <a:latin typeface="+mn-lt"/>
          <a:ea typeface="+mn-ea"/>
          <a:cs typeface="+mn-cs"/>
        </a:defRPr>
      </a:lvl2pPr>
      <a:lvl3pPr marL="540000" indent="-180000" algn="l" defTabSz="914400" rtl="0" eaLnBrk="1" latinLnBrk="0" hangingPunct="1">
        <a:lnSpc>
          <a:spcPct val="100000"/>
        </a:lnSpc>
        <a:spcBef>
          <a:spcPts val="500"/>
        </a:spcBef>
        <a:spcAft>
          <a:spcPts val="0"/>
        </a:spcAft>
        <a:buFont typeface="Arial" panose="020B0604020202020204" pitchFamily="34" charset="0"/>
        <a:buChar char="•"/>
        <a:tabLst/>
        <a:defRPr sz="1400" kern="1200" spc="40" baseline="0">
          <a:solidFill>
            <a:schemeClr val="tx2"/>
          </a:solidFill>
          <a:latin typeface="+mn-lt"/>
          <a:ea typeface="+mn-ea"/>
          <a:cs typeface="+mn-cs"/>
        </a:defRPr>
      </a:lvl3pPr>
      <a:lvl4pPr marL="720000" indent="-180000" algn="l" defTabSz="914400" rtl="0" eaLnBrk="1" latinLnBrk="0" hangingPunct="1">
        <a:lnSpc>
          <a:spcPct val="100000"/>
        </a:lnSpc>
        <a:spcBef>
          <a:spcPts val="500"/>
        </a:spcBef>
        <a:spcAft>
          <a:spcPts val="0"/>
        </a:spcAft>
        <a:buFont typeface="Arial" panose="020B0604020202020204" pitchFamily="34" charset="0"/>
        <a:buChar char="•"/>
        <a:tabLst/>
        <a:defRPr sz="1200" kern="1200" spc="40" baseline="0">
          <a:solidFill>
            <a:schemeClr val="tx2"/>
          </a:solidFill>
          <a:latin typeface="+mn-lt"/>
          <a:ea typeface="+mn-ea"/>
          <a:cs typeface="+mn-cs"/>
        </a:defRPr>
      </a:lvl4pPr>
      <a:lvl5pPr marL="900000" indent="-180000" algn="l" defTabSz="914400" rtl="0" eaLnBrk="1" latinLnBrk="0" hangingPunct="1">
        <a:lnSpc>
          <a:spcPct val="100000"/>
        </a:lnSpc>
        <a:spcBef>
          <a:spcPts val="500"/>
        </a:spcBef>
        <a:spcAft>
          <a:spcPts val="0"/>
        </a:spcAft>
        <a:buFont typeface="Arial" panose="020B0604020202020204" pitchFamily="34" charset="0"/>
        <a:buChar char="•"/>
        <a:tabLst/>
        <a:defRPr sz="1100" kern="1200" spc="4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BAE40"/>
          </p15:clr>
        </p15:guide>
        <p15:guide id="2" pos="3840" userDrawn="1">
          <p15:clr>
            <a:srgbClr val="FBAE40"/>
          </p15:clr>
        </p15:guide>
        <p15:guide id="3" pos="363" userDrawn="1">
          <p15:clr>
            <a:srgbClr val="000000"/>
          </p15:clr>
        </p15:guide>
        <p15:guide id="4" pos="7317" userDrawn="1">
          <p15:clr>
            <a:srgbClr val="000000"/>
          </p15:clr>
        </p15:guide>
        <p15:guide id="5" orient="horz" pos="454" userDrawn="1">
          <p15:clr>
            <a:srgbClr val="000000"/>
          </p15:clr>
        </p15:guide>
        <p15:guide id="6" pos="2739" userDrawn="1">
          <p15:clr>
            <a:srgbClr val="A4A3A4"/>
          </p15:clr>
        </p15:guide>
        <p15:guide id="7" pos="1553" userDrawn="1">
          <p15:clr>
            <a:srgbClr val="A4A3A4"/>
          </p15:clr>
        </p15:guide>
        <p15:guide id="9" pos="3750" userDrawn="1">
          <p15:clr>
            <a:srgbClr val="A4A3A4"/>
          </p15:clr>
        </p15:guide>
        <p15:guide id="10" pos="3930" userDrawn="1">
          <p15:clr>
            <a:srgbClr val="A4A3A4"/>
          </p15:clr>
        </p15:guide>
        <p15:guide id="11" pos="4932" userDrawn="1">
          <p15:clr>
            <a:srgbClr val="A4A3A4"/>
          </p15:clr>
        </p15:guide>
        <p15:guide id="12" pos="5120" userDrawn="1">
          <p15:clr>
            <a:srgbClr val="A4A3A4"/>
          </p15:clr>
        </p15:guide>
        <p15:guide id="13" pos="6123" userDrawn="1">
          <p15:clr>
            <a:srgbClr val="A4A3A4"/>
          </p15:clr>
        </p15:guide>
        <p15:guide id="15" orient="horz" pos="3861" userDrawn="1">
          <p15:clr>
            <a:srgbClr val="000000"/>
          </p15:clr>
        </p15:guide>
        <p15:guide id="17" pos="1370" userDrawn="1">
          <p15:clr>
            <a:srgbClr val="A4A3A4"/>
          </p15:clr>
        </p15:guide>
        <p15:guide id="18" orient="horz" pos="4122" userDrawn="1">
          <p15:clr>
            <a:srgbClr val="A4A3A4"/>
          </p15:clr>
        </p15:guide>
        <p15:guide id="19" orient="horz" pos="2092" userDrawn="1">
          <p15:clr>
            <a:srgbClr val="A4A3A4"/>
          </p15:clr>
        </p15:guide>
        <p15:guide id="20" orient="horz" pos="2228" userDrawn="1">
          <p15:clr>
            <a:srgbClr val="A4A3A4"/>
          </p15:clr>
        </p15:guide>
        <p15:guide id="21" pos="6306" userDrawn="1">
          <p15:clr>
            <a:srgbClr val="A4A3A4"/>
          </p15:clr>
        </p15:guide>
        <p15:guide id="22" pos="2556"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B2822-A321-45B7-9957-B7E679D34C1E}"/>
              </a:ext>
            </a:extLst>
          </p:cNvPr>
          <p:cNvSpPr>
            <a:spLocks noGrp="1"/>
          </p:cNvSpPr>
          <p:nvPr>
            <p:ph type="title"/>
          </p:nvPr>
        </p:nvSpPr>
        <p:spPr>
          <a:xfrm>
            <a:off x="576000" y="730800"/>
            <a:ext cx="11021062" cy="576000"/>
          </a:xfrm>
          <a:prstGeom prst="rect">
            <a:avLst/>
          </a:prstGeom>
        </p:spPr>
        <p:txBody>
          <a:bodyPr vert="horz" lIns="0" tIns="0" rIns="0" bIns="0" rtlCol="0" anchor="t">
            <a:noAutofit/>
          </a:bodyPr>
          <a:lstStyle/>
          <a:p>
            <a:r>
              <a:rPr lang="nb-NO" noProof="0" dirty="0"/>
              <a:t>Klikk for å redigere </a:t>
            </a:r>
            <a:r>
              <a:rPr lang="nb-NO" noProof="0" dirty="0" err="1"/>
              <a:t>maltittellysbildet</a:t>
            </a:r>
            <a:endParaRPr lang="en-US" noProof="0" dirty="0"/>
          </a:p>
        </p:txBody>
      </p:sp>
      <p:sp>
        <p:nvSpPr>
          <p:cNvPr id="35" name="Text Placeholder 2">
            <a:extLst>
              <a:ext uri="{FF2B5EF4-FFF2-40B4-BE49-F238E27FC236}">
                <a16:creationId xmlns:a16="http://schemas.microsoft.com/office/drawing/2014/main" id="{B36444E1-9481-3246-8530-C77C48B222A1}"/>
              </a:ext>
            </a:extLst>
          </p:cNvPr>
          <p:cNvSpPr>
            <a:spLocks noGrp="1"/>
          </p:cNvSpPr>
          <p:nvPr>
            <p:ph type="body" idx="1"/>
          </p:nvPr>
        </p:nvSpPr>
        <p:spPr>
          <a:xfrm>
            <a:off x="576000" y="1825625"/>
            <a:ext cx="11028679" cy="4303713"/>
          </a:xfrm>
          <a:prstGeom prst="rect">
            <a:avLst/>
          </a:prstGeom>
        </p:spPr>
        <p:txBody>
          <a:bodyPr vert="horz" lIns="0" tIns="0" rIns="0" bIns="0" rtlCol="0">
            <a:noAutofit/>
          </a:bodyPr>
          <a:lstStyle/>
          <a:p>
            <a:pPr lvl="0"/>
            <a:r>
              <a:rPr lang="en-US" noProof="0" dirty="0" err="1"/>
              <a:t>Klikk</a:t>
            </a:r>
            <a:r>
              <a:rPr lang="en-US" noProof="0" dirty="0"/>
              <a:t> for å </a:t>
            </a:r>
            <a:r>
              <a:rPr lang="en-US" noProof="0" dirty="0" err="1"/>
              <a:t>legge</a:t>
            </a:r>
            <a:r>
              <a:rPr lang="en-US" noProof="0" dirty="0"/>
              <a:t> </a:t>
            </a:r>
            <a:r>
              <a:rPr lang="en-US" noProof="0" dirty="0" err="1"/>
              <a:t>til</a:t>
            </a:r>
            <a:r>
              <a:rPr lang="en-US" noProof="0" dirty="0"/>
              <a:t> </a:t>
            </a:r>
            <a:r>
              <a:rPr lang="en-US" noProof="0" dirty="0" err="1"/>
              <a:t>brødtekst</a:t>
            </a:r>
            <a:endParaRPr lang="en-US" noProof="0" dirty="0"/>
          </a:p>
        </p:txBody>
      </p:sp>
    </p:spTree>
    <p:extLst>
      <p:ext uri="{BB962C8B-B14F-4D97-AF65-F5344CB8AC3E}">
        <p14:creationId xmlns:p14="http://schemas.microsoft.com/office/powerpoint/2010/main" val="1647070999"/>
      </p:ext>
    </p:extLst>
  </p:cSld>
  <p:clrMap bg1="dk1" tx1="lt1" bg2="dk2" tx2="lt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23" r:id="rId7"/>
    <p:sldLayoutId id="2147483708" r:id="rId8"/>
    <p:sldLayoutId id="2147483709" r:id="rId9"/>
    <p:sldLayoutId id="2147483710" r:id="rId10"/>
    <p:sldLayoutId id="2147483711" r:id="rId11"/>
    <p:sldLayoutId id="2147483712" r:id="rId12"/>
    <p:sldLayoutId id="2147483732" r:id="rId13"/>
    <p:sldLayoutId id="2147483713" r:id="rId14"/>
    <p:sldLayoutId id="2147483731" r:id="rId15"/>
    <p:sldLayoutId id="2147483721" r:id="rId16"/>
    <p:sldLayoutId id="2147483714" r:id="rId17"/>
    <p:sldLayoutId id="2147483715" r:id="rId18"/>
    <p:sldLayoutId id="2147483724" r:id="rId19"/>
  </p:sldLayoutIdLst>
  <p:hf sldNum="0" hdr="0" ftr="0"/>
  <p:txStyles>
    <p:titleStyle>
      <a:lvl1pPr algn="l" defTabSz="914400" rtl="0" eaLnBrk="1" latinLnBrk="0" hangingPunct="1">
        <a:lnSpc>
          <a:spcPct val="85000"/>
        </a:lnSpc>
        <a:spcBef>
          <a:spcPct val="0"/>
        </a:spcBef>
        <a:buNone/>
        <a:defRPr sz="3600" kern="1200" spc="40" baseline="0">
          <a:solidFill>
            <a:schemeClr val="bg2"/>
          </a:solidFill>
          <a:latin typeface="+mj-lt"/>
          <a:ea typeface="+mj-ea"/>
          <a:cs typeface="+mj-cs"/>
        </a:defRPr>
      </a:lvl1pPr>
    </p:titleStyle>
    <p:bodyStyle>
      <a:lvl1pPr marL="180000" indent="-180000" algn="l" defTabSz="914400" rtl="0" eaLnBrk="1" latinLnBrk="0" hangingPunct="1">
        <a:lnSpc>
          <a:spcPct val="100000"/>
        </a:lnSpc>
        <a:spcBef>
          <a:spcPts val="1500"/>
        </a:spcBef>
        <a:spcAft>
          <a:spcPts val="300"/>
        </a:spcAft>
        <a:buFont typeface="Arial" panose="020B0604020202020204" pitchFamily="34" charset="0"/>
        <a:buChar char="•"/>
        <a:tabLst/>
        <a:defRPr sz="1600" kern="1200" spc="40" baseline="0">
          <a:solidFill>
            <a:schemeClr val="bg2"/>
          </a:solidFill>
          <a:latin typeface="+mn-lt"/>
          <a:ea typeface="+mn-ea"/>
          <a:cs typeface="+mn-cs"/>
        </a:defRPr>
      </a:lvl1pPr>
      <a:lvl2pPr marL="360000" indent="-180000" algn="l" defTabSz="914400" rtl="0" eaLnBrk="1" latinLnBrk="0" hangingPunct="1">
        <a:lnSpc>
          <a:spcPct val="100000"/>
        </a:lnSpc>
        <a:spcBef>
          <a:spcPts val="500"/>
        </a:spcBef>
        <a:buFont typeface="System Font Regular"/>
        <a:buChar char="–"/>
        <a:tabLst/>
        <a:defRPr sz="1400" kern="1200" spc="40" baseline="0">
          <a:solidFill>
            <a:schemeClr val="bg2"/>
          </a:solidFill>
          <a:latin typeface="+mn-lt"/>
          <a:ea typeface="+mn-ea"/>
          <a:cs typeface="+mn-cs"/>
        </a:defRPr>
      </a:lvl2pPr>
      <a:lvl3pPr marL="540000" indent="-180000" algn="l" defTabSz="914400" rtl="0" eaLnBrk="1" latinLnBrk="0" hangingPunct="1">
        <a:lnSpc>
          <a:spcPct val="100000"/>
        </a:lnSpc>
        <a:spcBef>
          <a:spcPts val="500"/>
        </a:spcBef>
        <a:buFont typeface="Arial" panose="020B0604020202020204" pitchFamily="34" charset="0"/>
        <a:buChar char="•"/>
        <a:tabLst/>
        <a:defRPr sz="1200" kern="1200" spc="40" baseline="0">
          <a:solidFill>
            <a:schemeClr val="bg2"/>
          </a:solidFill>
          <a:latin typeface="+mn-lt"/>
          <a:ea typeface="+mn-ea"/>
          <a:cs typeface="+mn-cs"/>
        </a:defRPr>
      </a:lvl3pPr>
      <a:lvl4pPr marL="720000" indent="-180000" algn="l" defTabSz="914400" rtl="0" eaLnBrk="1" latinLnBrk="0" hangingPunct="1">
        <a:lnSpc>
          <a:spcPct val="100000"/>
        </a:lnSpc>
        <a:spcBef>
          <a:spcPts val="500"/>
        </a:spcBef>
        <a:buFont typeface="Arial" panose="020B0604020202020204" pitchFamily="34" charset="0"/>
        <a:buChar char="•"/>
        <a:tabLst/>
        <a:defRPr sz="1200" kern="1200" spc="40" baseline="0">
          <a:solidFill>
            <a:schemeClr val="bg2"/>
          </a:solidFill>
          <a:latin typeface="+mn-lt"/>
          <a:ea typeface="+mn-ea"/>
          <a:cs typeface="+mn-cs"/>
        </a:defRPr>
      </a:lvl4pPr>
      <a:lvl5pPr marL="900000" indent="-180000" algn="l" defTabSz="914400" rtl="0" eaLnBrk="1" latinLnBrk="0" hangingPunct="1">
        <a:lnSpc>
          <a:spcPct val="100000"/>
        </a:lnSpc>
        <a:spcBef>
          <a:spcPts val="500"/>
        </a:spcBef>
        <a:buFont typeface="Arial" panose="020B0604020202020204" pitchFamily="34" charset="0"/>
        <a:buChar char="•"/>
        <a:tabLst/>
        <a:defRPr sz="1100" kern="1200" spc="40" baseline="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BAE40"/>
          </p15:clr>
        </p15:guide>
        <p15:guide id="2" pos="3840">
          <p15:clr>
            <a:srgbClr val="FBAE40"/>
          </p15:clr>
        </p15:guide>
        <p15:guide id="3" pos="363">
          <p15:clr>
            <a:srgbClr val="000000"/>
          </p15:clr>
        </p15:guide>
        <p15:guide id="4" pos="7317">
          <p15:clr>
            <a:srgbClr val="000000"/>
          </p15:clr>
        </p15:guide>
        <p15:guide id="5" orient="horz" pos="454">
          <p15:clr>
            <a:srgbClr val="000000"/>
          </p15:clr>
        </p15:guide>
        <p15:guide id="6" pos="2739">
          <p15:clr>
            <a:srgbClr val="A4A3A4"/>
          </p15:clr>
        </p15:guide>
        <p15:guide id="7" pos="1553">
          <p15:clr>
            <a:srgbClr val="A4A3A4"/>
          </p15:clr>
        </p15:guide>
        <p15:guide id="9" pos="3750">
          <p15:clr>
            <a:srgbClr val="A4A3A4"/>
          </p15:clr>
        </p15:guide>
        <p15:guide id="10" pos="3930">
          <p15:clr>
            <a:srgbClr val="A4A3A4"/>
          </p15:clr>
        </p15:guide>
        <p15:guide id="11" pos="4932">
          <p15:clr>
            <a:srgbClr val="A4A3A4"/>
          </p15:clr>
        </p15:guide>
        <p15:guide id="12" pos="5120">
          <p15:clr>
            <a:srgbClr val="A4A3A4"/>
          </p15:clr>
        </p15:guide>
        <p15:guide id="13" pos="6123">
          <p15:clr>
            <a:srgbClr val="A4A3A4"/>
          </p15:clr>
        </p15:guide>
        <p15:guide id="15" orient="horz" pos="3861">
          <p15:clr>
            <a:srgbClr val="000000"/>
          </p15:clr>
        </p15:guide>
        <p15:guide id="17" pos="1370">
          <p15:clr>
            <a:srgbClr val="A4A3A4"/>
          </p15:clr>
        </p15:guide>
        <p15:guide id="18" orient="horz" pos="4120" userDrawn="1">
          <p15:clr>
            <a:srgbClr val="A4A3A4"/>
          </p15:clr>
        </p15:guide>
        <p15:guide id="19" orient="horz" pos="2092">
          <p15:clr>
            <a:srgbClr val="A4A3A4"/>
          </p15:clr>
        </p15:guide>
        <p15:guide id="20" orient="horz" pos="2228">
          <p15:clr>
            <a:srgbClr val="A4A3A4"/>
          </p15:clr>
        </p15:guide>
        <p15:guide id="21" pos="6306">
          <p15:clr>
            <a:srgbClr val="A4A3A4"/>
          </p15:clr>
        </p15:guide>
        <p15:guide id="22" pos="2556">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825B2822-A321-45B7-9957-B7E679D34C1E}"/>
              </a:ext>
            </a:extLst>
          </p:cNvPr>
          <p:cNvSpPr>
            <a:spLocks noGrp="1"/>
          </p:cNvSpPr>
          <p:nvPr>
            <p:ph type="title"/>
          </p:nvPr>
        </p:nvSpPr>
        <p:spPr>
          <a:xfrm>
            <a:off x="576000" y="723600"/>
            <a:ext cx="11021062" cy="576000"/>
          </a:xfrm>
          <a:prstGeom prst="rect">
            <a:avLst/>
          </a:prstGeom>
        </p:spPr>
        <p:txBody>
          <a:bodyPr vert="horz" lIns="0" tIns="0" rIns="0" bIns="0" rtlCol="0" anchor="ctr">
            <a:noAutofit/>
          </a:bodyPr>
          <a:lstStyle/>
          <a:p>
            <a:r>
              <a:rPr lang="en-US" noProof="0"/>
              <a:t>Click to edit Master title slide</a:t>
            </a:r>
          </a:p>
        </p:txBody>
      </p:sp>
      <p:grpSp>
        <p:nvGrpSpPr>
          <p:cNvPr id="34" name="Grid" hidden="1">
            <a:extLst>
              <a:ext uri="{FF2B5EF4-FFF2-40B4-BE49-F238E27FC236}">
                <a16:creationId xmlns:a16="http://schemas.microsoft.com/office/drawing/2014/main" id="{8B59028C-0DAB-C346-BDE4-CCBFEC3EE037}"/>
              </a:ext>
            </a:extLst>
          </p:cNvPr>
          <p:cNvGrpSpPr/>
          <p:nvPr userDrawn="1"/>
        </p:nvGrpSpPr>
        <p:grpSpPr>
          <a:xfrm>
            <a:off x="-1" y="-8036"/>
            <a:ext cx="12192001" cy="6866036"/>
            <a:chOff x="-1" y="-8036"/>
            <a:chExt cx="12192001" cy="6866036"/>
          </a:xfrm>
        </p:grpSpPr>
        <p:cxnSp>
          <p:nvCxnSpPr>
            <p:cNvPr id="7" name="Rak 5">
              <a:extLst>
                <a:ext uri="{FF2B5EF4-FFF2-40B4-BE49-F238E27FC236}">
                  <a16:creationId xmlns:a16="http://schemas.microsoft.com/office/drawing/2014/main" id="{1EFE181E-871B-AD44-8AAE-DFD0DE08A355}"/>
                </a:ext>
              </a:extLst>
            </p:cNvPr>
            <p:cNvCxnSpPr/>
            <p:nvPr userDrawn="1"/>
          </p:nvCxnSpPr>
          <p:spPr>
            <a:xfrm>
              <a:off x="57467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Rak 6">
              <a:extLst>
                <a:ext uri="{FF2B5EF4-FFF2-40B4-BE49-F238E27FC236}">
                  <a16:creationId xmlns:a16="http://schemas.microsoft.com/office/drawing/2014/main" id="{9D5972F3-574F-DC4A-BCF8-2DA1913F0186}"/>
                </a:ext>
              </a:extLst>
            </p:cNvPr>
            <p:cNvCxnSpPr/>
            <p:nvPr userDrawn="1"/>
          </p:nvCxnSpPr>
          <p:spPr>
            <a:xfrm>
              <a:off x="216852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Rak 7">
              <a:extLst>
                <a:ext uri="{FF2B5EF4-FFF2-40B4-BE49-F238E27FC236}">
                  <a16:creationId xmlns:a16="http://schemas.microsoft.com/office/drawing/2014/main" id="{3D14882A-7F22-A449-A1E4-7EDAE587983B}"/>
                </a:ext>
              </a:extLst>
            </p:cNvPr>
            <p:cNvCxnSpPr/>
            <p:nvPr userDrawn="1"/>
          </p:nvCxnSpPr>
          <p:spPr>
            <a:xfrm>
              <a:off x="246443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Rak 8">
              <a:extLst>
                <a:ext uri="{FF2B5EF4-FFF2-40B4-BE49-F238E27FC236}">
                  <a16:creationId xmlns:a16="http://schemas.microsoft.com/office/drawing/2014/main" id="{BA03D361-78D9-0948-8E3E-E8FE9D3CCCC2}"/>
                </a:ext>
              </a:extLst>
            </p:cNvPr>
            <p:cNvCxnSpPr/>
            <p:nvPr userDrawn="1"/>
          </p:nvCxnSpPr>
          <p:spPr>
            <a:xfrm>
              <a:off x="405955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Rak 9">
              <a:extLst>
                <a:ext uri="{FF2B5EF4-FFF2-40B4-BE49-F238E27FC236}">
                  <a16:creationId xmlns:a16="http://schemas.microsoft.com/office/drawing/2014/main" id="{2CB47529-BFFA-F74E-B22E-BCAF91672C8B}"/>
                </a:ext>
              </a:extLst>
            </p:cNvPr>
            <p:cNvCxnSpPr/>
            <p:nvPr userDrawn="1"/>
          </p:nvCxnSpPr>
          <p:spPr>
            <a:xfrm>
              <a:off x="434403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Rak 10">
              <a:extLst>
                <a:ext uri="{FF2B5EF4-FFF2-40B4-BE49-F238E27FC236}">
                  <a16:creationId xmlns:a16="http://schemas.microsoft.com/office/drawing/2014/main" id="{63C34ABE-C959-624C-A3DB-9708278B37BB}"/>
                </a:ext>
              </a:extLst>
            </p:cNvPr>
            <p:cNvCxnSpPr/>
            <p:nvPr userDrawn="1"/>
          </p:nvCxnSpPr>
          <p:spPr>
            <a:xfrm>
              <a:off x="594931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Rak 11">
              <a:extLst>
                <a:ext uri="{FF2B5EF4-FFF2-40B4-BE49-F238E27FC236}">
                  <a16:creationId xmlns:a16="http://schemas.microsoft.com/office/drawing/2014/main" id="{E769680E-F889-8D4E-AC68-94BE9052D33E}"/>
                </a:ext>
              </a:extLst>
            </p:cNvPr>
            <p:cNvCxnSpPr/>
            <p:nvPr userDrawn="1"/>
          </p:nvCxnSpPr>
          <p:spPr>
            <a:xfrm>
              <a:off x="623379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Rak 12">
              <a:extLst>
                <a:ext uri="{FF2B5EF4-FFF2-40B4-BE49-F238E27FC236}">
                  <a16:creationId xmlns:a16="http://schemas.microsoft.com/office/drawing/2014/main" id="{EDD4A6A7-499C-5A4A-840D-AF0BB5CEE2C0}"/>
                </a:ext>
              </a:extLst>
            </p:cNvPr>
            <p:cNvCxnSpPr/>
            <p:nvPr userDrawn="1"/>
          </p:nvCxnSpPr>
          <p:spPr>
            <a:xfrm>
              <a:off x="783907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Rak 13">
              <a:extLst>
                <a:ext uri="{FF2B5EF4-FFF2-40B4-BE49-F238E27FC236}">
                  <a16:creationId xmlns:a16="http://schemas.microsoft.com/office/drawing/2014/main" id="{FA59B691-FE8F-6E40-A047-331F4B6F58EC}"/>
                </a:ext>
              </a:extLst>
            </p:cNvPr>
            <p:cNvCxnSpPr/>
            <p:nvPr userDrawn="1"/>
          </p:nvCxnSpPr>
          <p:spPr>
            <a:xfrm>
              <a:off x="812355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Rak 14">
              <a:extLst>
                <a:ext uri="{FF2B5EF4-FFF2-40B4-BE49-F238E27FC236}">
                  <a16:creationId xmlns:a16="http://schemas.microsoft.com/office/drawing/2014/main" id="{9FD80A21-7531-914A-AF87-16C5ECA9E2FD}"/>
                </a:ext>
              </a:extLst>
            </p:cNvPr>
            <p:cNvCxnSpPr/>
            <p:nvPr userDrawn="1"/>
          </p:nvCxnSpPr>
          <p:spPr>
            <a:xfrm>
              <a:off x="972883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Rak 15">
              <a:extLst>
                <a:ext uri="{FF2B5EF4-FFF2-40B4-BE49-F238E27FC236}">
                  <a16:creationId xmlns:a16="http://schemas.microsoft.com/office/drawing/2014/main" id="{1571C2E8-E1D1-F04A-8325-BC47DE02B6E1}"/>
                </a:ext>
              </a:extLst>
            </p:cNvPr>
            <p:cNvCxnSpPr/>
            <p:nvPr userDrawn="1"/>
          </p:nvCxnSpPr>
          <p:spPr>
            <a:xfrm>
              <a:off x="1001331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Rak 16">
              <a:extLst>
                <a:ext uri="{FF2B5EF4-FFF2-40B4-BE49-F238E27FC236}">
                  <a16:creationId xmlns:a16="http://schemas.microsoft.com/office/drawing/2014/main" id="{EE96282C-29E0-324D-A57B-8DA5899B130F}"/>
                </a:ext>
              </a:extLst>
            </p:cNvPr>
            <p:cNvCxnSpPr/>
            <p:nvPr userDrawn="1"/>
          </p:nvCxnSpPr>
          <p:spPr>
            <a:xfrm>
              <a:off x="1160843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Rak 18">
              <a:extLst>
                <a:ext uri="{FF2B5EF4-FFF2-40B4-BE49-F238E27FC236}">
                  <a16:creationId xmlns:a16="http://schemas.microsoft.com/office/drawing/2014/main" id="{536C4DC2-C1BD-BF40-822F-968A882DC849}"/>
                </a:ext>
              </a:extLst>
            </p:cNvPr>
            <p:cNvCxnSpPr/>
            <p:nvPr userDrawn="1"/>
          </p:nvCxnSpPr>
          <p:spPr>
            <a:xfrm>
              <a:off x="0" y="34290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Rak 19">
              <a:extLst>
                <a:ext uri="{FF2B5EF4-FFF2-40B4-BE49-F238E27FC236}">
                  <a16:creationId xmlns:a16="http://schemas.microsoft.com/office/drawing/2014/main" id="{1C19E2E0-0F88-D940-B79A-4F48A4E16DBF}"/>
                </a:ext>
              </a:extLst>
            </p:cNvPr>
            <p:cNvCxnSpPr/>
            <p:nvPr userDrawn="1"/>
          </p:nvCxnSpPr>
          <p:spPr>
            <a:xfrm>
              <a:off x="0" y="71628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Rak 20">
              <a:extLst>
                <a:ext uri="{FF2B5EF4-FFF2-40B4-BE49-F238E27FC236}">
                  <a16:creationId xmlns:a16="http://schemas.microsoft.com/office/drawing/2014/main" id="{DF47D7D8-1177-5440-9D30-384D0310254F}"/>
                </a:ext>
              </a:extLst>
            </p:cNvPr>
            <p:cNvCxnSpPr/>
            <p:nvPr userDrawn="1"/>
          </p:nvCxnSpPr>
          <p:spPr>
            <a:xfrm>
              <a:off x="0" y="613156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Grupp 36">
              <a:extLst>
                <a:ext uri="{FF2B5EF4-FFF2-40B4-BE49-F238E27FC236}">
                  <a16:creationId xmlns:a16="http://schemas.microsoft.com/office/drawing/2014/main" id="{4073CAF2-D231-AA4E-B64C-4F29C3524743}"/>
                </a:ext>
              </a:extLst>
            </p:cNvPr>
            <p:cNvGrpSpPr/>
            <p:nvPr userDrawn="1"/>
          </p:nvGrpSpPr>
          <p:grpSpPr>
            <a:xfrm>
              <a:off x="-1" y="-8036"/>
              <a:ext cx="2513041" cy="1609752"/>
              <a:chOff x="-1" y="-8036"/>
              <a:chExt cx="2513041" cy="1609752"/>
            </a:xfrm>
          </p:grpSpPr>
          <p:sp>
            <p:nvSpPr>
              <p:cNvPr id="23" name="textruta 27">
                <a:extLst>
                  <a:ext uri="{FF2B5EF4-FFF2-40B4-BE49-F238E27FC236}">
                    <a16:creationId xmlns:a16="http://schemas.microsoft.com/office/drawing/2014/main" id="{408EBDF5-7E15-7E46-9D84-3C9DAC73CFEA}"/>
                  </a:ext>
                </a:extLst>
              </p:cNvPr>
              <p:cNvSpPr txBox="1"/>
              <p:nvPr/>
            </p:nvSpPr>
            <p:spPr>
              <a:xfrm>
                <a:off x="2128926" y="257555"/>
                <a:ext cx="38411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a:ea typeface="+mn-ea"/>
                    <a:cs typeface="+mn-cs"/>
                  </a:rPr>
                  <a:t>8 mm</a:t>
                </a:r>
              </a:p>
            </p:txBody>
          </p:sp>
          <p:sp>
            <p:nvSpPr>
              <p:cNvPr id="24" name="textruta 28">
                <a:extLst>
                  <a:ext uri="{FF2B5EF4-FFF2-40B4-BE49-F238E27FC236}">
                    <a16:creationId xmlns:a16="http://schemas.microsoft.com/office/drawing/2014/main" id="{59DAB34A-4CCD-084F-8415-4B0E6D9C875C}"/>
                  </a:ext>
                </a:extLst>
              </p:cNvPr>
              <p:cNvSpPr txBox="1"/>
              <p:nvPr/>
            </p:nvSpPr>
            <p:spPr>
              <a:xfrm>
                <a:off x="583563" y="259993"/>
                <a:ext cx="47049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a:ea typeface="+mn-ea"/>
                    <a:cs typeface="+mn-cs"/>
                  </a:rPr>
                  <a:t>20 mm</a:t>
                </a:r>
              </a:p>
            </p:txBody>
          </p:sp>
          <p:sp>
            <p:nvSpPr>
              <p:cNvPr id="25" name="textruta 29">
                <a:extLst>
                  <a:ext uri="{FF2B5EF4-FFF2-40B4-BE49-F238E27FC236}">
                    <a16:creationId xmlns:a16="http://schemas.microsoft.com/office/drawing/2014/main" id="{B0319B5D-5C11-CC4E-A42F-45B4A1495C3A}"/>
                  </a:ext>
                </a:extLst>
              </p:cNvPr>
              <p:cNvSpPr txBox="1"/>
              <p:nvPr/>
            </p:nvSpPr>
            <p:spPr>
              <a:xfrm>
                <a:off x="-1" y="1313356"/>
                <a:ext cx="5746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a:ea typeface="+mn-ea"/>
                    <a:cs typeface="+mn-cs"/>
                  </a:rPr>
                  <a:t>16 mm</a:t>
                </a:r>
              </a:p>
            </p:txBody>
          </p:sp>
          <p:cxnSp>
            <p:nvCxnSpPr>
              <p:cNvPr id="26" name="Rak 30">
                <a:extLst>
                  <a:ext uri="{FF2B5EF4-FFF2-40B4-BE49-F238E27FC236}">
                    <a16:creationId xmlns:a16="http://schemas.microsoft.com/office/drawing/2014/main" id="{7254C707-F54B-3341-9421-3BCE67F2FDE4}"/>
                  </a:ext>
                </a:extLst>
              </p:cNvPr>
              <p:cNvCxnSpPr/>
              <p:nvPr/>
            </p:nvCxnSpPr>
            <p:spPr>
              <a:xfrm>
                <a:off x="1217245" y="-8036"/>
                <a:ext cx="0" cy="7207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Rak 31">
                <a:extLst>
                  <a:ext uri="{FF2B5EF4-FFF2-40B4-BE49-F238E27FC236}">
                    <a16:creationId xmlns:a16="http://schemas.microsoft.com/office/drawing/2014/main" id="{5CFF8254-561E-4946-85FF-5C226AFFC785}"/>
                  </a:ext>
                </a:extLst>
              </p:cNvPr>
              <p:cNvCxnSpPr>
                <a:cxnSpLocks/>
              </p:cNvCxnSpPr>
              <p:nvPr/>
            </p:nvCxnSpPr>
            <p:spPr>
              <a:xfrm>
                <a:off x="1128180" y="348224"/>
                <a:ext cx="8906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Rak 32">
                <a:extLst>
                  <a:ext uri="{FF2B5EF4-FFF2-40B4-BE49-F238E27FC236}">
                    <a16:creationId xmlns:a16="http://schemas.microsoft.com/office/drawing/2014/main" id="{0699D758-408B-E845-8449-FDF2F4CFE99E}"/>
                  </a:ext>
                </a:extLst>
              </p:cNvPr>
              <p:cNvCxnSpPr>
                <a:cxnSpLocks/>
              </p:cNvCxnSpPr>
              <p:nvPr/>
            </p:nvCxnSpPr>
            <p:spPr>
              <a:xfrm flipH="1">
                <a:off x="1" y="1601715"/>
                <a:ext cx="574675" cy="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Rak 33">
                <a:extLst>
                  <a:ext uri="{FF2B5EF4-FFF2-40B4-BE49-F238E27FC236}">
                    <a16:creationId xmlns:a16="http://schemas.microsoft.com/office/drawing/2014/main" id="{D2C3CFE2-C214-F544-8C2B-B78316799C23}"/>
                  </a:ext>
                </a:extLst>
              </p:cNvPr>
              <p:cNvCxnSpPr>
                <a:cxnSpLocks/>
              </p:cNvCxnSpPr>
              <p:nvPr/>
            </p:nvCxnSpPr>
            <p:spPr>
              <a:xfrm rot="5400000">
                <a:off x="242806" y="1557183"/>
                <a:ext cx="8906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Rak 34">
                <a:extLst>
                  <a:ext uri="{FF2B5EF4-FFF2-40B4-BE49-F238E27FC236}">
                    <a16:creationId xmlns:a16="http://schemas.microsoft.com/office/drawing/2014/main" id="{66360723-ED83-5E43-99F0-C30D4860EB97}"/>
                  </a:ext>
                </a:extLst>
              </p:cNvPr>
              <p:cNvCxnSpPr>
                <a:cxnSpLocks/>
              </p:cNvCxnSpPr>
              <p:nvPr/>
            </p:nvCxnSpPr>
            <p:spPr>
              <a:xfrm flipH="1">
                <a:off x="2173859" y="545915"/>
                <a:ext cx="28994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Rak 35">
                <a:extLst>
                  <a:ext uri="{FF2B5EF4-FFF2-40B4-BE49-F238E27FC236}">
                    <a16:creationId xmlns:a16="http://schemas.microsoft.com/office/drawing/2014/main" id="{BBBC5458-E333-CF4F-B0CB-264B70DE25C4}"/>
                  </a:ext>
                </a:extLst>
              </p:cNvPr>
              <p:cNvCxnSpPr>
                <a:cxnSpLocks/>
              </p:cNvCxnSpPr>
              <p:nvPr/>
            </p:nvCxnSpPr>
            <p:spPr>
              <a:xfrm rot="5400000">
                <a:off x="2274297" y="501382"/>
                <a:ext cx="8906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5" name="Text Placeholder 2">
            <a:extLst>
              <a:ext uri="{FF2B5EF4-FFF2-40B4-BE49-F238E27FC236}">
                <a16:creationId xmlns:a16="http://schemas.microsoft.com/office/drawing/2014/main" id="{B36444E1-9481-3246-8530-C77C48B222A1}"/>
              </a:ext>
            </a:extLst>
          </p:cNvPr>
          <p:cNvSpPr>
            <a:spLocks noGrp="1"/>
          </p:cNvSpPr>
          <p:nvPr>
            <p:ph type="body" idx="1"/>
          </p:nvPr>
        </p:nvSpPr>
        <p:spPr>
          <a:xfrm>
            <a:off x="576000" y="1825625"/>
            <a:ext cx="11028679" cy="4303713"/>
          </a:xfrm>
          <a:prstGeom prst="rect">
            <a:avLst/>
          </a:prstGeom>
        </p:spPr>
        <p:txBody>
          <a:bodyPr vert="horz" lIns="0" tIns="0" rIns="0" bIns="0" rtlCol="0">
            <a:noAutofit/>
          </a:body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en-US" noProof="0"/>
          </a:p>
        </p:txBody>
      </p:sp>
      <p:sp>
        <p:nvSpPr>
          <p:cNvPr id="33" name="Platshållare för datum 3">
            <a:extLst>
              <a:ext uri="{FF2B5EF4-FFF2-40B4-BE49-F238E27FC236}">
                <a16:creationId xmlns:a16="http://schemas.microsoft.com/office/drawing/2014/main" id="{C6A775F4-EF67-3D43-BE5D-3F7DA56F3FA1}"/>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0BFABF97-643D-4B49-A48F-8CEAF6D7CD00}" type="datetime1">
              <a:rPr lang="en-US" noProof="0" smtClean="0"/>
              <a:t>11/7/2025</a:t>
            </a:fld>
            <a:endParaRPr lang="en-US" noProof="0"/>
          </a:p>
        </p:txBody>
      </p:sp>
      <p:sp>
        <p:nvSpPr>
          <p:cNvPr id="36" name="Platshållare för sidfot 4">
            <a:extLst>
              <a:ext uri="{FF2B5EF4-FFF2-40B4-BE49-F238E27FC236}">
                <a16:creationId xmlns:a16="http://schemas.microsoft.com/office/drawing/2014/main" id="{DB93A96B-59FE-6D4B-856F-0028CF27BD8E}"/>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nb-NO" noProof="0"/>
              <a:t>Skanska Norge Hovedpresentasjon - desember 2022</a:t>
            </a:r>
            <a:endParaRPr lang="en-US" noProof="0"/>
          </a:p>
        </p:txBody>
      </p:sp>
      <p:sp>
        <p:nvSpPr>
          <p:cNvPr id="37" name="Platshållare för bildnummer 5">
            <a:extLst>
              <a:ext uri="{FF2B5EF4-FFF2-40B4-BE49-F238E27FC236}">
                <a16:creationId xmlns:a16="http://schemas.microsoft.com/office/drawing/2014/main" id="{18F7DC29-539A-474B-8BEC-B86F9CFC1AEC}"/>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61206476"/>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 id="2147483826" r:id="rId21"/>
    <p:sldLayoutId id="2147483827" r:id="rId22"/>
    <p:sldLayoutId id="2147483828" r:id="rId23"/>
    <p:sldLayoutId id="2147483829" r:id="rId24"/>
    <p:sldLayoutId id="2147483830" r:id="rId25"/>
    <p:sldLayoutId id="2147483831" r:id="rId26"/>
    <p:sldLayoutId id="2147483832" r:id="rId27"/>
    <p:sldLayoutId id="2147483833" r:id="rId28"/>
    <p:sldLayoutId id="2147483834" r:id="rId29"/>
    <p:sldLayoutId id="2147483835" r:id="rId30"/>
    <p:sldLayoutId id="2147483836" r:id="rId31"/>
    <p:sldLayoutId id="2147483837" r:id="rId32"/>
    <p:sldLayoutId id="2147483838" r:id="rId33"/>
    <p:sldLayoutId id="2147483839" r:id="rId34"/>
    <p:sldLayoutId id="2147483840" r:id="rId35"/>
    <p:sldLayoutId id="2147483841" r:id="rId36"/>
    <p:sldLayoutId id="2147483842" r:id="rId37"/>
    <p:sldLayoutId id="2147483843" r:id="rId38"/>
    <p:sldLayoutId id="2147483844" r:id="rId39"/>
    <p:sldLayoutId id="2147483845" r:id="rId40"/>
    <p:sldLayoutId id="2147483846" r:id="rId41"/>
    <p:sldLayoutId id="2147483847" r:id="rId42"/>
    <p:sldLayoutId id="2147483848" r:id="rId43"/>
    <p:sldLayoutId id="2147483849" r:id="rId44"/>
    <p:sldLayoutId id="2147483850" r:id="rId45"/>
    <p:sldLayoutId id="2147483851" r:id="rId46"/>
    <p:sldLayoutId id="2147483852" r:id="rId47"/>
    <p:sldLayoutId id="2147483853" r:id="rId48"/>
    <p:sldLayoutId id="2147483854" r:id="rId49"/>
    <p:sldLayoutId id="2147483855" r:id="rId50"/>
    <p:sldLayoutId id="2147483856" r:id="rId51"/>
    <p:sldLayoutId id="2147483857" r:id="rId52"/>
    <p:sldLayoutId id="2147483864" r:id="rId53"/>
  </p:sldLayoutIdLst>
  <p:hf hdr="0" ftr="0" dt="0"/>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p:titleStyle>
    <p:bodyStyle>
      <a:lvl1pPr marL="182563" indent="-176213" algn="l" defTabSz="914400" rtl="0" eaLnBrk="1" latinLnBrk="0" hangingPunct="1">
        <a:lnSpc>
          <a:spcPct val="100000"/>
        </a:lnSpc>
        <a:spcBef>
          <a:spcPts val="1000"/>
        </a:spcBef>
        <a:spcAft>
          <a:spcPts val="0"/>
        </a:spcAft>
        <a:buFont typeface="Arial" panose="020B0604020202020204" pitchFamily="34" charset="0"/>
        <a:buChar char="•"/>
        <a:tabLst/>
        <a:defRPr sz="1800" kern="1200" spc="40" baseline="0">
          <a:solidFill>
            <a:schemeClr val="tx2"/>
          </a:solidFill>
          <a:latin typeface="+mn-lt"/>
          <a:ea typeface="+mn-ea"/>
          <a:cs typeface="+mn-cs"/>
        </a:defRPr>
      </a:lvl1pPr>
      <a:lvl2pPr marL="357188" indent="-176213" algn="l" defTabSz="914400" rtl="0" eaLnBrk="1" latinLnBrk="0" hangingPunct="1">
        <a:lnSpc>
          <a:spcPct val="100000"/>
        </a:lnSpc>
        <a:spcBef>
          <a:spcPts val="500"/>
        </a:spcBef>
        <a:spcAft>
          <a:spcPts val="0"/>
        </a:spcAft>
        <a:buFont typeface="Arial" panose="020B0604020202020204" pitchFamily="34" charset="0"/>
        <a:buChar char="•"/>
        <a:tabLst/>
        <a:defRPr sz="1800" kern="1200" spc="40" baseline="0">
          <a:solidFill>
            <a:schemeClr val="tx2"/>
          </a:solidFill>
          <a:latin typeface="+mn-lt"/>
          <a:ea typeface="+mn-ea"/>
          <a:cs typeface="+mn-cs"/>
        </a:defRPr>
      </a:lvl2pPr>
      <a:lvl3pPr marL="534988" indent="-177800" algn="l" defTabSz="914400" rtl="0" eaLnBrk="1" latinLnBrk="0" hangingPunct="1">
        <a:lnSpc>
          <a:spcPct val="100000"/>
        </a:lnSpc>
        <a:spcBef>
          <a:spcPts val="500"/>
        </a:spcBef>
        <a:spcAft>
          <a:spcPts val="0"/>
        </a:spcAft>
        <a:buFont typeface="Arial" panose="020B0604020202020204" pitchFamily="34" charset="0"/>
        <a:buChar char="•"/>
        <a:tabLst/>
        <a:defRPr sz="1600" kern="1200" spc="40" baseline="0">
          <a:solidFill>
            <a:schemeClr val="tx2"/>
          </a:solidFill>
          <a:latin typeface="+mn-lt"/>
          <a:ea typeface="+mn-ea"/>
          <a:cs typeface="+mn-cs"/>
        </a:defRPr>
      </a:lvl3pPr>
      <a:lvl4pPr marL="715963" indent="-176400" algn="l" defTabSz="914400" rtl="0" eaLnBrk="1" latinLnBrk="0" hangingPunct="1">
        <a:lnSpc>
          <a:spcPct val="100000"/>
        </a:lnSpc>
        <a:spcBef>
          <a:spcPts val="500"/>
        </a:spcBef>
        <a:spcAft>
          <a:spcPts val="0"/>
        </a:spcAft>
        <a:buFont typeface="Arial" panose="020B0604020202020204" pitchFamily="34" charset="0"/>
        <a:buChar char="•"/>
        <a:tabLst/>
        <a:defRPr sz="1400" kern="1200" spc="40" baseline="0">
          <a:solidFill>
            <a:schemeClr val="tx2"/>
          </a:solidFill>
          <a:latin typeface="+mn-lt"/>
          <a:ea typeface="+mn-ea"/>
          <a:cs typeface="+mn-cs"/>
        </a:defRPr>
      </a:lvl4pPr>
      <a:lvl5pPr marL="892175" indent="-176213" algn="l" defTabSz="914400" rtl="0" eaLnBrk="1" latinLnBrk="0" hangingPunct="1">
        <a:lnSpc>
          <a:spcPct val="100000"/>
        </a:lnSpc>
        <a:spcBef>
          <a:spcPts val="500"/>
        </a:spcBef>
        <a:spcAft>
          <a:spcPts val="0"/>
        </a:spcAft>
        <a:buFont typeface="Arial" panose="020B0604020202020204" pitchFamily="34" charset="0"/>
        <a:buChar char="•"/>
        <a:tabLst/>
        <a:defRPr sz="1200" kern="1200" spc="4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BAE40"/>
          </p15:clr>
        </p15:guide>
        <p15:guide id="2" pos="3840">
          <p15:clr>
            <a:srgbClr val="FBAE40"/>
          </p15:clr>
        </p15:guide>
        <p15:guide id="3" pos="363">
          <p15:clr>
            <a:srgbClr val="000000"/>
          </p15:clr>
        </p15:guide>
        <p15:guide id="4" pos="7317">
          <p15:clr>
            <a:srgbClr val="000000"/>
          </p15:clr>
        </p15:guide>
        <p15:guide id="5" orient="horz" pos="454">
          <p15:clr>
            <a:srgbClr val="000000"/>
          </p15:clr>
        </p15:guide>
        <p15:guide id="6" pos="2739">
          <p15:clr>
            <a:srgbClr val="A4A3A4"/>
          </p15:clr>
        </p15:guide>
        <p15:guide id="7" pos="1553">
          <p15:clr>
            <a:srgbClr val="A4A3A4"/>
          </p15:clr>
        </p15:guide>
        <p15:guide id="9" pos="3750">
          <p15:clr>
            <a:srgbClr val="A4A3A4"/>
          </p15:clr>
        </p15:guide>
        <p15:guide id="10" pos="3930">
          <p15:clr>
            <a:srgbClr val="A4A3A4"/>
          </p15:clr>
        </p15:guide>
        <p15:guide id="11" pos="4932">
          <p15:clr>
            <a:srgbClr val="A4A3A4"/>
          </p15:clr>
        </p15:guide>
        <p15:guide id="12" pos="5120">
          <p15:clr>
            <a:srgbClr val="A4A3A4"/>
          </p15:clr>
        </p15:guide>
        <p15:guide id="13" pos="6123">
          <p15:clr>
            <a:srgbClr val="A4A3A4"/>
          </p15:clr>
        </p15:guide>
        <p15:guide id="15" orient="horz" pos="3861">
          <p15:clr>
            <a:srgbClr val="000000"/>
          </p15:clr>
        </p15:guide>
        <p15:guide id="17" pos="1370">
          <p15:clr>
            <a:srgbClr val="A4A3A4"/>
          </p15:clr>
        </p15:guide>
        <p15:guide id="18" orient="horz" pos="4122">
          <p15:clr>
            <a:srgbClr val="A4A3A4"/>
          </p15:clr>
        </p15:guide>
        <p15:guide id="19" orient="horz" pos="2092">
          <p15:clr>
            <a:srgbClr val="A4A3A4"/>
          </p15:clr>
        </p15:guide>
        <p15:guide id="20" orient="horz" pos="2228">
          <p15:clr>
            <a:srgbClr val="A4A3A4"/>
          </p15:clr>
        </p15:guide>
        <p15:guide id="21" pos="6306">
          <p15:clr>
            <a:srgbClr val="A4A3A4"/>
          </p15:clr>
        </p15:guide>
        <p15:guide id="22" pos="2556">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9.xml"/><Relationship Id="rId4" Type="http://schemas.openxmlformats.org/officeDocument/2006/relationships/image" Target="../media/image36.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1.xml"/><Relationship Id="rId1" Type="http://schemas.openxmlformats.org/officeDocument/2006/relationships/themeOverride" Target="../theme/themeOverride3.xml"/><Relationship Id="rId5" Type="http://schemas.openxmlformats.org/officeDocument/2006/relationships/image" Target="../media/image36.png"/><Relationship Id="rId4" Type="http://schemas.openxmlformats.org/officeDocument/2006/relationships/image" Target="../media/image37.jpg"/></Relationships>
</file>

<file path=ppt/slides/_rels/slide12.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39.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1.xml"/><Relationship Id="rId1" Type="http://schemas.openxmlformats.org/officeDocument/2006/relationships/themeOverride" Target="../theme/themeOverride4.xml"/><Relationship Id="rId5" Type="http://schemas.openxmlformats.org/officeDocument/2006/relationships/image" Target="../media/image39.png"/><Relationship Id="rId4" Type="http://schemas.openxmlformats.org/officeDocument/2006/relationships/image" Target="../media/image40.jpg"/></Relationships>
</file>

<file path=ppt/slides/_rels/slide1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0.xml"/><Relationship Id="rId1" Type="http://schemas.openxmlformats.org/officeDocument/2006/relationships/slideLayout" Target="../slideLayouts/slideLayout9.xml"/><Relationship Id="rId4"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1.xml"/><Relationship Id="rId1" Type="http://schemas.openxmlformats.org/officeDocument/2006/relationships/themeOverride" Target="../theme/themeOverride5.xml"/><Relationship Id="rId5" Type="http://schemas.openxmlformats.org/officeDocument/2006/relationships/image" Target="../media/image42.png"/><Relationship Id="rId4" Type="http://schemas.openxmlformats.org/officeDocument/2006/relationships/image" Target="../media/image43.jpg"/></Relationships>
</file>

<file path=ppt/slides/_rels/slide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9.xml"/><Relationship Id="rId5" Type="http://schemas.openxmlformats.org/officeDocument/2006/relationships/image" Target="../media/image46.jpeg"/><Relationship Id="rId4" Type="http://schemas.openxmlformats.org/officeDocument/2006/relationships/image" Target="../media/image45.JPEG"/></Relationships>
</file>

<file path=ppt/slides/_rels/slide17.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13.xml"/><Relationship Id="rId1" Type="http://schemas.openxmlformats.org/officeDocument/2006/relationships/slideLayout" Target="../slideLayouts/slideLayout9.xml"/><Relationship Id="rId4" Type="http://schemas.openxmlformats.org/officeDocument/2006/relationships/image" Target="../media/image44.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1.xml"/><Relationship Id="rId1" Type="http://schemas.openxmlformats.org/officeDocument/2006/relationships/themeOverride" Target="../theme/themeOverride6.xml"/><Relationship Id="rId5" Type="http://schemas.openxmlformats.org/officeDocument/2006/relationships/image" Target="../media/image49.png"/><Relationship Id="rId4" Type="http://schemas.openxmlformats.org/officeDocument/2006/relationships/image" Target="../media/image48.jpg"/></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5.xml"/><Relationship Id="rId1" Type="http://schemas.openxmlformats.org/officeDocument/2006/relationships/slideLayout" Target="../slideLayouts/slideLayout9.xml"/><Relationship Id="rId4" Type="http://schemas.openxmlformats.org/officeDocument/2006/relationships/image" Target="../media/image50.jpeg"/></Relationships>
</file>

<file path=ppt/slides/_rels/slide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93.xml"/></Relationships>
</file>

<file path=ppt/slides/_rels/slide20.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notesSlide" Target="../notesSlides/notesSlide16.xml"/><Relationship Id="rId1" Type="http://schemas.openxmlformats.org/officeDocument/2006/relationships/slideLayout" Target="../slideLayouts/slideLayout22.xml"/><Relationship Id="rId4" Type="http://schemas.openxmlformats.org/officeDocument/2006/relationships/image" Target="../media/image52.jpg"/></Relationships>
</file>

<file path=ppt/slides/_rels/slide21.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Layout" Target="../slideLayouts/slideLayout57.xml"/></Relationships>
</file>

<file path=ppt/slides/_rels/slide22.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6.png"/><Relationship Id="rId2" Type="http://schemas.openxmlformats.org/officeDocument/2006/relationships/slideLayout" Target="../slideLayouts/slideLayout129.xml"/><Relationship Id="rId1" Type="http://schemas.openxmlformats.org/officeDocument/2006/relationships/tags" Target="../tags/tag1.xml"/><Relationship Id="rId6" Type="http://schemas.openxmlformats.org/officeDocument/2006/relationships/image" Target="../media/image15.jpeg"/><Relationship Id="rId5" Type="http://schemas.openxmlformats.org/officeDocument/2006/relationships/image" Target="../media/image14.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28.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Layout" Target="../slideLayouts/slideLayout57.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_rels/slide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image" Target="../media/image29.png"/></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9.xml"/><Relationship Id="rId5" Type="http://schemas.openxmlformats.org/officeDocument/2006/relationships/image" Target="../media/image31.JPG"/><Relationship Id="rId4" Type="http://schemas.openxmlformats.org/officeDocument/2006/relationships/image" Target="../media/image30.JPG"/></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9.xml"/><Relationship Id="rId5" Type="http://schemas.openxmlformats.org/officeDocument/2006/relationships/image" Target="../media/image33.JPEG"/><Relationship Id="rId4" Type="http://schemas.openxmlformats.org/officeDocument/2006/relationships/image" Target="../media/image3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lassholder for bilde 14">
            <a:extLst>
              <a:ext uri="{FF2B5EF4-FFF2-40B4-BE49-F238E27FC236}">
                <a16:creationId xmlns:a16="http://schemas.microsoft.com/office/drawing/2014/main" id="{B509BA2C-2880-4B06-8113-AD4A4A79EB51}"/>
              </a:ext>
            </a:extLst>
          </p:cNvPr>
          <p:cNvPicPr>
            <a:picLocks noGrp="1" noChangeAspect="1"/>
          </p:cNvPicPr>
          <p:nvPr>
            <p:ph type="pic" sz="quarter" idx="18"/>
          </p:nvPr>
        </p:nvPicPr>
        <p:blipFill>
          <a:blip r:embed="rId2">
            <a:extLst>
              <a:ext uri="{28A0092B-C50C-407E-A947-70E740481C1C}">
                <a14:useLocalDpi xmlns:a14="http://schemas.microsoft.com/office/drawing/2010/main" val="0"/>
              </a:ext>
            </a:extLst>
          </a:blip>
          <a:srcRect l="24990" r="24990"/>
          <a:stretch>
            <a:fillRect/>
          </a:stretch>
        </p:blipFill>
        <p:spPr/>
      </p:pic>
      <p:sp>
        <p:nvSpPr>
          <p:cNvPr id="3" name="Tittel 2">
            <a:extLst>
              <a:ext uri="{FF2B5EF4-FFF2-40B4-BE49-F238E27FC236}">
                <a16:creationId xmlns:a16="http://schemas.microsoft.com/office/drawing/2014/main" id="{A4612401-8F37-3CC7-8782-0AC207DD504A}"/>
              </a:ext>
            </a:extLst>
          </p:cNvPr>
          <p:cNvSpPr>
            <a:spLocks noGrp="1"/>
          </p:cNvSpPr>
          <p:nvPr>
            <p:ph type="title"/>
          </p:nvPr>
        </p:nvSpPr>
        <p:spPr>
          <a:xfrm>
            <a:off x="588221" y="1148109"/>
            <a:ext cx="5088820" cy="1069200"/>
          </a:xfrm>
        </p:spPr>
        <p:txBody>
          <a:bodyPr/>
          <a:lstStyle/>
          <a:p>
            <a:r>
              <a:rPr lang="nb-NO" sz="3600" dirty="0"/>
              <a:t>Vi skal være et foregangsselskap innen bærekraft og innovasjon</a:t>
            </a:r>
          </a:p>
        </p:txBody>
      </p:sp>
      <p:sp>
        <p:nvSpPr>
          <p:cNvPr id="4" name="Plassholder for tekst 3">
            <a:extLst>
              <a:ext uri="{FF2B5EF4-FFF2-40B4-BE49-F238E27FC236}">
                <a16:creationId xmlns:a16="http://schemas.microsoft.com/office/drawing/2014/main" id="{B65D03C0-6812-C982-75FF-E20A65C6C42E}"/>
              </a:ext>
            </a:extLst>
          </p:cNvPr>
          <p:cNvSpPr>
            <a:spLocks noGrp="1"/>
          </p:cNvSpPr>
          <p:nvPr>
            <p:ph type="body" sz="quarter" idx="15"/>
          </p:nvPr>
        </p:nvSpPr>
        <p:spPr>
          <a:xfrm>
            <a:off x="588221" y="2378873"/>
            <a:ext cx="5834009" cy="771519"/>
          </a:xfrm>
        </p:spPr>
        <p:txBody>
          <a:bodyPr/>
          <a:lstStyle/>
          <a:p>
            <a:r>
              <a:rPr lang="nb-NO" b="1" dirty="0"/>
              <a:t>Randi Lekanger | </a:t>
            </a:r>
            <a:r>
              <a:rPr lang="nb-NO" sz="1200" dirty="0"/>
              <a:t>Bærekraftsdirektør </a:t>
            </a:r>
          </a:p>
        </p:txBody>
      </p:sp>
      <p:sp>
        <p:nvSpPr>
          <p:cNvPr id="5" name="Plassholder for tekst 4">
            <a:extLst>
              <a:ext uri="{FF2B5EF4-FFF2-40B4-BE49-F238E27FC236}">
                <a16:creationId xmlns:a16="http://schemas.microsoft.com/office/drawing/2014/main" id="{1759D7B0-2199-60D5-E9C7-F720B23D19F9}"/>
              </a:ext>
            </a:extLst>
          </p:cNvPr>
          <p:cNvSpPr>
            <a:spLocks noGrp="1"/>
          </p:cNvSpPr>
          <p:nvPr>
            <p:ph type="body" sz="quarter" idx="19"/>
          </p:nvPr>
        </p:nvSpPr>
        <p:spPr/>
        <p:txBody>
          <a:bodyPr/>
          <a:lstStyle/>
          <a:p>
            <a:endParaRPr lang="nb-NO"/>
          </a:p>
        </p:txBody>
      </p:sp>
    </p:spTree>
    <p:extLst>
      <p:ext uri="{BB962C8B-B14F-4D97-AF65-F5344CB8AC3E}">
        <p14:creationId xmlns:p14="http://schemas.microsoft.com/office/powerpoint/2010/main" val="3272091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7C37BDB9-73B4-FA17-444F-6C053BC06E2B}"/>
              </a:ext>
            </a:extLst>
          </p:cNvPr>
          <p:cNvSpPr>
            <a:spLocks noGrp="1"/>
          </p:cNvSpPr>
          <p:nvPr>
            <p:ph type="title"/>
          </p:nvPr>
        </p:nvSpPr>
        <p:spPr>
          <a:xfrm>
            <a:off x="582352" y="1582564"/>
            <a:ext cx="5520000" cy="1008135"/>
          </a:xfrm>
        </p:spPr>
        <p:txBody>
          <a:bodyPr/>
          <a:lstStyle/>
          <a:p>
            <a:r>
              <a:rPr lang="en-US" dirty="0"/>
              <a:t>Fra </a:t>
            </a:r>
            <a:r>
              <a:rPr lang="en-US" dirty="0" err="1"/>
              <a:t>forskalingsplater</a:t>
            </a:r>
            <a:r>
              <a:rPr lang="en-US" dirty="0"/>
              <a:t> </a:t>
            </a:r>
            <a:r>
              <a:rPr lang="en-US" dirty="0" err="1"/>
              <a:t>på</a:t>
            </a:r>
            <a:r>
              <a:rPr lang="en-US" dirty="0"/>
              <a:t> </a:t>
            </a:r>
            <a:r>
              <a:rPr lang="en-US" dirty="0" err="1"/>
              <a:t>Nydalsbrua</a:t>
            </a:r>
            <a:r>
              <a:rPr lang="en-US" dirty="0"/>
              <a:t> </a:t>
            </a:r>
            <a:r>
              <a:rPr lang="en-US" dirty="0" err="1"/>
              <a:t>til</a:t>
            </a:r>
            <a:r>
              <a:rPr lang="en-US" dirty="0"/>
              <a:t> </a:t>
            </a:r>
            <a:r>
              <a:rPr lang="en-US" dirty="0" err="1"/>
              <a:t>sportsboder</a:t>
            </a:r>
            <a:r>
              <a:rPr lang="en-US" dirty="0"/>
              <a:t> </a:t>
            </a:r>
            <a:r>
              <a:rPr lang="en-US" dirty="0" err="1"/>
              <a:t>på</a:t>
            </a:r>
            <a:r>
              <a:rPr lang="en-US" dirty="0"/>
              <a:t> Powerhouse Lade</a:t>
            </a:r>
            <a:br>
              <a:rPr lang="nb-NO" dirty="0"/>
            </a:br>
            <a:br>
              <a:rPr lang="nb-NO" dirty="0"/>
            </a:br>
            <a:endParaRPr lang="nb-NO" dirty="0"/>
          </a:p>
        </p:txBody>
      </p:sp>
      <p:sp>
        <p:nvSpPr>
          <p:cNvPr id="5" name="Plassholder for tekst 4">
            <a:extLst>
              <a:ext uri="{FF2B5EF4-FFF2-40B4-BE49-F238E27FC236}">
                <a16:creationId xmlns:a16="http://schemas.microsoft.com/office/drawing/2014/main" id="{D173AC15-3A55-07CC-2607-647A973B6D8D}"/>
              </a:ext>
            </a:extLst>
          </p:cNvPr>
          <p:cNvSpPr>
            <a:spLocks noGrp="1"/>
          </p:cNvSpPr>
          <p:nvPr>
            <p:ph type="body" sz="quarter" idx="18"/>
          </p:nvPr>
        </p:nvSpPr>
        <p:spPr/>
        <p:txBody>
          <a:bodyPr/>
          <a:lstStyle/>
          <a:p>
            <a:endParaRPr lang="nb-NO"/>
          </a:p>
        </p:txBody>
      </p:sp>
      <p:pic>
        <p:nvPicPr>
          <p:cNvPr id="6" name="Plassholder for bilde 9">
            <a:extLst>
              <a:ext uri="{FF2B5EF4-FFF2-40B4-BE49-F238E27FC236}">
                <a16:creationId xmlns:a16="http://schemas.microsoft.com/office/drawing/2014/main" id="{76F271FB-DE59-5E60-0EF6-99834D15DEC0}"/>
              </a:ext>
            </a:extLst>
          </p:cNvPr>
          <p:cNvPicPr>
            <a:picLocks noChangeAspect="1"/>
          </p:cNvPicPr>
          <p:nvPr/>
        </p:nvPicPr>
        <p:blipFill>
          <a:blip r:embed="rId2">
            <a:extLst>
              <a:ext uri="{28A0092B-C50C-407E-A947-70E740481C1C}">
                <a14:useLocalDpi xmlns:a14="http://schemas.microsoft.com/office/drawing/2010/main" val="0"/>
              </a:ext>
            </a:extLst>
          </a:blip>
          <a:srcRect l="28906" r="28906"/>
          <a:stretch/>
        </p:blipFill>
        <p:spPr>
          <a:xfrm rot="5400000">
            <a:off x="7409942" y="2069592"/>
            <a:ext cx="3480816" cy="6096000"/>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ln w="38100">
            <a:noFill/>
          </a:ln>
        </p:spPr>
      </p:pic>
      <p:pic>
        <p:nvPicPr>
          <p:cNvPr id="8" name="Picture 4" descr="image">
            <a:extLst>
              <a:ext uri="{FF2B5EF4-FFF2-40B4-BE49-F238E27FC236}">
                <a16:creationId xmlns:a16="http://schemas.microsoft.com/office/drawing/2014/main" id="{C9A788D7-21DA-3375-4A1D-5DD8AFCED16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3689" b="33155"/>
          <a:stretch/>
        </p:blipFill>
        <p:spPr bwMode="auto">
          <a:xfrm>
            <a:off x="6102353" y="0"/>
            <a:ext cx="6095997" cy="3428998"/>
          </a:xfrm>
          <a:prstGeom prst="rect">
            <a:avLst/>
          </a:prstGeom>
          <a:noFill/>
          <a:ln w="34925">
            <a:noFill/>
          </a:ln>
          <a:extLst>
            <a:ext uri="{909E8E84-426E-40DD-AFC4-6F175D3DCCD1}">
              <a14:hiddenFill xmlns:a14="http://schemas.microsoft.com/office/drawing/2010/main">
                <a:solidFill>
                  <a:srgbClr val="FFFFFF"/>
                </a:solidFill>
              </a14:hiddenFill>
            </a:ext>
          </a:extLst>
        </p:spPr>
      </p:pic>
      <p:pic>
        <p:nvPicPr>
          <p:cNvPr id="11" name="Bilde 10">
            <a:extLst>
              <a:ext uri="{FF2B5EF4-FFF2-40B4-BE49-F238E27FC236}">
                <a16:creationId xmlns:a16="http://schemas.microsoft.com/office/drawing/2014/main" id="{3E0E2A34-2135-B940-6B48-215F6327C68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3783" y="2250294"/>
            <a:ext cx="4424624" cy="3742857"/>
          </a:xfrm>
          <a:prstGeom prst="rect">
            <a:avLst/>
          </a:prstGeom>
        </p:spPr>
      </p:pic>
    </p:spTree>
    <p:extLst>
      <p:ext uri="{BB962C8B-B14F-4D97-AF65-F5344CB8AC3E}">
        <p14:creationId xmlns:p14="http://schemas.microsoft.com/office/powerpoint/2010/main" val="257581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7" name="Plassholder for bilde 6">
            <a:extLst>
              <a:ext uri="{FF2B5EF4-FFF2-40B4-BE49-F238E27FC236}">
                <a16:creationId xmlns:a16="http://schemas.microsoft.com/office/drawing/2014/main" id="{C2FBEFBD-DC6B-121C-6336-97E82CF80158}"/>
              </a:ext>
            </a:extLst>
          </p:cNvPr>
          <p:cNvPicPr>
            <a:picLocks noGrp="1" noChangeAspect="1"/>
          </p:cNvPicPr>
          <p:nvPr>
            <p:ph type="pic" sz="quarter" idx="18"/>
          </p:nvPr>
        </p:nvPicPr>
        <p:blipFill>
          <a:blip r:embed="rId4">
            <a:extLst>
              <a:ext uri="{28A0092B-C50C-407E-A947-70E740481C1C}">
                <a14:useLocalDpi xmlns:a14="http://schemas.microsoft.com/office/drawing/2010/main" val="0"/>
              </a:ext>
            </a:extLst>
          </a:blip>
          <a:srcRect t="25" b="25"/>
          <a:stretch/>
        </p:blipFill>
        <p:spPr/>
      </p:pic>
      <p:sp>
        <p:nvSpPr>
          <p:cNvPr id="3" name="Tittel 2">
            <a:extLst>
              <a:ext uri="{FF2B5EF4-FFF2-40B4-BE49-F238E27FC236}">
                <a16:creationId xmlns:a16="http://schemas.microsoft.com/office/drawing/2014/main" id="{7C37BDB9-73B4-FA17-444F-6C053BC06E2B}"/>
              </a:ext>
            </a:extLst>
          </p:cNvPr>
          <p:cNvSpPr>
            <a:spLocks noGrp="1"/>
          </p:cNvSpPr>
          <p:nvPr>
            <p:ph type="title"/>
          </p:nvPr>
        </p:nvSpPr>
        <p:spPr>
          <a:xfrm>
            <a:off x="529896" y="262074"/>
            <a:ext cx="5181333" cy="1365942"/>
          </a:xfrm>
        </p:spPr>
        <p:txBody>
          <a:bodyPr/>
          <a:lstStyle/>
          <a:p>
            <a:r>
              <a:rPr lang="en-US" dirty="0" err="1">
                <a:solidFill>
                  <a:schemeClr val="bg1"/>
                </a:solidFill>
              </a:rPr>
              <a:t>Ombruk</a:t>
            </a:r>
            <a:r>
              <a:rPr lang="en-US" dirty="0">
                <a:solidFill>
                  <a:schemeClr val="bg1"/>
                </a:solidFill>
              </a:rPr>
              <a:t> av </a:t>
            </a:r>
            <a:r>
              <a:rPr lang="en-US" dirty="0" err="1">
                <a:solidFill>
                  <a:schemeClr val="bg1"/>
                </a:solidFill>
              </a:rPr>
              <a:t>hulldekker</a:t>
            </a:r>
            <a:r>
              <a:rPr lang="en-US" dirty="0">
                <a:solidFill>
                  <a:schemeClr val="bg1"/>
                </a:solidFill>
              </a:rPr>
              <a:t> </a:t>
            </a:r>
            <a:r>
              <a:rPr lang="en-US" dirty="0" err="1">
                <a:solidFill>
                  <a:schemeClr val="bg1"/>
                </a:solidFill>
              </a:rPr>
              <a:t>og</a:t>
            </a:r>
            <a:r>
              <a:rPr lang="en-US" dirty="0">
                <a:solidFill>
                  <a:schemeClr val="bg1"/>
                </a:solidFill>
              </a:rPr>
              <a:t> </a:t>
            </a:r>
            <a:r>
              <a:rPr lang="en-US" dirty="0" err="1">
                <a:solidFill>
                  <a:schemeClr val="bg1"/>
                </a:solidFill>
              </a:rPr>
              <a:t>brostein</a:t>
            </a:r>
            <a:r>
              <a:rPr lang="en-US" dirty="0">
                <a:solidFill>
                  <a:schemeClr val="bg1"/>
                </a:solidFill>
              </a:rPr>
              <a:t> </a:t>
            </a:r>
            <a:r>
              <a:rPr lang="en-US" dirty="0" err="1">
                <a:solidFill>
                  <a:schemeClr val="bg1"/>
                </a:solidFill>
              </a:rPr>
              <a:t>på</a:t>
            </a:r>
            <a:r>
              <a:rPr lang="en-US" dirty="0">
                <a:solidFill>
                  <a:schemeClr val="bg1"/>
                </a:solidFill>
              </a:rPr>
              <a:t> </a:t>
            </a:r>
            <a:r>
              <a:rPr lang="en-US" dirty="0" err="1">
                <a:solidFill>
                  <a:schemeClr val="bg1"/>
                </a:solidFill>
              </a:rPr>
              <a:t>Storbylegevakta</a:t>
            </a:r>
            <a:br>
              <a:rPr lang="en-US" dirty="0">
                <a:solidFill>
                  <a:schemeClr val="bg1"/>
                </a:solidFill>
              </a:rPr>
            </a:br>
            <a:br>
              <a:rPr lang="nb-NO" dirty="0">
                <a:solidFill>
                  <a:schemeClr val="bg1"/>
                </a:solidFill>
              </a:rPr>
            </a:br>
            <a:endParaRPr lang="nb-NO" dirty="0">
              <a:solidFill>
                <a:schemeClr val="bg1"/>
              </a:solidFill>
            </a:endParaRPr>
          </a:p>
        </p:txBody>
      </p:sp>
      <p:sp>
        <p:nvSpPr>
          <p:cNvPr id="10" name="Plassholder for tekst 9">
            <a:extLst>
              <a:ext uri="{FF2B5EF4-FFF2-40B4-BE49-F238E27FC236}">
                <a16:creationId xmlns:a16="http://schemas.microsoft.com/office/drawing/2014/main" id="{066BA3E7-0390-5810-EBEB-A72777EC292F}"/>
              </a:ext>
            </a:extLst>
          </p:cNvPr>
          <p:cNvSpPr>
            <a:spLocks noGrp="1"/>
          </p:cNvSpPr>
          <p:nvPr>
            <p:ph type="body" sz="quarter" idx="21"/>
          </p:nvPr>
        </p:nvSpPr>
        <p:spPr/>
        <p:txBody>
          <a:bodyPr/>
          <a:lstStyle/>
          <a:p>
            <a:endParaRPr lang="nb-NO"/>
          </a:p>
        </p:txBody>
      </p:sp>
      <p:pic>
        <p:nvPicPr>
          <p:cNvPr id="12" name="Bilde 11">
            <a:extLst>
              <a:ext uri="{FF2B5EF4-FFF2-40B4-BE49-F238E27FC236}">
                <a16:creationId xmlns:a16="http://schemas.microsoft.com/office/drawing/2014/main" id="{F5E8333A-CE64-B162-7128-F9625A50E01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3783" y="2007405"/>
            <a:ext cx="4424624" cy="3742857"/>
          </a:xfrm>
          <a:prstGeom prst="rect">
            <a:avLst/>
          </a:prstGeom>
        </p:spPr>
      </p:pic>
    </p:spTree>
    <p:extLst>
      <p:ext uri="{BB962C8B-B14F-4D97-AF65-F5344CB8AC3E}">
        <p14:creationId xmlns:p14="http://schemas.microsoft.com/office/powerpoint/2010/main" val="29609173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7C37BDB9-73B4-FA17-444F-6C053BC06E2B}"/>
              </a:ext>
            </a:extLst>
          </p:cNvPr>
          <p:cNvSpPr>
            <a:spLocks noGrp="1"/>
          </p:cNvSpPr>
          <p:nvPr>
            <p:ph type="title"/>
          </p:nvPr>
        </p:nvSpPr>
        <p:spPr>
          <a:xfrm>
            <a:off x="539488" y="549825"/>
            <a:ext cx="5520000" cy="1008135"/>
          </a:xfrm>
        </p:spPr>
        <p:txBody>
          <a:bodyPr/>
          <a:lstStyle/>
          <a:p>
            <a:r>
              <a:rPr lang="en-US" dirty="0" err="1"/>
              <a:t>Vertikal</a:t>
            </a:r>
            <a:r>
              <a:rPr lang="en-US" dirty="0"/>
              <a:t> </a:t>
            </a:r>
            <a:r>
              <a:rPr lang="en-US" dirty="0" err="1"/>
              <a:t>Nydalen</a:t>
            </a:r>
            <a:r>
              <a:rPr lang="en-US" dirty="0"/>
              <a:t> </a:t>
            </a:r>
            <a:r>
              <a:rPr lang="en-US" dirty="0" err="1"/>
              <a:t>driftes</a:t>
            </a:r>
            <a:r>
              <a:rPr lang="en-US" dirty="0"/>
              <a:t> </a:t>
            </a:r>
            <a:r>
              <a:rPr lang="en-US" dirty="0" err="1"/>
              <a:t>uten</a:t>
            </a:r>
            <a:r>
              <a:rPr lang="en-US" dirty="0"/>
              <a:t> </a:t>
            </a:r>
            <a:r>
              <a:rPr lang="en-US" dirty="0" err="1"/>
              <a:t>behov</a:t>
            </a:r>
            <a:r>
              <a:rPr lang="en-US" dirty="0"/>
              <a:t> for </a:t>
            </a:r>
            <a:r>
              <a:rPr lang="en-US" dirty="0" err="1"/>
              <a:t>tilført</a:t>
            </a:r>
            <a:r>
              <a:rPr lang="en-US" dirty="0"/>
              <a:t> </a:t>
            </a:r>
            <a:r>
              <a:rPr lang="en-US" dirty="0" err="1"/>
              <a:t>energi</a:t>
            </a:r>
            <a:r>
              <a:rPr lang="en-US" dirty="0"/>
              <a:t> </a:t>
            </a:r>
            <a:r>
              <a:rPr lang="en-US" dirty="0" err="1"/>
              <a:t>til</a:t>
            </a:r>
            <a:r>
              <a:rPr lang="en-US" dirty="0"/>
              <a:t> </a:t>
            </a:r>
            <a:r>
              <a:rPr lang="en-US" dirty="0" err="1"/>
              <a:t>varme</a:t>
            </a:r>
            <a:r>
              <a:rPr lang="en-US" dirty="0"/>
              <a:t>, </a:t>
            </a:r>
            <a:r>
              <a:rPr lang="en-US" dirty="0" err="1"/>
              <a:t>kjøling</a:t>
            </a:r>
            <a:r>
              <a:rPr lang="en-US" dirty="0"/>
              <a:t> </a:t>
            </a:r>
            <a:r>
              <a:rPr lang="en-US" dirty="0" err="1"/>
              <a:t>og</a:t>
            </a:r>
            <a:r>
              <a:rPr lang="en-US" dirty="0"/>
              <a:t> </a:t>
            </a:r>
            <a:r>
              <a:rPr lang="en-US" dirty="0" err="1"/>
              <a:t>ventilasjon</a:t>
            </a:r>
            <a:endParaRPr lang="en-US" dirty="0"/>
          </a:p>
        </p:txBody>
      </p:sp>
      <p:sp>
        <p:nvSpPr>
          <p:cNvPr id="5" name="Plassholder for tekst 4">
            <a:extLst>
              <a:ext uri="{FF2B5EF4-FFF2-40B4-BE49-F238E27FC236}">
                <a16:creationId xmlns:a16="http://schemas.microsoft.com/office/drawing/2014/main" id="{D173AC15-3A55-07CC-2607-647A973B6D8D}"/>
              </a:ext>
            </a:extLst>
          </p:cNvPr>
          <p:cNvSpPr>
            <a:spLocks noGrp="1"/>
          </p:cNvSpPr>
          <p:nvPr>
            <p:ph type="body" sz="quarter" idx="18"/>
          </p:nvPr>
        </p:nvSpPr>
        <p:spPr/>
        <p:txBody>
          <a:bodyPr/>
          <a:lstStyle/>
          <a:p>
            <a:endParaRPr lang="nb-NO"/>
          </a:p>
        </p:txBody>
      </p:sp>
      <p:pic>
        <p:nvPicPr>
          <p:cNvPr id="7" name="Plassholder for bilde 6">
            <a:extLst>
              <a:ext uri="{FF2B5EF4-FFF2-40B4-BE49-F238E27FC236}">
                <a16:creationId xmlns:a16="http://schemas.microsoft.com/office/drawing/2014/main" id="{ADF62621-E68B-6DB4-345A-391751842393}"/>
              </a:ext>
            </a:extLst>
          </p:cNvPr>
          <p:cNvPicPr>
            <a:picLocks noGrp="1" noChangeAspect="1"/>
          </p:cNvPicPr>
          <p:nvPr>
            <p:ph type="pic" sz="quarter" idx="17"/>
          </p:nvPr>
        </p:nvPicPr>
        <p:blipFill>
          <a:blip r:embed="rId3">
            <a:extLst>
              <a:ext uri="{28A0092B-C50C-407E-A947-70E740481C1C}">
                <a14:useLocalDpi xmlns:a14="http://schemas.microsoft.com/office/drawing/2010/main" val="0"/>
              </a:ext>
            </a:extLst>
          </a:blip>
          <a:srcRect t="12204" b="12204"/>
          <a:stretch>
            <a:fillRect/>
          </a:stretch>
        </p:blipFill>
        <p:spPr>
          <a:xfrm>
            <a:off x="6132513" y="0"/>
            <a:ext cx="6059487" cy="6870700"/>
          </a:xfrm>
        </p:spPr>
      </p:pic>
      <p:pic>
        <p:nvPicPr>
          <p:cNvPr id="10" name="Bilde 9">
            <a:extLst>
              <a:ext uri="{FF2B5EF4-FFF2-40B4-BE49-F238E27FC236}">
                <a16:creationId xmlns:a16="http://schemas.microsoft.com/office/drawing/2014/main" id="{2844BFB1-29B6-AF05-6525-B80D9579AA1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9487" y="1942049"/>
            <a:ext cx="3889637" cy="3889637"/>
          </a:xfrm>
          <a:prstGeom prst="rect">
            <a:avLst/>
          </a:prstGeom>
        </p:spPr>
      </p:pic>
    </p:spTree>
    <p:extLst>
      <p:ext uri="{BB962C8B-B14F-4D97-AF65-F5344CB8AC3E}">
        <p14:creationId xmlns:p14="http://schemas.microsoft.com/office/powerpoint/2010/main" val="1676563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a:extLst>
            <a:ext uri="{FF2B5EF4-FFF2-40B4-BE49-F238E27FC236}">
              <a16:creationId xmlns:a16="http://schemas.microsoft.com/office/drawing/2014/main" id="{3A3B3FD2-E66D-715B-4506-BDB610EF4979}"/>
            </a:ext>
          </a:extLst>
        </p:cNvPr>
        <p:cNvGrpSpPr/>
        <p:nvPr/>
      </p:nvGrpSpPr>
      <p:grpSpPr>
        <a:xfrm>
          <a:off x="0" y="0"/>
          <a:ext cx="0" cy="0"/>
          <a:chOff x="0" y="0"/>
          <a:chExt cx="0" cy="0"/>
        </a:xfrm>
      </p:grpSpPr>
      <p:pic>
        <p:nvPicPr>
          <p:cNvPr id="17" name="Plassholder for bilde 16">
            <a:extLst>
              <a:ext uri="{FF2B5EF4-FFF2-40B4-BE49-F238E27FC236}">
                <a16:creationId xmlns:a16="http://schemas.microsoft.com/office/drawing/2014/main" id="{E6149BF8-5A51-60D3-E345-745BACF64727}"/>
              </a:ext>
            </a:extLst>
          </p:cNvPr>
          <p:cNvPicPr>
            <a:picLocks noGrp="1" noChangeAspect="1"/>
          </p:cNvPicPr>
          <p:nvPr>
            <p:ph type="pic" sz="quarter" idx="18"/>
          </p:nvPr>
        </p:nvPicPr>
        <p:blipFill>
          <a:blip r:embed="rId4">
            <a:extLst>
              <a:ext uri="{28A0092B-C50C-407E-A947-70E740481C1C}">
                <a14:useLocalDpi xmlns:a14="http://schemas.microsoft.com/office/drawing/2010/main" val="0"/>
              </a:ext>
            </a:extLst>
          </a:blip>
          <a:srcRect l="25021" r="25021"/>
          <a:stretch>
            <a:fillRect/>
          </a:stretch>
        </p:blipFill>
        <p:spPr/>
      </p:pic>
      <p:sp>
        <p:nvSpPr>
          <p:cNvPr id="3" name="Tittel 2">
            <a:extLst>
              <a:ext uri="{FF2B5EF4-FFF2-40B4-BE49-F238E27FC236}">
                <a16:creationId xmlns:a16="http://schemas.microsoft.com/office/drawing/2014/main" id="{5C42D95C-9CE6-B342-00EE-F7A0E90265AF}"/>
              </a:ext>
            </a:extLst>
          </p:cNvPr>
          <p:cNvSpPr>
            <a:spLocks noGrp="1"/>
          </p:cNvSpPr>
          <p:nvPr>
            <p:ph type="title"/>
          </p:nvPr>
        </p:nvSpPr>
        <p:spPr/>
        <p:txBody>
          <a:bodyPr/>
          <a:lstStyle/>
          <a:p>
            <a:r>
              <a:rPr lang="en-US" dirty="0">
                <a:solidFill>
                  <a:schemeClr val="bg1"/>
                </a:solidFill>
              </a:rPr>
              <a:t>Powerhouse Bolig</a:t>
            </a:r>
          </a:p>
        </p:txBody>
      </p:sp>
      <p:sp>
        <p:nvSpPr>
          <p:cNvPr id="12" name="Plassholder for tekst 11">
            <a:extLst>
              <a:ext uri="{FF2B5EF4-FFF2-40B4-BE49-F238E27FC236}">
                <a16:creationId xmlns:a16="http://schemas.microsoft.com/office/drawing/2014/main" id="{D0EFAF04-80CE-17E1-1111-C41E65E05F83}"/>
              </a:ext>
            </a:extLst>
          </p:cNvPr>
          <p:cNvSpPr>
            <a:spLocks noGrp="1"/>
          </p:cNvSpPr>
          <p:nvPr>
            <p:ph type="body" sz="quarter" idx="21"/>
          </p:nvPr>
        </p:nvSpPr>
        <p:spPr/>
        <p:txBody>
          <a:bodyPr/>
          <a:lstStyle/>
          <a:p>
            <a:r>
              <a:rPr lang="nb-NO" dirty="0"/>
              <a:t>Gartnersletta</a:t>
            </a:r>
          </a:p>
        </p:txBody>
      </p:sp>
      <p:pic>
        <p:nvPicPr>
          <p:cNvPr id="10" name="Bilde 9">
            <a:extLst>
              <a:ext uri="{FF2B5EF4-FFF2-40B4-BE49-F238E27FC236}">
                <a16:creationId xmlns:a16="http://schemas.microsoft.com/office/drawing/2014/main" id="{43BF51A3-69B4-1EC7-5D1C-BBF80D60EE2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9487" y="1942049"/>
            <a:ext cx="3889637" cy="3889637"/>
          </a:xfrm>
          <a:prstGeom prst="rect">
            <a:avLst/>
          </a:prstGeom>
        </p:spPr>
      </p:pic>
    </p:spTree>
    <p:extLst>
      <p:ext uri="{BB962C8B-B14F-4D97-AF65-F5344CB8AC3E}">
        <p14:creationId xmlns:p14="http://schemas.microsoft.com/office/powerpoint/2010/main" val="654918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7C37BDB9-73B4-FA17-444F-6C053BC06E2B}"/>
              </a:ext>
            </a:extLst>
          </p:cNvPr>
          <p:cNvSpPr>
            <a:spLocks noGrp="1"/>
          </p:cNvSpPr>
          <p:nvPr>
            <p:ph type="title"/>
          </p:nvPr>
        </p:nvSpPr>
        <p:spPr>
          <a:xfrm>
            <a:off x="539488" y="549825"/>
            <a:ext cx="5520000" cy="1008135"/>
          </a:xfrm>
        </p:spPr>
        <p:txBody>
          <a:bodyPr/>
          <a:lstStyle/>
          <a:p>
            <a:r>
              <a:rPr lang="nb-NO" dirty="0"/>
              <a:t>Nydalsbrua er bygd med </a:t>
            </a:r>
            <a:r>
              <a:rPr lang="nb-NO" dirty="0" err="1"/>
              <a:t>lavkarbonbetong</a:t>
            </a:r>
            <a:endParaRPr lang="nb-NO" dirty="0"/>
          </a:p>
        </p:txBody>
      </p:sp>
      <p:sp>
        <p:nvSpPr>
          <p:cNvPr id="5" name="Plassholder for tekst 4">
            <a:extLst>
              <a:ext uri="{FF2B5EF4-FFF2-40B4-BE49-F238E27FC236}">
                <a16:creationId xmlns:a16="http://schemas.microsoft.com/office/drawing/2014/main" id="{D173AC15-3A55-07CC-2607-647A973B6D8D}"/>
              </a:ext>
            </a:extLst>
          </p:cNvPr>
          <p:cNvSpPr>
            <a:spLocks noGrp="1"/>
          </p:cNvSpPr>
          <p:nvPr>
            <p:ph type="body" sz="quarter" idx="18"/>
          </p:nvPr>
        </p:nvSpPr>
        <p:spPr/>
        <p:txBody>
          <a:bodyPr/>
          <a:lstStyle/>
          <a:p>
            <a:endParaRPr lang="nb-NO"/>
          </a:p>
        </p:txBody>
      </p:sp>
      <p:pic>
        <p:nvPicPr>
          <p:cNvPr id="13" name="Plassholder for bilde 12">
            <a:extLst>
              <a:ext uri="{FF2B5EF4-FFF2-40B4-BE49-F238E27FC236}">
                <a16:creationId xmlns:a16="http://schemas.microsoft.com/office/drawing/2014/main" id="{67E3BF35-AE56-A2C3-3482-1E6874ABD7B8}"/>
              </a:ext>
            </a:extLst>
          </p:cNvPr>
          <p:cNvPicPr>
            <a:picLocks noGrp="1" noChangeAspect="1"/>
          </p:cNvPicPr>
          <p:nvPr>
            <p:ph type="pic" sz="quarter" idx="17"/>
          </p:nvPr>
        </p:nvPicPr>
        <p:blipFill>
          <a:blip r:embed="rId3">
            <a:extLst>
              <a:ext uri="{28A0092B-C50C-407E-A947-70E740481C1C}">
                <a14:useLocalDpi xmlns:a14="http://schemas.microsoft.com/office/drawing/2010/main" val="0"/>
              </a:ext>
            </a:extLst>
          </a:blip>
          <a:srcRect t="12431" b="12431"/>
          <a:stretch>
            <a:fillRect/>
          </a:stretch>
        </p:blipFill>
        <p:spPr>
          <a:xfrm>
            <a:off x="6096000" y="0"/>
            <a:ext cx="6096000" cy="6870700"/>
          </a:xfrm>
        </p:spPr>
      </p:pic>
      <p:pic>
        <p:nvPicPr>
          <p:cNvPr id="15" name="Bilde 14">
            <a:extLst>
              <a:ext uri="{FF2B5EF4-FFF2-40B4-BE49-F238E27FC236}">
                <a16:creationId xmlns:a16="http://schemas.microsoft.com/office/drawing/2014/main" id="{5DA6FD9E-684E-6B12-C354-23EA4D09EDB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1521" y="2091582"/>
            <a:ext cx="3814741" cy="3520643"/>
          </a:xfrm>
          <a:prstGeom prst="rect">
            <a:avLst/>
          </a:prstGeom>
        </p:spPr>
      </p:pic>
    </p:spTree>
    <p:extLst>
      <p:ext uri="{BB962C8B-B14F-4D97-AF65-F5344CB8AC3E}">
        <p14:creationId xmlns:p14="http://schemas.microsoft.com/office/powerpoint/2010/main" val="960573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a:extLst>
            <a:ext uri="{FF2B5EF4-FFF2-40B4-BE49-F238E27FC236}">
              <a16:creationId xmlns:a16="http://schemas.microsoft.com/office/drawing/2014/main" id="{742D15E9-8A47-5708-D759-0C01873D0ECB}"/>
            </a:ext>
          </a:extLst>
        </p:cNvPr>
        <p:cNvGrpSpPr/>
        <p:nvPr/>
      </p:nvGrpSpPr>
      <p:grpSpPr>
        <a:xfrm>
          <a:off x="0" y="0"/>
          <a:ext cx="0" cy="0"/>
          <a:chOff x="0" y="0"/>
          <a:chExt cx="0" cy="0"/>
        </a:xfrm>
      </p:grpSpPr>
      <p:pic>
        <p:nvPicPr>
          <p:cNvPr id="11" name="Plassholder for bilde 10">
            <a:extLst>
              <a:ext uri="{FF2B5EF4-FFF2-40B4-BE49-F238E27FC236}">
                <a16:creationId xmlns:a16="http://schemas.microsoft.com/office/drawing/2014/main" id="{A0F8FB36-7E78-0808-6E6D-543FDF1CE727}"/>
              </a:ext>
            </a:extLst>
          </p:cNvPr>
          <p:cNvPicPr>
            <a:picLocks noGrp="1" noChangeAspect="1"/>
          </p:cNvPicPr>
          <p:nvPr>
            <p:ph type="pic" sz="quarter" idx="18"/>
          </p:nvPr>
        </p:nvPicPr>
        <p:blipFill>
          <a:blip r:embed="rId4">
            <a:extLst>
              <a:ext uri="{28A0092B-C50C-407E-A947-70E740481C1C}">
                <a14:useLocalDpi xmlns:a14="http://schemas.microsoft.com/office/drawing/2010/main" val="0"/>
              </a:ext>
            </a:extLst>
          </a:blip>
          <a:srcRect l="24979" r="24979"/>
          <a:stretch>
            <a:fillRect/>
          </a:stretch>
        </p:blipFill>
        <p:spPr/>
      </p:pic>
      <p:sp>
        <p:nvSpPr>
          <p:cNvPr id="3" name="Tittel 2">
            <a:extLst>
              <a:ext uri="{FF2B5EF4-FFF2-40B4-BE49-F238E27FC236}">
                <a16:creationId xmlns:a16="http://schemas.microsoft.com/office/drawing/2014/main" id="{F55976B0-31EB-A1B7-1464-9CF196278C6C}"/>
              </a:ext>
            </a:extLst>
          </p:cNvPr>
          <p:cNvSpPr>
            <a:spLocks noGrp="1"/>
          </p:cNvSpPr>
          <p:nvPr>
            <p:ph type="title"/>
          </p:nvPr>
        </p:nvSpPr>
        <p:spPr/>
        <p:txBody>
          <a:bodyPr/>
          <a:lstStyle/>
          <a:p>
            <a:r>
              <a:rPr lang="nb-NO" dirty="0">
                <a:solidFill>
                  <a:schemeClr val="bg1"/>
                </a:solidFill>
              </a:rPr>
              <a:t>Første støp med CCS betong</a:t>
            </a:r>
          </a:p>
        </p:txBody>
      </p:sp>
      <p:sp>
        <p:nvSpPr>
          <p:cNvPr id="8" name="Plassholder for tekst 7">
            <a:extLst>
              <a:ext uri="{FF2B5EF4-FFF2-40B4-BE49-F238E27FC236}">
                <a16:creationId xmlns:a16="http://schemas.microsoft.com/office/drawing/2014/main" id="{80AB63BA-1EF4-0103-BEF0-DA04998FFD2A}"/>
              </a:ext>
            </a:extLst>
          </p:cNvPr>
          <p:cNvSpPr>
            <a:spLocks noGrp="1"/>
          </p:cNvSpPr>
          <p:nvPr>
            <p:ph type="body" sz="quarter" idx="21"/>
          </p:nvPr>
        </p:nvSpPr>
        <p:spPr/>
        <p:txBody>
          <a:bodyPr/>
          <a:lstStyle/>
          <a:p>
            <a:r>
              <a:rPr lang="nb-NO" dirty="0"/>
              <a:t>Skøyen Stasjon</a:t>
            </a:r>
          </a:p>
        </p:txBody>
      </p:sp>
      <p:pic>
        <p:nvPicPr>
          <p:cNvPr id="15" name="Bilde 14">
            <a:extLst>
              <a:ext uri="{FF2B5EF4-FFF2-40B4-BE49-F238E27FC236}">
                <a16:creationId xmlns:a16="http://schemas.microsoft.com/office/drawing/2014/main" id="{EFD61A84-269A-489D-98A1-90EF7B4168B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1521" y="2091582"/>
            <a:ext cx="3814741" cy="3520643"/>
          </a:xfrm>
          <a:prstGeom prst="rect">
            <a:avLst/>
          </a:prstGeom>
        </p:spPr>
      </p:pic>
    </p:spTree>
    <p:extLst>
      <p:ext uri="{BB962C8B-B14F-4D97-AF65-F5344CB8AC3E}">
        <p14:creationId xmlns:p14="http://schemas.microsoft.com/office/powerpoint/2010/main" val="17976459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7C37BDB9-73B4-FA17-444F-6C053BC06E2B}"/>
              </a:ext>
            </a:extLst>
          </p:cNvPr>
          <p:cNvSpPr>
            <a:spLocks noGrp="1"/>
          </p:cNvSpPr>
          <p:nvPr>
            <p:ph type="title"/>
          </p:nvPr>
        </p:nvSpPr>
        <p:spPr>
          <a:xfrm>
            <a:off x="539488" y="649838"/>
            <a:ext cx="5520000" cy="1008135"/>
          </a:xfrm>
        </p:spPr>
        <p:txBody>
          <a:bodyPr/>
          <a:lstStyle/>
          <a:p>
            <a:r>
              <a:rPr lang="nb-NO" dirty="0"/>
              <a:t>Optimalt uttak, håndtering og nyttiggjøring av ressurser</a:t>
            </a:r>
          </a:p>
        </p:txBody>
      </p:sp>
      <p:sp>
        <p:nvSpPr>
          <p:cNvPr id="5" name="Plassholder for tekst 4">
            <a:extLst>
              <a:ext uri="{FF2B5EF4-FFF2-40B4-BE49-F238E27FC236}">
                <a16:creationId xmlns:a16="http://schemas.microsoft.com/office/drawing/2014/main" id="{D173AC15-3A55-07CC-2607-647A973B6D8D}"/>
              </a:ext>
            </a:extLst>
          </p:cNvPr>
          <p:cNvSpPr>
            <a:spLocks noGrp="1"/>
          </p:cNvSpPr>
          <p:nvPr>
            <p:ph type="body" sz="quarter" idx="18"/>
          </p:nvPr>
        </p:nvSpPr>
        <p:spPr/>
        <p:txBody>
          <a:bodyPr/>
          <a:lstStyle/>
          <a:p>
            <a:endParaRPr lang="nb-NO"/>
          </a:p>
        </p:txBody>
      </p:sp>
      <p:pic>
        <p:nvPicPr>
          <p:cNvPr id="11" name="Bilde 10">
            <a:extLst>
              <a:ext uri="{FF2B5EF4-FFF2-40B4-BE49-F238E27FC236}">
                <a16:creationId xmlns:a16="http://schemas.microsoft.com/office/drawing/2014/main" id="{19041FDA-4847-AAD6-AE86-E5EFC3F753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9488" y="1900710"/>
            <a:ext cx="4032512" cy="4028011"/>
          </a:xfrm>
          <a:prstGeom prst="rect">
            <a:avLst/>
          </a:prstGeom>
        </p:spPr>
      </p:pic>
      <p:sp>
        <p:nvSpPr>
          <p:cNvPr id="7" name="Picture Placeholder 6">
            <a:extLst>
              <a:ext uri="{FF2B5EF4-FFF2-40B4-BE49-F238E27FC236}">
                <a16:creationId xmlns:a16="http://schemas.microsoft.com/office/drawing/2014/main" id="{2DB5F41D-0134-7CB8-6B98-F820E8CE5003}"/>
              </a:ext>
            </a:extLst>
          </p:cNvPr>
          <p:cNvSpPr>
            <a:spLocks noGrp="1"/>
          </p:cNvSpPr>
          <p:nvPr>
            <p:ph type="pic" sz="quarter" idx="17"/>
          </p:nvPr>
        </p:nvSpPr>
        <p:spPr/>
        <p:txBody>
          <a:bodyPr/>
          <a:lstStyle/>
          <a:p>
            <a:endParaRPr lang="nb-NO"/>
          </a:p>
        </p:txBody>
      </p:sp>
      <p:pic>
        <p:nvPicPr>
          <p:cNvPr id="2" name="Picture Placeholder 6">
            <a:extLst>
              <a:ext uri="{FF2B5EF4-FFF2-40B4-BE49-F238E27FC236}">
                <a16:creationId xmlns:a16="http://schemas.microsoft.com/office/drawing/2014/main" id="{976F9FFF-1347-33A0-3DEC-4A2DC034EAFF}"/>
              </a:ext>
            </a:extLst>
          </p:cNvPr>
          <p:cNvPicPr>
            <a:picLocks noChangeAspect="1"/>
          </p:cNvPicPr>
          <p:nvPr/>
        </p:nvPicPr>
        <p:blipFill>
          <a:blip r:embed="rId4">
            <a:extLst>
              <a:ext uri="{28A0092B-C50C-407E-A947-70E740481C1C}">
                <a14:useLocalDpi xmlns:a14="http://schemas.microsoft.com/office/drawing/2010/main" val="0"/>
              </a:ext>
            </a:extLst>
          </a:blip>
          <a:srcRect t="12500" b="12500"/>
          <a:stretch>
            <a:fillRect/>
          </a:stretch>
        </p:blipFill>
        <p:spPr>
          <a:xfrm>
            <a:off x="6105524" y="3432175"/>
            <a:ext cx="6096000" cy="3429000"/>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p:spPr>
      </p:pic>
      <p:pic>
        <p:nvPicPr>
          <p:cNvPr id="4" name="Picture Placeholder 11">
            <a:extLst>
              <a:ext uri="{FF2B5EF4-FFF2-40B4-BE49-F238E27FC236}">
                <a16:creationId xmlns:a16="http://schemas.microsoft.com/office/drawing/2014/main" id="{70E61D43-3E4B-49FD-5A7C-88D3106B6A60}"/>
              </a:ext>
            </a:extLst>
          </p:cNvPr>
          <p:cNvPicPr>
            <a:picLocks noChangeAspect="1"/>
          </p:cNvPicPr>
          <p:nvPr/>
        </p:nvPicPr>
        <p:blipFill>
          <a:blip r:embed="rId5">
            <a:extLst>
              <a:ext uri="{28A0092B-C50C-407E-A947-70E740481C1C}">
                <a14:useLocalDpi xmlns:a14="http://schemas.microsoft.com/office/drawing/2010/main" val="0"/>
              </a:ext>
            </a:extLst>
          </a:blip>
          <a:srcRect t="7813" b="7813"/>
          <a:stretch>
            <a:fillRect/>
          </a:stretch>
        </p:blipFill>
        <p:spPr>
          <a:xfrm>
            <a:off x="6105298" y="3178"/>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p:spPr>
      </p:pic>
    </p:spTree>
    <p:extLst>
      <p:ext uri="{BB962C8B-B14F-4D97-AF65-F5344CB8AC3E}">
        <p14:creationId xmlns:p14="http://schemas.microsoft.com/office/powerpoint/2010/main" val="130719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7C37BDB9-73B4-FA17-444F-6C053BC06E2B}"/>
              </a:ext>
            </a:extLst>
          </p:cNvPr>
          <p:cNvSpPr>
            <a:spLocks noGrp="1"/>
          </p:cNvSpPr>
          <p:nvPr>
            <p:ph type="title"/>
          </p:nvPr>
        </p:nvSpPr>
        <p:spPr>
          <a:xfrm>
            <a:off x="539488" y="649838"/>
            <a:ext cx="5520000" cy="1008135"/>
          </a:xfrm>
        </p:spPr>
        <p:txBody>
          <a:bodyPr/>
          <a:lstStyle/>
          <a:p>
            <a:r>
              <a:rPr lang="nb-NO" dirty="0"/>
              <a:t>På E10 Hålogalandsveien </a:t>
            </a:r>
            <a:br>
              <a:rPr lang="nb-NO" dirty="0"/>
            </a:br>
            <a:r>
              <a:rPr lang="nb-NO" dirty="0"/>
              <a:t>prøver vi å redusere naturinngrepene våre </a:t>
            </a:r>
          </a:p>
        </p:txBody>
      </p:sp>
      <p:sp>
        <p:nvSpPr>
          <p:cNvPr id="5" name="Plassholder for tekst 4">
            <a:extLst>
              <a:ext uri="{FF2B5EF4-FFF2-40B4-BE49-F238E27FC236}">
                <a16:creationId xmlns:a16="http://schemas.microsoft.com/office/drawing/2014/main" id="{D173AC15-3A55-07CC-2607-647A973B6D8D}"/>
              </a:ext>
            </a:extLst>
          </p:cNvPr>
          <p:cNvSpPr>
            <a:spLocks noGrp="1"/>
          </p:cNvSpPr>
          <p:nvPr>
            <p:ph type="body" sz="quarter" idx="18"/>
          </p:nvPr>
        </p:nvSpPr>
        <p:spPr/>
        <p:txBody>
          <a:bodyPr/>
          <a:lstStyle/>
          <a:p>
            <a:endParaRPr lang="nb-NO"/>
          </a:p>
        </p:txBody>
      </p:sp>
      <p:pic>
        <p:nvPicPr>
          <p:cNvPr id="9" name="Plassholder for bilde 8">
            <a:extLst>
              <a:ext uri="{FF2B5EF4-FFF2-40B4-BE49-F238E27FC236}">
                <a16:creationId xmlns:a16="http://schemas.microsoft.com/office/drawing/2014/main" id="{31F2D496-D6B9-D0F3-B002-28AAD6DC2587}"/>
              </a:ext>
            </a:extLst>
          </p:cNvPr>
          <p:cNvPicPr>
            <a:picLocks noGrp="1" noChangeAspect="1"/>
          </p:cNvPicPr>
          <p:nvPr>
            <p:ph type="pic" sz="quarter" idx="17"/>
          </p:nvPr>
        </p:nvPicPr>
        <p:blipFill>
          <a:blip r:embed="rId3">
            <a:extLst>
              <a:ext uri="{28A0092B-C50C-407E-A947-70E740481C1C}">
                <a14:useLocalDpi xmlns:a14="http://schemas.microsoft.com/office/drawing/2010/main" val="0"/>
              </a:ext>
            </a:extLst>
          </a:blip>
          <a:srcRect l="24901" r="24901"/>
          <a:stretch>
            <a:fillRect/>
          </a:stretch>
        </p:blipFill>
        <p:spPr>
          <a:xfrm>
            <a:off x="6059488" y="0"/>
            <a:ext cx="6132512" cy="6870700"/>
          </a:xfrm>
        </p:spPr>
      </p:pic>
      <p:pic>
        <p:nvPicPr>
          <p:cNvPr id="11" name="Bilde 10">
            <a:extLst>
              <a:ext uri="{FF2B5EF4-FFF2-40B4-BE49-F238E27FC236}">
                <a16:creationId xmlns:a16="http://schemas.microsoft.com/office/drawing/2014/main" id="{19041FDA-4847-AAD6-AE86-E5EFC3F753D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9488" y="1900710"/>
            <a:ext cx="4032512" cy="4028011"/>
          </a:xfrm>
          <a:prstGeom prst="rect">
            <a:avLst/>
          </a:prstGeom>
        </p:spPr>
      </p:pic>
    </p:spTree>
    <p:extLst>
      <p:ext uri="{BB962C8B-B14F-4D97-AF65-F5344CB8AC3E}">
        <p14:creationId xmlns:p14="http://schemas.microsoft.com/office/powerpoint/2010/main" val="3073228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a:extLst>
            <a:ext uri="{FF2B5EF4-FFF2-40B4-BE49-F238E27FC236}">
              <a16:creationId xmlns:a16="http://schemas.microsoft.com/office/drawing/2014/main" id="{D5CB8488-BE5A-712A-C005-84EEA0DF1EBC}"/>
            </a:ext>
          </a:extLst>
        </p:cNvPr>
        <p:cNvGrpSpPr/>
        <p:nvPr/>
      </p:nvGrpSpPr>
      <p:grpSpPr>
        <a:xfrm>
          <a:off x="0" y="0"/>
          <a:ext cx="0" cy="0"/>
          <a:chOff x="0" y="0"/>
          <a:chExt cx="0" cy="0"/>
        </a:xfrm>
      </p:grpSpPr>
      <p:pic>
        <p:nvPicPr>
          <p:cNvPr id="8" name="Plassholder for bilde 7">
            <a:extLst>
              <a:ext uri="{FF2B5EF4-FFF2-40B4-BE49-F238E27FC236}">
                <a16:creationId xmlns:a16="http://schemas.microsoft.com/office/drawing/2014/main" id="{6B43C4F2-3881-7940-11B5-295861B516AD}"/>
              </a:ext>
            </a:extLst>
          </p:cNvPr>
          <p:cNvPicPr>
            <a:picLocks noGrp="1" noChangeAspect="1"/>
          </p:cNvPicPr>
          <p:nvPr>
            <p:ph type="pic" sz="quarter" idx="18"/>
          </p:nvPr>
        </p:nvPicPr>
        <p:blipFill>
          <a:blip r:embed="rId4">
            <a:extLst>
              <a:ext uri="{28A0092B-C50C-407E-A947-70E740481C1C}">
                <a14:useLocalDpi xmlns:a14="http://schemas.microsoft.com/office/drawing/2010/main" val="0"/>
              </a:ext>
            </a:extLst>
          </a:blip>
          <a:srcRect l="20445" r="20445"/>
          <a:stretch/>
        </p:blipFill>
        <p:spPr/>
      </p:pic>
      <p:sp>
        <p:nvSpPr>
          <p:cNvPr id="3" name="Tittel 2">
            <a:extLst>
              <a:ext uri="{FF2B5EF4-FFF2-40B4-BE49-F238E27FC236}">
                <a16:creationId xmlns:a16="http://schemas.microsoft.com/office/drawing/2014/main" id="{70B9D102-DC98-89EA-C012-B8FE125987AD}"/>
              </a:ext>
            </a:extLst>
          </p:cNvPr>
          <p:cNvSpPr>
            <a:spLocks noGrp="1"/>
          </p:cNvSpPr>
          <p:nvPr>
            <p:ph type="title"/>
          </p:nvPr>
        </p:nvSpPr>
        <p:spPr/>
        <p:txBody>
          <a:bodyPr/>
          <a:lstStyle/>
          <a:p>
            <a:r>
              <a:rPr lang="nb-NO" dirty="0">
                <a:solidFill>
                  <a:schemeClr val="bg1"/>
                </a:solidFill>
              </a:rPr>
              <a:t>Forskningsprosjektet </a:t>
            </a:r>
            <a:r>
              <a:rPr lang="nb-NO" dirty="0" err="1">
                <a:solidFill>
                  <a:schemeClr val="bg1"/>
                </a:solidFill>
              </a:rPr>
              <a:t>SirkBygg</a:t>
            </a:r>
            <a:endParaRPr lang="nb-NO" dirty="0">
              <a:solidFill>
                <a:schemeClr val="bg1"/>
              </a:solidFill>
            </a:endParaRPr>
          </a:p>
        </p:txBody>
      </p:sp>
      <p:sp>
        <p:nvSpPr>
          <p:cNvPr id="12" name="Plassholder for tekst 11">
            <a:extLst>
              <a:ext uri="{FF2B5EF4-FFF2-40B4-BE49-F238E27FC236}">
                <a16:creationId xmlns:a16="http://schemas.microsoft.com/office/drawing/2014/main" id="{005A447B-6E0C-AD2A-4868-6455243642DB}"/>
              </a:ext>
            </a:extLst>
          </p:cNvPr>
          <p:cNvSpPr>
            <a:spLocks noGrp="1"/>
          </p:cNvSpPr>
          <p:nvPr>
            <p:ph type="body" sz="quarter" idx="21"/>
          </p:nvPr>
        </p:nvSpPr>
        <p:spPr/>
        <p:txBody>
          <a:bodyPr/>
          <a:lstStyle/>
          <a:p>
            <a:endParaRPr lang="nb-NO"/>
          </a:p>
        </p:txBody>
      </p:sp>
      <p:pic>
        <p:nvPicPr>
          <p:cNvPr id="14" name="Picture 8">
            <a:extLst>
              <a:ext uri="{FF2B5EF4-FFF2-40B4-BE49-F238E27FC236}">
                <a16:creationId xmlns:a16="http://schemas.microsoft.com/office/drawing/2014/main" id="{E11215C8-6623-8C2C-88A8-31174F5FDCFE}"/>
              </a:ext>
            </a:extLst>
          </p:cNvPr>
          <p:cNvPicPr>
            <a:picLocks noChangeAspect="1"/>
          </p:cNvPicPr>
          <p:nvPr/>
        </p:nvPicPr>
        <p:blipFill>
          <a:blip r:embed="rId5"/>
          <a:stretch>
            <a:fillRect/>
          </a:stretch>
        </p:blipFill>
        <p:spPr>
          <a:xfrm>
            <a:off x="892186" y="2235080"/>
            <a:ext cx="3610658" cy="3610658"/>
          </a:xfrm>
          <a:prstGeom prst="rect">
            <a:avLst/>
          </a:prstGeom>
        </p:spPr>
      </p:pic>
    </p:spTree>
    <p:extLst>
      <p:ext uri="{BB962C8B-B14F-4D97-AF65-F5344CB8AC3E}">
        <p14:creationId xmlns:p14="http://schemas.microsoft.com/office/powerpoint/2010/main" val="5150075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7C37BDB9-73B4-FA17-444F-6C053BC06E2B}"/>
              </a:ext>
            </a:extLst>
          </p:cNvPr>
          <p:cNvSpPr>
            <a:spLocks noGrp="1"/>
          </p:cNvSpPr>
          <p:nvPr>
            <p:ph type="title"/>
          </p:nvPr>
        </p:nvSpPr>
        <p:spPr>
          <a:xfrm>
            <a:off x="296419" y="1056353"/>
            <a:ext cx="5520000" cy="1008135"/>
          </a:xfrm>
        </p:spPr>
        <p:txBody>
          <a:bodyPr/>
          <a:lstStyle/>
          <a:p>
            <a:pPr algn="ctr"/>
            <a:r>
              <a:rPr lang="nb-NO" dirty="0"/>
              <a:t>Ha det gøy med oppgaven!</a:t>
            </a:r>
            <a:br>
              <a:rPr lang="nb-NO" dirty="0"/>
            </a:br>
            <a:endParaRPr lang="nb-NO" dirty="0"/>
          </a:p>
        </p:txBody>
      </p:sp>
      <p:sp>
        <p:nvSpPr>
          <p:cNvPr id="5" name="Plassholder for tekst 4">
            <a:extLst>
              <a:ext uri="{FF2B5EF4-FFF2-40B4-BE49-F238E27FC236}">
                <a16:creationId xmlns:a16="http://schemas.microsoft.com/office/drawing/2014/main" id="{D173AC15-3A55-07CC-2607-647A973B6D8D}"/>
              </a:ext>
            </a:extLst>
          </p:cNvPr>
          <p:cNvSpPr>
            <a:spLocks noGrp="1"/>
          </p:cNvSpPr>
          <p:nvPr>
            <p:ph type="body" sz="quarter" idx="18"/>
          </p:nvPr>
        </p:nvSpPr>
        <p:spPr/>
        <p:txBody>
          <a:bodyPr/>
          <a:lstStyle/>
          <a:p>
            <a:endParaRPr lang="nb-NO"/>
          </a:p>
        </p:txBody>
      </p:sp>
      <p:pic>
        <p:nvPicPr>
          <p:cNvPr id="9" name="Picture 8">
            <a:extLst>
              <a:ext uri="{FF2B5EF4-FFF2-40B4-BE49-F238E27FC236}">
                <a16:creationId xmlns:a16="http://schemas.microsoft.com/office/drawing/2014/main" id="{CE54FCDB-13A9-B028-5B69-2C4E74BB4A21}"/>
              </a:ext>
            </a:extLst>
          </p:cNvPr>
          <p:cNvPicPr>
            <a:picLocks noChangeAspect="1"/>
          </p:cNvPicPr>
          <p:nvPr/>
        </p:nvPicPr>
        <p:blipFill>
          <a:blip r:embed="rId3"/>
          <a:stretch>
            <a:fillRect/>
          </a:stretch>
        </p:blipFill>
        <p:spPr>
          <a:xfrm>
            <a:off x="1115023" y="2235020"/>
            <a:ext cx="3656822" cy="3656822"/>
          </a:xfrm>
          <a:prstGeom prst="rect">
            <a:avLst/>
          </a:prstGeom>
        </p:spPr>
      </p:pic>
      <p:pic>
        <p:nvPicPr>
          <p:cNvPr id="6" name="Picture 5">
            <a:extLst>
              <a:ext uri="{FF2B5EF4-FFF2-40B4-BE49-F238E27FC236}">
                <a16:creationId xmlns:a16="http://schemas.microsoft.com/office/drawing/2014/main" id="{864065EA-6E64-7206-679C-86700F07C8A3}"/>
              </a:ext>
            </a:extLst>
          </p:cNvPr>
          <p:cNvPicPr>
            <a:picLocks noChangeAspect="1"/>
          </p:cNvPicPr>
          <p:nvPr/>
        </p:nvPicPr>
        <p:blipFill rotWithShape="1">
          <a:blip r:embed="rId4">
            <a:extLst>
              <a:ext uri="{28A0092B-C50C-407E-A947-70E740481C1C}">
                <a14:useLocalDpi xmlns:a14="http://schemas.microsoft.com/office/drawing/2010/main" val="0"/>
              </a:ext>
            </a:extLst>
          </a:blip>
          <a:srcRect l="4771" r="10882"/>
          <a:stretch/>
        </p:blipFill>
        <p:spPr>
          <a:xfrm rot="5400000">
            <a:off x="5713981" y="379982"/>
            <a:ext cx="6858002" cy="6098037"/>
          </a:xfrm>
          <a:prstGeom prst="rect">
            <a:avLst/>
          </a:prstGeom>
        </p:spPr>
      </p:pic>
    </p:spTree>
    <p:extLst>
      <p:ext uri="{BB962C8B-B14F-4D97-AF65-F5344CB8AC3E}">
        <p14:creationId xmlns:p14="http://schemas.microsoft.com/office/powerpoint/2010/main" val="110774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13">
            <a:extLst>
              <a:ext uri="{FF2B5EF4-FFF2-40B4-BE49-F238E27FC236}">
                <a16:creationId xmlns:a16="http://schemas.microsoft.com/office/drawing/2014/main" id="{5A33C0E6-E145-29E4-D7AB-729DCDC8B088}"/>
              </a:ext>
            </a:extLst>
          </p:cNvPr>
          <p:cNvPicPr>
            <a:picLocks noGrp="1" noChangeAspect="1"/>
          </p:cNvPicPr>
          <p:nvPr>
            <p:ph type="pic" sz="quarter" idx="13"/>
          </p:nvPr>
        </p:nvPicPr>
        <p:blipFill rotWithShape="1">
          <a:blip r:embed="rId3">
            <a:extLst>
              <a:ext uri="{28A0092B-C50C-407E-A947-70E740481C1C}">
                <a14:useLocalDpi xmlns:a14="http://schemas.microsoft.com/office/drawing/2010/main" val="0"/>
              </a:ext>
            </a:extLst>
          </a:blip>
          <a:srcRect l="6" r="6"/>
          <a:stretch/>
        </p:blipFill>
        <p:spPr>
          <a:xfrm>
            <a:off x="0" y="0"/>
            <a:ext cx="12192000" cy="6858000"/>
          </a:xfrm>
        </p:spPr>
      </p:pic>
      <p:sp>
        <p:nvSpPr>
          <p:cNvPr id="3" name="Plassholder for bunntekst 2">
            <a:extLst>
              <a:ext uri="{FF2B5EF4-FFF2-40B4-BE49-F238E27FC236}">
                <a16:creationId xmlns:a16="http://schemas.microsoft.com/office/drawing/2014/main" id="{6F2FD147-4F0A-3B05-756F-BCA47F8E88B8}"/>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50" normalizeH="0" baseline="0" noProof="0">
                <a:ln>
                  <a:noFill/>
                </a:ln>
                <a:solidFill>
                  <a:srgbClr val="FFFFFF"/>
                </a:solidFill>
                <a:effectLst/>
                <a:uLnTx/>
                <a:uFillTx/>
                <a:latin typeface="Arial"/>
                <a:ea typeface="+mn-ea"/>
                <a:cs typeface="+mn-cs"/>
              </a:rPr>
              <a:t>Skanskas rammeverk for bærekraft</a:t>
            </a:r>
          </a:p>
        </p:txBody>
      </p:sp>
      <p:sp>
        <p:nvSpPr>
          <p:cNvPr id="4" name="Plassholder for lysbildenummer 3">
            <a:extLst>
              <a:ext uri="{FF2B5EF4-FFF2-40B4-BE49-F238E27FC236}">
                <a16:creationId xmlns:a16="http://schemas.microsoft.com/office/drawing/2014/main" id="{B5881D0C-D26B-AFEB-C353-9467EE01033C}"/>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8DBD5B-30F9-4F9C-AE39-E065C1AC514D}" type="slidenum">
              <a:rPr kumimoji="0" lang="en-US" sz="800" b="0" i="0" u="none" strike="noStrike" kern="1200" cap="none" spc="5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50" normalizeH="0" baseline="0" noProof="0">
              <a:ln>
                <a:noFill/>
              </a:ln>
              <a:solidFill>
                <a:srgbClr val="FFFFFF"/>
              </a:solidFill>
              <a:effectLst/>
              <a:uLnTx/>
              <a:uFillTx/>
              <a:latin typeface="Arial"/>
              <a:ea typeface="+mn-ea"/>
              <a:cs typeface="+mn-cs"/>
            </a:endParaRPr>
          </a:p>
        </p:txBody>
      </p:sp>
      <p:sp>
        <p:nvSpPr>
          <p:cNvPr id="5" name="Plassholder for tekst 4">
            <a:extLst>
              <a:ext uri="{FF2B5EF4-FFF2-40B4-BE49-F238E27FC236}">
                <a16:creationId xmlns:a16="http://schemas.microsoft.com/office/drawing/2014/main" id="{6BC3C46D-1685-CB7A-E6E8-865305112969}"/>
              </a:ext>
            </a:extLst>
          </p:cNvPr>
          <p:cNvSpPr>
            <a:spLocks noGrp="1"/>
          </p:cNvSpPr>
          <p:nvPr>
            <p:ph type="body" sz="quarter" idx="14"/>
          </p:nvPr>
        </p:nvSpPr>
        <p:spPr/>
        <p:txBody>
          <a:bodyPr/>
          <a:lstStyle/>
          <a:p>
            <a:endParaRPr lang="nb-NO"/>
          </a:p>
        </p:txBody>
      </p:sp>
      <p:sp>
        <p:nvSpPr>
          <p:cNvPr id="7" name="Text Placeholder 7">
            <a:extLst>
              <a:ext uri="{FF2B5EF4-FFF2-40B4-BE49-F238E27FC236}">
                <a16:creationId xmlns:a16="http://schemas.microsoft.com/office/drawing/2014/main" id="{68A3F2F9-94F5-D8CC-A9CF-31CE5D82EB52}"/>
              </a:ext>
            </a:extLst>
          </p:cNvPr>
          <p:cNvSpPr txBox="1">
            <a:spLocks/>
          </p:cNvSpPr>
          <p:nvPr/>
        </p:nvSpPr>
        <p:spPr>
          <a:xfrm>
            <a:off x="267856" y="512797"/>
            <a:ext cx="5458689" cy="2646192"/>
          </a:xfrm>
          <a:prstGeom prst="rect">
            <a:avLst/>
          </a:prstGeom>
        </p:spPr>
        <p:txBody>
          <a:bodyPr vert="horz" lIns="180000" tIns="180000" rIns="0" bIns="180000" rtlCol="0" anchor="ctr">
            <a:spAutoFit/>
          </a:bodyPr>
          <a:lstStyle>
            <a:lvl1pPr marL="6350" indent="0" algn="l" defTabSz="914400" rtl="0" eaLnBrk="1" latinLnBrk="0" hangingPunct="1">
              <a:lnSpc>
                <a:spcPct val="100000"/>
              </a:lnSpc>
              <a:spcBef>
                <a:spcPts val="1000"/>
              </a:spcBef>
              <a:spcAft>
                <a:spcPts val="0"/>
              </a:spcAft>
              <a:buFont typeface="Arial" panose="020B0604020202020204" pitchFamily="34" charset="0"/>
              <a:buNone/>
              <a:tabLst/>
              <a:defRPr sz="800" kern="1200" spc="40" baseline="0">
                <a:solidFill>
                  <a:schemeClr val="tx2"/>
                </a:solidFill>
                <a:latin typeface="+mn-lt"/>
                <a:ea typeface="+mn-ea"/>
                <a:cs typeface="+mn-cs"/>
              </a:defRPr>
            </a:lvl1pPr>
            <a:lvl2pPr marL="180975" indent="0" algn="l" defTabSz="914400" rtl="0" eaLnBrk="1" latinLnBrk="0" hangingPunct="1">
              <a:lnSpc>
                <a:spcPct val="100000"/>
              </a:lnSpc>
              <a:spcBef>
                <a:spcPts val="500"/>
              </a:spcBef>
              <a:spcAft>
                <a:spcPts val="0"/>
              </a:spcAft>
              <a:buFont typeface="Arial" panose="020B0604020202020204" pitchFamily="34" charset="0"/>
              <a:buNone/>
              <a:tabLst/>
              <a:defRPr sz="800" kern="1200" spc="40" baseline="0">
                <a:solidFill>
                  <a:schemeClr val="tx2"/>
                </a:solidFill>
                <a:latin typeface="+mn-lt"/>
                <a:ea typeface="+mn-ea"/>
                <a:cs typeface="+mn-cs"/>
              </a:defRPr>
            </a:lvl2pPr>
            <a:lvl3pPr marL="357188" indent="0" algn="l" defTabSz="914400" rtl="0" eaLnBrk="1" latinLnBrk="0" hangingPunct="1">
              <a:lnSpc>
                <a:spcPct val="100000"/>
              </a:lnSpc>
              <a:spcBef>
                <a:spcPts val="500"/>
              </a:spcBef>
              <a:spcAft>
                <a:spcPts val="0"/>
              </a:spcAft>
              <a:buFont typeface="Arial" panose="020B0604020202020204" pitchFamily="34" charset="0"/>
              <a:buNone/>
              <a:tabLst/>
              <a:defRPr sz="800" kern="1200" spc="40" baseline="0">
                <a:solidFill>
                  <a:schemeClr val="tx2"/>
                </a:solidFill>
                <a:latin typeface="+mn-lt"/>
                <a:ea typeface="+mn-ea"/>
                <a:cs typeface="+mn-cs"/>
              </a:defRPr>
            </a:lvl3pPr>
            <a:lvl4pPr marL="539563" indent="0" algn="l" defTabSz="914400" rtl="0" eaLnBrk="1" latinLnBrk="0" hangingPunct="1">
              <a:lnSpc>
                <a:spcPct val="100000"/>
              </a:lnSpc>
              <a:spcBef>
                <a:spcPts val="500"/>
              </a:spcBef>
              <a:spcAft>
                <a:spcPts val="0"/>
              </a:spcAft>
              <a:buFont typeface="Arial" panose="020B0604020202020204" pitchFamily="34" charset="0"/>
              <a:buNone/>
              <a:tabLst/>
              <a:defRPr sz="800" kern="1200" spc="40" baseline="0">
                <a:solidFill>
                  <a:schemeClr val="tx2"/>
                </a:solidFill>
                <a:latin typeface="+mn-lt"/>
                <a:ea typeface="+mn-ea"/>
                <a:cs typeface="+mn-cs"/>
              </a:defRPr>
            </a:lvl4pPr>
            <a:lvl5pPr marL="715962" indent="0" algn="l" defTabSz="914400" rtl="0" eaLnBrk="1" latinLnBrk="0" hangingPunct="1">
              <a:lnSpc>
                <a:spcPct val="100000"/>
              </a:lnSpc>
              <a:spcBef>
                <a:spcPts val="500"/>
              </a:spcBef>
              <a:spcAft>
                <a:spcPts val="0"/>
              </a:spcAft>
              <a:buFont typeface="Arial" panose="020B0604020202020204" pitchFamily="34" charset="0"/>
              <a:buNone/>
              <a:tabLst/>
              <a:defRPr sz="800" kern="1200" spc="4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nb-NO" sz="2800" b="1" i="0" u="none" strike="noStrike" kern="1200" cap="none" spc="40" normalizeH="0" baseline="0" noProof="0">
                <a:ln>
                  <a:noFill/>
                </a:ln>
                <a:solidFill>
                  <a:srgbClr val="143275"/>
                </a:solidFill>
                <a:effectLst/>
                <a:uLnTx/>
                <a:uFillTx/>
                <a:latin typeface="Shape Sans" panose="00000500000000000000" pitchFamily="50" charset="0"/>
                <a:ea typeface="+mn-ea"/>
                <a:cs typeface="+mn-cs"/>
              </a:rPr>
              <a:t>Vi skal redusere klimagass-utslippene våre med </a:t>
            </a:r>
            <a:r>
              <a:rPr kumimoji="0" lang="nb-NO" sz="2800" b="1" i="0" u="none" strike="noStrike" kern="1200" cap="none" spc="40" normalizeH="0" baseline="0" noProof="0">
                <a:ln>
                  <a:noFill/>
                </a:ln>
                <a:solidFill>
                  <a:srgbClr val="4B9FA3"/>
                </a:solidFill>
                <a:effectLst/>
                <a:uLnTx/>
                <a:uFillTx/>
                <a:latin typeface="Shape Sans" panose="00000500000000000000" pitchFamily="50" charset="0"/>
                <a:ea typeface="+mn-ea"/>
                <a:cs typeface="+mn-cs"/>
              </a:rPr>
              <a:t>70% </a:t>
            </a:r>
            <a:r>
              <a:rPr kumimoji="0" lang="nb-NO" sz="2800" b="1" i="0" u="none" strike="noStrike" kern="1200" cap="none" spc="40" normalizeH="0" baseline="0" noProof="0">
                <a:ln>
                  <a:noFill/>
                </a:ln>
                <a:solidFill>
                  <a:srgbClr val="143275"/>
                </a:solidFill>
                <a:effectLst/>
                <a:uLnTx/>
                <a:uFillTx/>
                <a:latin typeface="Shape Sans" panose="00000500000000000000" pitchFamily="50" charset="0"/>
                <a:ea typeface="+mn-ea"/>
                <a:cs typeface="+mn-cs"/>
              </a:rPr>
              <a:t>innen 2030. </a:t>
            </a:r>
          </a:p>
          <a:p>
            <a:pPr marL="635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nb-NO" sz="2800" b="1" i="0" u="none" strike="noStrike" kern="1200" cap="none" spc="40" normalizeH="0" baseline="0" noProof="0">
                <a:ln>
                  <a:noFill/>
                </a:ln>
                <a:solidFill>
                  <a:srgbClr val="143275"/>
                </a:solidFill>
                <a:effectLst/>
                <a:uLnTx/>
                <a:uFillTx/>
                <a:latin typeface="Shape Sans" panose="00000500000000000000" pitchFamily="50" charset="0"/>
                <a:ea typeface="+mn-ea"/>
                <a:cs typeface="+mn-cs"/>
              </a:rPr>
              <a:t>Vi skal være </a:t>
            </a:r>
            <a:r>
              <a:rPr kumimoji="0" lang="nb-NO" sz="2800" b="1" i="0" u="none" strike="noStrike" kern="1200" cap="none" spc="40" normalizeH="0" baseline="0" noProof="0">
                <a:ln>
                  <a:noFill/>
                </a:ln>
                <a:solidFill>
                  <a:srgbClr val="4B9FA3"/>
                </a:solidFill>
                <a:effectLst/>
                <a:uLnTx/>
                <a:uFillTx/>
                <a:latin typeface="Shape Sans" panose="00000500000000000000" pitchFamily="50" charset="0"/>
                <a:ea typeface="+mn-ea"/>
                <a:cs typeface="+mn-cs"/>
              </a:rPr>
              <a:t>klimanøytrale</a:t>
            </a:r>
            <a:r>
              <a:rPr kumimoji="0" lang="nb-NO" sz="2800" b="1" i="0" u="none" strike="noStrike" kern="1200" cap="none" spc="40" normalizeH="0" baseline="0" noProof="0">
                <a:ln>
                  <a:noFill/>
                </a:ln>
                <a:solidFill>
                  <a:srgbClr val="143275"/>
                </a:solidFill>
                <a:effectLst/>
                <a:uLnTx/>
                <a:uFillTx/>
                <a:latin typeface="Shape Sans" panose="00000500000000000000" pitchFamily="50" charset="0"/>
                <a:ea typeface="+mn-ea"/>
                <a:cs typeface="+mn-cs"/>
              </a:rPr>
              <a:t> innen 2045.</a:t>
            </a:r>
          </a:p>
        </p:txBody>
      </p:sp>
      <p:sp>
        <p:nvSpPr>
          <p:cNvPr id="8" name="TextBox 16">
            <a:extLst>
              <a:ext uri="{FF2B5EF4-FFF2-40B4-BE49-F238E27FC236}">
                <a16:creationId xmlns:a16="http://schemas.microsoft.com/office/drawing/2014/main" id="{0BBAC38B-85D8-E67A-38E0-7FF0079D7A11}"/>
              </a:ext>
            </a:extLst>
          </p:cNvPr>
          <p:cNvSpPr txBox="1"/>
          <p:nvPr/>
        </p:nvSpPr>
        <p:spPr>
          <a:xfrm>
            <a:off x="452584" y="389687"/>
            <a:ext cx="2167260"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4B9FA3"/>
                </a:solidFill>
                <a:effectLst/>
                <a:uLnTx/>
                <a:uFillTx/>
                <a:latin typeface="Shape Sans Display" panose="00000900000000000000" pitchFamily="50" charset="0"/>
                <a:ea typeface="+mn-ea"/>
                <a:cs typeface="+mn-cs"/>
              </a:rPr>
              <a:t>Skanskas klimaambisjon:</a:t>
            </a:r>
          </a:p>
        </p:txBody>
      </p:sp>
    </p:spTree>
    <p:extLst>
      <p:ext uri="{BB962C8B-B14F-4D97-AF65-F5344CB8AC3E}">
        <p14:creationId xmlns:p14="http://schemas.microsoft.com/office/powerpoint/2010/main" val="26994190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C7A68C-879C-38C5-A57D-EFCEE0CCD5D7}"/>
            </a:ext>
          </a:extLst>
        </p:cNvPr>
        <p:cNvGrpSpPr/>
        <p:nvPr/>
      </p:nvGrpSpPr>
      <p:grpSpPr>
        <a:xfrm>
          <a:off x="0" y="0"/>
          <a:ext cx="0" cy="0"/>
          <a:chOff x="0" y="0"/>
          <a:chExt cx="0" cy="0"/>
        </a:xfrm>
      </p:grpSpPr>
      <p:sp>
        <p:nvSpPr>
          <p:cNvPr id="4" name="Tittel 3">
            <a:extLst>
              <a:ext uri="{FF2B5EF4-FFF2-40B4-BE49-F238E27FC236}">
                <a16:creationId xmlns:a16="http://schemas.microsoft.com/office/drawing/2014/main" id="{2DBC45B8-2E64-AA04-C469-474C9578174C}"/>
              </a:ext>
            </a:extLst>
          </p:cNvPr>
          <p:cNvSpPr>
            <a:spLocks noGrp="1"/>
          </p:cNvSpPr>
          <p:nvPr>
            <p:ph type="title"/>
          </p:nvPr>
        </p:nvSpPr>
        <p:spPr>
          <a:xfrm>
            <a:off x="575999" y="140158"/>
            <a:ext cx="5184000" cy="333619"/>
          </a:xfrm>
        </p:spPr>
        <p:txBody>
          <a:bodyPr/>
          <a:lstStyle/>
          <a:p>
            <a:r>
              <a:rPr lang="nb-NO" sz="1600" dirty="0"/>
              <a:t>Finaleoppgaven:</a:t>
            </a:r>
          </a:p>
        </p:txBody>
      </p:sp>
      <p:sp>
        <p:nvSpPr>
          <p:cNvPr id="5" name="Plassholder for tekst 4">
            <a:extLst>
              <a:ext uri="{FF2B5EF4-FFF2-40B4-BE49-F238E27FC236}">
                <a16:creationId xmlns:a16="http://schemas.microsoft.com/office/drawing/2014/main" id="{7723A637-E0B7-2AB0-C46C-7AE3AB2A1F05}"/>
              </a:ext>
            </a:extLst>
          </p:cNvPr>
          <p:cNvSpPr>
            <a:spLocks noGrp="1"/>
          </p:cNvSpPr>
          <p:nvPr>
            <p:ph type="body" sz="quarter" idx="22"/>
          </p:nvPr>
        </p:nvSpPr>
        <p:spPr>
          <a:xfrm>
            <a:off x="575998" y="357395"/>
            <a:ext cx="7140417" cy="1189153"/>
          </a:xfrm>
        </p:spPr>
        <p:txBody>
          <a:bodyPr/>
          <a:lstStyle/>
          <a:p>
            <a:pPr marL="0" lvl="0" indent="0">
              <a:buNone/>
              <a:defRPr/>
            </a:pPr>
            <a:r>
              <a:rPr lang="nb-NO" sz="3600" b="1" dirty="0"/>
              <a:t>Hvordan blir prosjektene </a:t>
            </a:r>
            <a:br>
              <a:rPr lang="nb-NO" sz="3600" b="1" dirty="0"/>
            </a:br>
            <a:r>
              <a:rPr lang="nb-NO" sz="3600" b="1" dirty="0"/>
              <a:t>våre klimanøytrale?</a:t>
            </a:r>
            <a:br>
              <a:rPr lang="nb-NO" dirty="0"/>
            </a:br>
            <a:endParaRPr lang="nb-NO" dirty="0"/>
          </a:p>
        </p:txBody>
      </p:sp>
      <p:sp>
        <p:nvSpPr>
          <p:cNvPr id="6" name="Plassholder for tekst 5">
            <a:extLst>
              <a:ext uri="{FF2B5EF4-FFF2-40B4-BE49-F238E27FC236}">
                <a16:creationId xmlns:a16="http://schemas.microsoft.com/office/drawing/2014/main" id="{42ADFF78-BCB7-38E5-70B5-468278E4FDA9}"/>
              </a:ext>
            </a:extLst>
          </p:cNvPr>
          <p:cNvSpPr>
            <a:spLocks noGrp="1"/>
          </p:cNvSpPr>
          <p:nvPr>
            <p:ph type="body" sz="quarter" idx="16"/>
          </p:nvPr>
        </p:nvSpPr>
        <p:spPr/>
        <p:txBody>
          <a:bodyPr/>
          <a:lstStyle/>
          <a:p>
            <a:endParaRPr lang="nb-NO"/>
          </a:p>
        </p:txBody>
      </p:sp>
      <p:sp>
        <p:nvSpPr>
          <p:cNvPr id="7" name="Plassholder for tekst 6">
            <a:extLst>
              <a:ext uri="{FF2B5EF4-FFF2-40B4-BE49-F238E27FC236}">
                <a16:creationId xmlns:a16="http://schemas.microsoft.com/office/drawing/2014/main" id="{A66C5D3A-DCAB-938D-14FE-89163F3B7044}"/>
              </a:ext>
            </a:extLst>
          </p:cNvPr>
          <p:cNvSpPr>
            <a:spLocks noGrp="1"/>
          </p:cNvSpPr>
          <p:nvPr>
            <p:ph type="body" sz="quarter" idx="23"/>
          </p:nvPr>
        </p:nvSpPr>
        <p:spPr/>
        <p:txBody>
          <a:bodyPr/>
          <a:lstStyle/>
          <a:p>
            <a:endParaRPr lang="nb-NO"/>
          </a:p>
        </p:txBody>
      </p:sp>
      <p:sp>
        <p:nvSpPr>
          <p:cNvPr id="16" name="TekstSylinder 15">
            <a:extLst>
              <a:ext uri="{FF2B5EF4-FFF2-40B4-BE49-F238E27FC236}">
                <a16:creationId xmlns:a16="http://schemas.microsoft.com/office/drawing/2014/main" id="{44CC8837-29EC-EF7F-BA75-53BFE38DFBF3}"/>
              </a:ext>
            </a:extLst>
          </p:cNvPr>
          <p:cNvSpPr txBox="1"/>
          <p:nvPr/>
        </p:nvSpPr>
        <p:spPr>
          <a:xfrm>
            <a:off x="575997" y="1546548"/>
            <a:ext cx="6963136" cy="564770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1500"/>
              </a:spcBef>
              <a:spcAft>
                <a:spcPts val="300"/>
              </a:spcAft>
              <a:buClrTx/>
              <a:buSzTx/>
              <a:buFont typeface="Arial" panose="020B0604020202020204" pitchFamily="34" charset="0"/>
              <a:buNone/>
              <a:tabLst/>
              <a:defRPr/>
            </a:pPr>
            <a:r>
              <a:rPr kumimoji="0" lang="nb-NO" sz="1600" b="0" i="0" u="none" strike="noStrike" kern="1200" cap="none" spc="40" normalizeH="0" baseline="0" noProof="0" dirty="0">
                <a:ln>
                  <a:noFill/>
                </a:ln>
                <a:solidFill>
                  <a:srgbClr val="143275"/>
                </a:solidFill>
                <a:effectLst/>
                <a:uLnTx/>
                <a:uFillTx/>
                <a:latin typeface="Shape Sans"/>
                <a:ea typeface="+mn-ea"/>
                <a:cs typeface="+mn-cs"/>
              </a:rPr>
              <a:t>Ta utgangspunkt i enten Lindesnes helsehus eller OPS Hålogalandsveien, og kom med forslag til løsninger som bidrar til at prosjektet blir klimanøytralt. </a:t>
            </a:r>
            <a:br>
              <a:rPr kumimoji="0" lang="nb-NO" sz="1600" b="0" i="0" u="none" strike="noStrike" kern="1200" cap="none" spc="40" normalizeH="0" baseline="0" noProof="0" dirty="0">
                <a:ln>
                  <a:noFill/>
                </a:ln>
                <a:solidFill>
                  <a:srgbClr val="143275"/>
                </a:solidFill>
                <a:effectLst/>
                <a:uLnTx/>
                <a:uFillTx/>
                <a:latin typeface="Shape Sans"/>
                <a:ea typeface="+mn-ea"/>
                <a:cs typeface="+mn-cs"/>
              </a:rPr>
            </a:br>
            <a:br>
              <a:rPr kumimoji="0" lang="nb-NO" sz="1600" b="0" i="0" u="none" strike="noStrike" kern="1200" cap="none" spc="40" normalizeH="0" baseline="0" noProof="0" dirty="0">
                <a:ln>
                  <a:noFill/>
                </a:ln>
                <a:solidFill>
                  <a:srgbClr val="143275"/>
                </a:solidFill>
                <a:effectLst/>
                <a:uLnTx/>
                <a:uFillTx/>
                <a:latin typeface="Shape Sans"/>
                <a:ea typeface="+mn-ea"/>
                <a:cs typeface="+mn-cs"/>
              </a:rPr>
            </a:br>
            <a:r>
              <a:rPr kumimoji="0" lang="nb-NO" sz="1600" b="0" i="0" u="none" strike="noStrike" kern="1200" cap="none" spc="40" normalizeH="0" baseline="0" noProof="0" dirty="0">
                <a:ln>
                  <a:noFill/>
                </a:ln>
                <a:solidFill>
                  <a:srgbClr val="143275"/>
                </a:solidFill>
                <a:effectLst/>
                <a:uLnTx/>
                <a:uFillTx/>
                <a:latin typeface="Shape Sans"/>
                <a:ea typeface="+mn-ea"/>
                <a:cs typeface="+mn-cs"/>
              </a:rPr>
              <a:t>Tenk at dere er i planleggingsfasen og prosjektene ikke har startet ennå. Hvordan ville dere da ha tenkt og hvilke tiltak ville dere da ha satt i gang for at prosjektet skulle bli klimanøytralt? </a:t>
            </a:r>
          </a:p>
          <a:p>
            <a:pPr marL="0" marR="0" lvl="0" indent="0" algn="l" defTabSz="914400" rtl="0" eaLnBrk="1" fontAlgn="auto" latinLnBrk="0" hangingPunct="1">
              <a:lnSpc>
                <a:spcPct val="100000"/>
              </a:lnSpc>
              <a:spcBef>
                <a:spcPts val="1500"/>
              </a:spcBef>
              <a:spcAft>
                <a:spcPts val="300"/>
              </a:spcAft>
              <a:buClrTx/>
              <a:buSzTx/>
              <a:buFont typeface="Arial" panose="020B0604020202020204" pitchFamily="34" charset="0"/>
              <a:buNone/>
              <a:tabLst/>
              <a:defRPr/>
            </a:pPr>
            <a:r>
              <a:rPr kumimoji="0" lang="nb-NO" sz="1600" b="0" i="0" u="none" strike="noStrike" kern="1200" cap="none" spc="40" normalizeH="0" baseline="0" noProof="0" dirty="0">
                <a:ln>
                  <a:noFill/>
                </a:ln>
                <a:solidFill>
                  <a:srgbClr val="143275"/>
                </a:solidFill>
                <a:effectLst/>
                <a:uLnTx/>
                <a:uFillTx/>
                <a:latin typeface="Shape Sans"/>
                <a:ea typeface="+mn-ea"/>
                <a:cs typeface="+mn-cs"/>
              </a:rPr>
              <a:t>Det skal bygges like mange omsorgsplasser på Lindesnes helsehus, og det er like mange kilometer vei, broer og tunneler som skal bygges på OPS Hålogalandsveien, men dere er som sagt i planleggingsfasen og prosjektene skal ikke overleveres før i 2030. </a:t>
            </a:r>
          </a:p>
          <a:p>
            <a:pPr marL="0" marR="0" lvl="0" indent="0" algn="l" defTabSz="914400" rtl="0" eaLnBrk="1" fontAlgn="auto" latinLnBrk="0" hangingPunct="1">
              <a:lnSpc>
                <a:spcPct val="100000"/>
              </a:lnSpc>
              <a:spcBef>
                <a:spcPts val="1500"/>
              </a:spcBef>
              <a:spcAft>
                <a:spcPts val="300"/>
              </a:spcAft>
              <a:buClrTx/>
              <a:buSzTx/>
              <a:buFont typeface="Arial" panose="020B0604020202020204" pitchFamily="34" charset="0"/>
              <a:buNone/>
              <a:tabLst/>
              <a:defRPr/>
            </a:pPr>
            <a:r>
              <a:rPr kumimoji="0" lang="nb-NO" sz="1600" b="1" i="0" u="none" strike="noStrike" kern="1200" cap="none" spc="40" normalizeH="0" baseline="0" noProof="0" dirty="0">
                <a:ln>
                  <a:noFill/>
                </a:ln>
                <a:solidFill>
                  <a:srgbClr val="143275"/>
                </a:solidFill>
                <a:effectLst/>
                <a:uLnTx/>
                <a:uFillTx/>
                <a:latin typeface="Shape Sans"/>
                <a:ea typeface="+mn-ea"/>
                <a:cs typeface="+mn-cs"/>
              </a:rPr>
              <a:t>Løsningene og idéene dere foreslår må kunne kobles til ett eller flere av fokusområdene våre. Dere kan konsentrere dere om ett fokusområde eller velge flere av dem</a:t>
            </a:r>
            <a:r>
              <a:rPr kumimoji="0" lang="nb-NO" sz="1600" b="0" i="0" u="none" strike="noStrike" kern="1200" cap="none" spc="40" normalizeH="0" baseline="0" noProof="0" dirty="0">
                <a:ln>
                  <a:noFill/>
                </a:ln>
                <a:solidFill>
                  <a:srgbClr val="143275"/>
                </a:solidFill>
                <a:effectLst/>
                <a:uLnTx/>
                <a:uFillTx/>
                <a:latin typeface="Shape Sans"/>
                <a:ea typeface="+mn-ea"/>
                <a:cs typeface="+mn-cs"/>
              </a:rPr>
              <a:t>. </a:t>
            </a:r>
          </a:p>
          <a:p>
            <a:pPr marL="0" marR="0" lvl="0" indent="0" algn="l" defTabSz="914400" rtl="0" eaLnBrk="1" fontAlgn="auto" latinLnBrk="0" hangingPunct="1">
              <a:lnSpc>
                <a:spcPct val="100000"/>
              </a:lnSpc>
              <a:spcBef>
                <a:spcPts val="1500"/>
              </a:spcBef>
              <a:spcAft>
                <a:spcPts val="300"/>
              </a:spcAft>
              <a:buClrTx/>
              <a:buSzTx/>
              <a:buFont typeface="Arial" panose="020B0604020202020204" pitchFamily="34" charset="0"/>
              <a:buNone/>
              <a:tabLst/>
              <a:defRPr/>
            </a:pPr>
            <a:r>
              <a:rPr kumimoji="0" lang="nb-NO" sz="1600" b="0" i="0" u="none" strike="noStrike" kern="1200" cap="none" spc="40" normalizeH="0" baseline="0" noProof="0" dirty="0">
                <a:ln>
                  <a:noFill/>
                </a:ln>
                <a:solidFill>
                  <a:srgbClr val="143275"/>
                </a:solidFill>
                <a:effectLst/>
                <a:uLnTx/>
                <a:uFillTx/>
                <a:latin typeface="Shape Sans"/>
                <a:ea typeface="+mn-ea"/>
                <a:cs typeface="+mn-cs"/>
              </a:rPr>
              <a:t>Kom gjerne med konkrete tiltak og forslag, men ikke være redde for å tenke nytt og foreslå grensesprengende løsninger!</a:t>
            </a:r>
          </a:p>
          <a:p>
            <a:pPr marL="0" marR="0" lvl="0" indent="0" algn="l" defTabSz="914400" rtl="0" eaLnBrk="1" fontAlgn="auto" latinLnBrk="0" hangingPunct="1">
              <a:lnSpc>
                <a:spcPct val="100000"/>
              </a:lnSpc>
              <a:spcBef>
                <a:spcPts val="1500"/>
              </a:spcBef>
              <a:spcAft>
                <a:spcPts val="300"/>
              </a:spcAft>
              <a:buClrTx/>
              <a:buSzTx/>
              <a:buFont typeface="Arial" panose="020B0604020202020204" pitchFamily="34" charset="0"/>
              <a:buNone/>
              <a:tabLst/>
              <a:defRPr/>
            </a:pPr>
            <a:endParaRPr kumimoji="0" lang="nb-NO" sz="1800" b="0" i="0" u="none" strike="noStrike" kern="1200" cap="none" spc="40" normalizeH="0" baseline="0" noProof="0" dirty="0">
              <a:ln>
                <a:noFill/>
              </a:ln>
              <a:solidFill>
                <a:srgbClr val="143275"/>
              </a:solidFill>
              <a:effectLst/>
              <a:uLnTx/>
              <a:uFillTx/>
              <a:latin typeface="Shape Sans"/>
              <a:ea typeface="+mn-ea"/>
              <a:cs typeface="+mn-cs"/>
            </a:endParaRPr>
          </a:p>
          <a:p>
            <a:pPr marL="0" marR="0" lvl="0" indent="0" algn="l" defTabSz="914400" rtl="0" eaLnBrk="1" fontAlgn="auto" latinLnBrk="0" hangingPunct="1">
              <a:lnSpc>
                <a:spcPct val="100000"/>
              </a:lnSpc>
              <a:spcBef>
                <a:spcPts val="1500"/>
              </a:spcBef>
              <a:spcAft>
                <a:spcPts val="300"/>
              </a:spcAft>
              <a:buClrTx/>
              <a:buSzTx/>
              <a:buFont typeface="Arial" panose="020B0604020202020204" pitchFamily="34" charset="0"/>
              <a:buNone/>
              <a:tabLst/>
              <a:defRPr/>
            </a:pPr>
            <a:endParaRPr lang="nb-NO" dirty="0">
              <a:solidFill>
                <a:schemeClr val="accent1"/>
              </a:solidFill>
            </a:endParaRPr>
          </a:p>
        </p:txBody>
      </p:sp>
      <p:pic>
        <p:nvPicPr>
          <p:cNvPr id="19" name="Plassholder for bilde 18">
            <a:extLst>
              <a:ext uri="{FF2B5EF4-FFF2-40B4-BE49-F238E27FC236}">
                <a16:creationId xmlns:a16="http://schemas.microsoft.com/office/drawing/2014/main" id="{6FFB5734-100D-95AF-590E-F568BF4C03F7}"/>
              </a:ext>
            </a:extLst>
          </p:cNvPr>
          <p:cNvPicPr>
            <a:picLocks noGrp="1" noChangeAspect="1"/>
          </p:cNvPicPr>
          <p:nvPr>
            <p:ph type="pic" sz="quarter" idx="21"/>
          </p:nvPr>
        </p:nvPicPr>
        <p:blipFill>
          <a:blip r:embed="rId3">
            <a:extLst>
              <a:ext uri="{28A0092B-C50C-407E-A947-70E740481C1C}">
                <a14:useLocalDpi xmlns:a14="http://schemas.microsoft.com/office/drawing/2010/main" val="0"/>
              </a:ext>
            </a:extLst>
          </a:blip>
          <a:srcRect l="7386" r="7386"/>
          <a:stretch>
            <a:fillRect/>
          </a:stretch>
        </p:blipFill>
        <p:spPr>
          <a:xfrm>
            <a:off x="7810500" y="3429000"/>
            <a:ext cx="4381500" cy="3429000"/>
          </a:xfrm>
        </p:spPr>
      </p:pic>
      <p:pic>
        <p:nvPicPr>
          <p:cNvPr id="17" name="Plassholder for bilde 16">
            <a:extLst>
              <a:ext uri="{FF2B5EF4-FFF2-40B4-BE49-F238E27FC236}">
                <a16:creationId xmlns:a16="http://schemas.microsoft.com/office/drawing/2014/main" id="{F7DD9CEF-34F5-43A7-779E-C32C89A739A7}"/>
              </a:ext>
            </a:extLst>
          </p:cNvPr>
          <p:cNvPicPr>
            <a:picLocks noGrp="1" noChangeAspect="1"/>
          </p:cNvPicPr>
          <p:nvPr>
            <p:ph type="pic" sz="quarter" idx="20"/>
          </p:nvPr>
        </p:nvPicPr>
        <p:blipFill>
          <a:blip r:embed="rId4">
            <a:extLst>
              <a:ext uri="{28A0092B-C50C-407E-A947-70E740481C1C}">
                <a14:useLocalDpi xmlns:a14="http://schemas.microsoft.com/office/drawing/2010/main" val="0"/>
              </a:ext>
            </a:extLst>
          </a:blip>
          <a:srcRect l="14063" r="14063"/>
          <a:stretch>
            <a:fillRect/>
          </a:stretch>
        </p:blipFill>
        <p:spPr>
          <a:xfrm>
            <a:off x="7810500" y="0"/>
            <a:ext cx="4381500" cy="3429000"/>
          </a:xfrm>
        </p:spPr>
      </p:pic>
    </p:spTree>
    <p:extLst>
      <p:ext uri="{BB962C8B-B14F-4D97-AF65-F5344CB8AC3E}">
        <p14:creationId xmlns:p14="http://schemas.microsoft.com/office/powerpoint/2010/main" val="25231021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CA5AF41C-646A-581F-9C55-326A4F8D6E94}"/>
              </a:ext>
            </a:extLst>
          </p:cNvPr>
          <p:cNvSpPr>
            <a:spLocks noGrp="1"/>
          </p:cNvSpPr>
          <p:nvPr>
            <p:ph type="body" sz="quarter" idx="14"/>
          </p:nvPr>
        </p:nvSpPr>
        <p:spPr>
          <a:xfrm>
            <a:off x="556106" y="278502"/>
            <a:ext cx="5367178" cy="600387"/>
          </a:xfrm>
        </p:spPr>
        <p:txBody>
          <a:bodyPr/>
          <a:lstStyle/>
          <a:p>
            <a:r>
              <a:rPr lang="nb-NO" dirty="0">
                <a:latin typeface="Shape Sans" panose="00000500000000000000" pitchFamily="50" charset="0"/>
              </a:rPr>
              <a:t>Vurderingskriteriene</a:t>
            </a:r>
          </a:p>
        </p:txBody>
      </p:sp>
      <p:sp>
        <p:nvSpPr>
          <p:cNvPr id="4" name="Plassholder for tekst 3">
            <a:extLst>
              <a:ext uri="{FF2B5EF4-FFF2-40B4-BE49-F238E27FC236}">
                <a16:creationId xmlns:a16="http://schemas.microsoft.com/office/drawing/2014/main" id="{F65C6AB1-29EF-94FD-D182-76E49C82115D}"/>
              </a:ext>
            </a:extLst>
          </p:cNvPr>
          <p:cNvSpPr>
            <a:spLocks noGrp="1"/>
          </p:cNvSpPr>
          <p:nvPr>
            <p:ph type="body" sz="quarter" idx="20"/>
          </p:nvPr>
        </p:nvSpPr>
        <p:spPr>
          <a:xfrm>
            <a:off x="566053" y="1138931"/>
            <a:ext cx="5377125" cy="1923866"/>
          </a:xfrm>
        </p:spPr>
        <p:txBody>
          <a:bodyPr/>
          <a:lstStyle/>
          <a:p>
            <a:pPr marL="6350" indent="0">
              <a:buNone/>
            </a:pPr>
            <a:r>
              <a:rPr lang="nb-NO" sz="2800" b="1" dirty="0">
                <a:latin typeface="Shape Sans" panose="00000500000000000000" pitchFamily="50" charset="0"/>
              </a:rPr>
              <a:t>Originalitet</a:t>
            </a:r>
          </a:p>
          <a:p>
            <a:r>
              <a:rPr lang="nb-NO" sz="1600" dirty="0">
                <a:latin typeface="Shape Sans" panose="00000500000000000000" pitchFamily="50" charset="0"/>
              </a:rPr>
              <a:t>Er idéen nyskapende?</a:t>
            </a:r>
          </a:p>
          <a:p>
            <a:r>
              <a:rPr lang="nb-NO" sz="1600" dirty="0">
                <a:latin typeface="Shape Sans" panose="00000500000000000000" pitchFamily="50" charset="0"/>
              </a:rPr>
              <a:t>Tar den problemstillingen ett skritt videre mot en løsning?</a:t>
            </a:r>
          </a:p>
          <a:p>
            <a:r>
              <a:rPr lang="nb-NO" sz="1600" dirty="0">
                <a:latin typeface="Shape Sans" panose="00000500000000000000" pitchFamily="50" charset="0"/>
              </a:rPr>
              <a:t>Kombinerer idéen andre gode idéer på nye måter?</a:t>
            </a:r>
          </a:p>
        </p:txBody>
      </p:sp>
      <p:sp>
        <p:nvSpPr>
          <p:cNvPr id="8" name="Plassholder for tekst 7">
            <a:extLst>
              <a:ext uri="{FF2B5EF4-FFF2-40B4-BE49-F238E27FC236}">
                <a16:creationId xmlns:a16="http://schemas.microsoft.com/office/drawing/2014/main" id="{F5EBF819-6352-6559-50D7-39956973870A}"/>
              </a:ext>
            </a:extLst>
          </p:cNvPr>
          <p:cNvSpPr>
            <a:spLocks noGrp="1"/>
          </p:cNvSpPr>
          <p:nvPr>
            <p:ph type="body" sz="quarter" idx="21"/>
          </p:nvPr>
        </p:nvSpPr>
        <p:spPr/>
        <p:txBody>
          <a:bodyPr/>
          <a:lstStyle/>
          <a:p>
            <a:endParaRPr lang="nb-NO"/>
          </a:p>
        </p:txBody>
      </p:sp>
      <p:sp>
        <p:nvSpPr>
          <p:cNvPr id="9" name="Plassholder for tekst 3">
            <a:extLst>
              <a:ext uri="{FF2B5EF4-FFF2-40B4-BE49-F238E27FC236}">
                <a16:creationId xmlns:a16="http://schemas.microsoft.com/office/drawing/2014/main" id="{C2B41C0F-C960-5EDD-79E7-9477C97DA150}"/>
              </a:ext>
            </a:extLst>
          </p:cNvPr>
          <p:cNvSpPr txBox="1">
            <a:spLocks/>
          </p:cNvSpPr>
          <p:nvPr/>
        </p:nvSpPr>
        <p:spPr>
          <a:xfrm>
            <a:off x="556106" y="3462099"/>
            <a:ext cx="5377125" cy="2023739"/>
          </a:xfrm>
          <a:prstGeom prst="rect">
            <a:avLst/>
          </a:prstGeom>
        </p:spPr>
        <p:txBody>
          <a:bodyPr vert="horz" lIns="0" tIns="0" rIns="0" bIns="0" rtlCol="0">
            <a:noAutofit/>
          </a:bodyPr>
          <a:lstStyle>
            <a:lvl1pPr marL="182563" indent="-176213" algn="l" defTabSz="914400" rtl="0" eaLnBrk="1" latinLnBrk="0" hangingPunct="1">
              <a:lnSpc>
                <a:spcPct val="100000"/>
              </a:lnSpc>
              <a:spcBef>
                <a:spcPts val="1000"/>
              </a:spcBef>
              <a:spcAft>
                <a:spcPts val="0"/>
              </a:spcAft>
              <a:buFont typeface="Arial" panose="020B0604020202020204" pitchFamily="34" charset="0"/>
              <a:buChar char="•"/>
              <a:tabLst/>
              <a:defRPr sz="1800" kern="1200" spc="40" baseline="0">
                <a:solidFill>
                  <a:schemeClr val="tx2"/>
                </a:solidFill>
                <a:latin typeface="+mn-lt"/>
                <a:ea typeface="+mn-ea"/>
                <a:cs typeface="+mn-cs"/>
              </a:defRPr>
            </a:lvl1pPr>
            <a:lvl2pPr marL="357188" indent="-176213" algn="l" defTabSz="914400" rtl="0" eaLnBrk="1" latinLnBrk="0" hangingPunct="1">
              <a:lnSpc>
                <a:spcPct val="100000"/>
              </a:lnSpc>
              <a:spcBef>
                <a:spcPts val="500"/>
              </a:spcBef>
              <a:spcAft>
                <a:spcPts val="0"/>
              </a:spcAft>
              <a:buFont typeface="Arial" panose="020B0604020202020204" pitchFamily="34" charset="0"/>
              <a:buChar char="•"/>
              <a:tabLst/>
              <a:defRPr sz="1800" kern="1200" spc="40" baseline="0">
                <a:solidFill>
                  <a:schemeClr val="tx2"/>
                </a:solidFill>
                <a:latin typeface="+mn-lt"/>
                <a:ea typeface="+mn-ea"/>
                <a:cs typeface="+mn-cs"/>
              </a:defRPr>
            </a:lvl2pPr>
            <a:lvl3pPr marL="534988" indent="-177800" algn="l" defTabSz="914400" rtl="0" eaLnBrk="1" latinLnBrk="0" hangingPunct="1">
              <a:lnSpc>
                <a:spcPct val="100000"/>
              </a:lnSpc>
              <a:spcBef>
                <a:spcPts val="500"/>
              </a:spcBef>
              <a:spcAft>
                <a:spcPts val="0"/>
              </a:spcAft>
              <a:buFont typeface="Arial" panose="020B0604020202020204" pitchFamily="34" charset="0"/>
              <a:buChar char="•"/>
              <a:tabLst/>
              <a:defRPr sz="1600" kern="1200" spc="40" baseline="0">
                <a:solidFill>
                  <a:schemeClr val="tx2"/>
                </a:solidFill>
                <a:latin typeface="+mn-lt"/>
                <a:ea typeface="+mn-ea"/>
                <a:cs typeface="+mn-cs"/>
              </a:defRPr>
            </a:lvl3pPr>
            <a:lvl4pPr marL="715963" indent="-176400" algn="l" defTabSz="914400" rtl="0" eaLnBrk="1" latinLnBrk="0" hangingPunct="1">
              <a:lnSpc>
                <a:spcPct val="100000"/>
              </a:lnSpc>
              <a:spcBef>
                <a:spcPts val="500"/>
              </a:spcBef>
              <a:spcAft>
                <a:spcPts val="0"/>
              </a:spcAft>
              <a:buFont typeface="Arial" panose="020B0604020202020204" pitchFamily="34" charset="0"/>
              <a:buChar char="•"/>
              <a:tabLst/>
              <a:defRPr sz="1400" kern="1200" spc="40" baseline="0">
                <a:solidFill>
                  <a:schemeClr val="tx2"/>
                </a:solidFill>
                <a:latin typeface="+mn-lt"/>
                <a:ea typeface="+mn-ea"/>
                <a:cs typeface="+mn-cs"/>
              </a:defRPr>
            </a:lvl4pPr>
            <a:lvl5pPr marL="892175" indent="-176213" algn="l" defTabSz="914400" rtl="0" eaLnBrk="1" latinLnBrk="0" hangingPunct="1">
              <a:lnSpc>
                <a:spcPct val="100000"/>
              </a:lnSpc>
              <a:spcBef>
                <a:spcPts val="500"/>
              </a:spcBef>
              <a:spcAft>
                <a:spcPts val="0"/>
              </a:spcAft>
              <a:buFont typeface="Arial" panose="020B0604020202020204" pitchFamily="34" charset="0"/>
              <a:buChar char="•"/>
              <a:tabLst/>
              <a:defRPr sz="1200" kern="1200" spc="4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Font typeface="Arial" panose="020B0604020202020204" pitchFamily="34" charset="0"/>
              <a:buNone/>
            </a:pPr>
            <a:r>
              <a:rPr lang="nb-NO" sz="2800" b="1" dirty="0">
                <a:latin typeface="Shape Sans" panose="00000500000000000000" pitchFamily="50" charset="0"/>
              </a:rPr>
              <a:t>Gjennomførbarhet</a:t>
            </a:r>
          </a:p>
          <a:p>
            <a:r>
              <a:rPr lang="nb-NO" sz="1600" dirty="0">
                <a:latin typeface="Shape Sans" panose="00000500000000000000" pitchFamily="50" charset="0"/>
              </a:rPr>
              <a:t>Lar idéen seg gjennomføre i dag eller i nær fremtid?</a:t>
            </a:r>
          </a:p>
          <a:p>
            <a:r>
              <a:rPr lang="nb-NO" sz="1600" dirty="0">
                <a:latin typeface="Shape Sans" panose="00000500000000000000" pitchFamily="50" charset="0"/>
              </a:rPr>
              <a:t>Krever idéen teknologi som foreløpig er utenfor rekkevidde eller kan vi modifisere eller videreutvikle på eksisterende teknologi eller metodikk?</a:t>
            </a:r>
          </a:p>
        </p:txBody>
      </p:sp>
      <p:sp>
        <p:nvSpPr>
          <p:cNvPr id="10" name="Plassholder for tekst 3">
            <a:extLst>
              <a:ext uri="{FF2B5EF4-FFF2-40B4-BE49-F238E27FC236}">
                <a16:creationId xmlns:a16="http://schemas.microsoft.com/office/drawing/2014/main" id="{8111E2CA-F70B-BFB8-B06F-165CC94FE826}"/>
              </a:ext>
            </a:extLst>
          </p:cNvPr>
          <p:cNvSpPr txBox="1">
            <a:spLocks/>
          </p:cNvSpPr>
          <p:nvPr/>
        </p:nvSpPr>
        <p:spPr>
          <a:xfrm>
            <a:off x="566052" y="5347950"/>
            <a:ext cx="5377125" cy="921713"/>
          </a:xfrm>
          <a:prstGeom prst="rect">
            <a:avLst/>
          </a:prstGeom>
        </p:spPr>
        <p:txBody>
          <a:bodyPr vert="horz" lIns="0" tIns="0" rIns="0" bIns="0" rtlCol="0">
            <a:noAutofit/>
          </a:bodyPr>
          <a:lstStyle>
            <a:lvl1pPr marL="182563" indent="-176213" algn="l" defTabSz="914400" rtl="0" eaLnBrk="1" latinLnBrk="0" hangingPunct="1">
              <a:lnSpc>
                <a:spcPct val="100000"/>
              </a:lnSpc>
              <a:spcBef>
                <a:spcPts val="1000"/>
              </a:spcBef>
              <a:spcAft>
                <a:spcPts val="0"/>
              </a:spcAft>
              <a:buFont typeface="Arial" panose="020B0604020202020204" pitchFamily="34" charset="0"/>
              <a:buChar char="•"/>
              <a:tabLst/>
              <a:defRPr sz="1800" kern="1200" spc="40" baseline="0">
                <a:solidFill>
                  <a:schemeClr val="tx2"/>
                </a:solidFill>
                <a:latin typeface="+mn-lt"/>
                <a:ea typeface="+mn-ea"/>
                <a:cs typeface="+mn-cs"/>
              </a:defRPr>
            </a:lvl1pPr>
            <a:lvl2pPr marL="357188" indent="-176213" algn="l" defTabSz="914400" rtl="0" eaLnBrk="1" latinLnBrk="0" hangingPunct="1">
              <a:lnSpc>
                <a:spcPct val="100000"/>
              </a:lnSpc>
              <a:spcBef>
                <a:spcPts val="500"/>
              </a:spcBef>
              <a:spcAft>
                <a:spcPts val="0"/>
              </a:spcAft>
              <a:buFont typeface="Arial" panose="020B0604020202020204" pitchFamily="34" charset="0"/>
              <a:buChar char="•"/>
              <a:tabLst/>
              <a:defRPr sz="1800" kern="1200" spc="40" baseline="0">
                <a:solidFill>
                  <a:schemeClr val="tx2"/>
                </a:solidFill>
                <a:latin typeface="+mn-lt"/>
                <a:ea typeface="+mn-ea"/>
                <a:cs typeface="+mn-cs"/>
              </a:defRPr>
            </a:lvl2pPr>
            <a:lvl3pPr marL="534988" indent="-177800" algn="l" defTabSz="914400" rtl="0" eaLnBrk="1" latinLnBrk="0" hangingPunct="1">
              <a:lnSpc>
                <a:spcPct val="100000"/>
              </a:lnSpc>
              <a:spcBef>
                <a:spcPts val="500"/>
              </a:spcBef>
              <a:spcAft>
                <a:spcPts val="0"/>
              </a:spcAft>
              <a:buFont typeface="Arial" panose="020B0604020202020204" pitchFamily="34" charset="0"/>
              <a:buChar char="•"/>
              <a:tabLst/>
              <a:defRPr sz="1600" kern="1200" spc="40" baseline="0">
                <a:solidFill>
                  <a:schemeClr val="tx2"/>
                </a:solidFill>
                <a:latin typeface="+mn-lt"/>
                <a:ea typeface="+mn-ea"/>
                <a:cs typeface="+mn-cs"/>
              </a:defRPr>
            </a:lvl3pPr>
            <a:lvl4pPr marL="715963" indent="-176400" algn="l" defTabSz="914400" rtl="0" eaLnBrk="1" latinLnBrk="0" hangingPunct="1">
              <a:lnSpc>
                <a:spcPct val="100000"/>
              </a:lnSpc>
              <a:spcBef>
                <a:spcPts val="500"/>
              </a:spcBef>
              <a:spcAft>
                <a:spcPts val="0"/>
              </a:spcAft>
              <a:buFont typeface="Arial" panose="020B0604020202020204" pitchFamily="34" charset="0"/>
              <a:buChar char="•"/>
              <a:tabLst/>
              <a:defRPr sz="1400" kern="1200" spc="40" baseline="0">
                <a:solidFill>
                  <a:schemeClr val="tx2"/>
                </a:solidFill>
                <a:latin typeface="+mn-lt"/>
                <a:ea typeface="+mn-ea"/>
                <a:cs typeface="+mn-cs"/>
              </a:defRPr>
            </a:lvl4pPr>
            <a:lvl5pPr marL="892175" indent="-176213" algn="l" defTabSz="914400" rtl="0" eaLnBrk="1" latinLnBrk="0" hangingPunct="1">
              <a:lnSpc>
                <a:spcPct val="100000"/>
              </a:lnSpc>
              <a:spcBef>
                <a:spcPts val="500"/>
              </a:spcBef>
              <a:spcAft>
                <a:spcPts val="0"/>
              </a:spcAft>
              <a:buFont typeface="Arial" panose="020B0604020202020204" pitchFamily="34" charset="0"/>
              <a:buChar char="•"/>
              <a:tabLst/>
              <a:defRPr sz="1200" kern="1200" spc="4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Font typeface="Arial" panose="020B0604020202020204" pitchFamily="34" charset="0"/>
              <a:buNone/>
            </a:pPr>
            <a:r>
              <a:rPr lang="nb-NO" sz="2800" b="1" dirty="0">
                <a:latin typeface="Shape Sans" panose="00000500000000000000" pitchFamily="50" charset="0"/>
              </a:rPr>
              <a:t>Presentasjon</a:t>
            </a:r>
          </a:p>
          <a:p>
            <a:r>
              <a:rPr lang="nb-NO" sz="1600" dirty="0">
                <a:latin typeface="Shape Sans" panose="00000500000000000000" pitchFamily="50" charset="0"/>
              </a:rPr>
              <a:t>Lykkes laget å presentere idéen på en god måte?</a:t>
            </a:r>
          </a:p>
        </p:txBody>
      </p:sp>
      <p:pic>
        <p:nvPicPr>
          <p:cNvPr id="11" name="Plassholder for bilde 10">
            <a:extLst>
              <a:ext uri="{FF2B5EF4-FFF2-40B4-BE49-F238E27FC236}">
                <a16:creationId xmlns:a16="http://schemas.microsoft.com/office/drawing/2014/main" id="{4DD56D5E-A877-B8B1-BF9F-05FE5D06F788}"/>
              </a:ext>
            </a:extLst>
          </p:cNvPr>
          <p:cNvPicPr>
            <a:picLocks noGrp="1" noChangeAspect="1"/>
          </p:cNvPicPr>
          <p:nvPr>
            <p:ph type="pic" sz="quarter" idx="18"/>
          </p:nvPr>
        </p:nvPicPr>
        <p:blipFill>
          <a:blip r:embed="rId2">
            <a:extLst>
              <a:ext uri="{28A0092B-C50C-407E-A947-70E740481C1C}">
                <a14:useLocalDpi xmlns:a14="http://schemas.microsoft.com/office/drawing/2010/main" val="0"/>
              </a:ext>
            </a:extLst>
          </a:blip>
          <a:srcRect l="16735" r="23993"/>
          <a:stretch>
            <a:fillRect/>
          </a:stretch>
        </p:blipFill>
        <p:spPr>
          <a:xfrm>
            <a:off x="6094413" y="0"/>
            <a:ext cx="6095997" cy="6857997"/>
          </a:xfrm>
        </p:spPr>
      </p:pic>
    </p:spTree>
    <p:extLst>
      <p:ext uri="{BB962C8B-B14F-4D97-AF65-F5344CB8AC3E}">
        <p14:creationId xmlns:p14="http://schemas.microsoft.com/office/powerpoint/2010/main" val="3446218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ssholder for bilde 4">
            <a:extLst>
              <a:ext uri="{FF2B5EF4-FFF2-40B4-BE49-F238E27FC236}">
                <a16:creationId xmlns:a16="http://schemas.microsoft.com/office/drawing/2014/main" id="{CB132D4F-1336-4056-F634-AF42EBF30A22}"/>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12471" b="12471"/>
          <a:stretch>
            <a:fillRect/>
          </a:stretch>
        </p:blipFill>
        <p:spPr/>
      </p:pic>
      <p:sp>
        <p:nvSpPr>
          <p:cNvPr id="3" name="Plassholder for tekst 2">
            <a:extLst>
              <a:ext uri="{FF2B5EF4-FFF2-40B4-BE49-F238E27FC236}">
                <a16:creationId xmlns:a16="http://schemas.microsoft.com/office/drawing/2014/main" id="{ED0FAFB1-3361-7385-F611-0110283AAD82}"/>
              </a:ext>
            </a:extLst>
          </p:cNvPr>
          <p:cNvSpPr>
            <a:spLocks noGrp="1"/>
          </p:cNvSpPr>
          <p:nvPr>
            <p:ph type="body" sz="quarter" idx="14"/>
          </p:nvPr>
        </p:nvSpPr>
        <p:spPr/>
        <p:txBody>
          <a:bodyPr/>
          <a:lstStyle/>
          <a:p>
            <a:endParaRPr lang="nb-NO"/>
          </a:p>
        </p:txBody>
      </p:sp>
    </p:spTree>
    <p:extLst>
      <p:ext uri="{BB962C8B-B14F-4D97-AF65-F5344CB8AC3E}">
        <p14:creationId xmlns:p14="http://schemas.microsoft.com/office/powerpoint/2010/main" val="2872844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ACA2C9E-820E-4FFE-B60A-4EC05DEB88AB}"/>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AACA2C9E-820E-4FFE-B60A-4EC05DEB88AB}"/>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0" name="Text Placeholder 19">
            <a:extLst>
              <a:ext uri="{FF2B5EF4-FFF2-40B4-BE49-F238E27FC236}">
                <a16:creationId xmlns:a16="http://schemas.microsoft.com/office/drawing/2014/main" id="{FA16BBCA-B1AA-0F4A-9657-86E7B59C3448}"/>
              </a:ext>
            </a:extLst>
          </p:cNvPr>
          <p:cNvSpPr>
            <a:spLocks noGrp="1"/>
          </p:cNvSpPr>
          <p:nvPr>
            <p:ph type="body" sz="quarter" idx="16"/>
          </p:nvPr>
        </p:nvSpPr>
        <p:spPr>
          <a:xfrm rot="5400000">
            <a:off x="10901733" y="752350"/>
            <a:ext cx="2093913" cy="589218"/>
          </a:xfrm>
        </p:spPr>
        <p:txBody>
          <a:bodyPr/>
          <a:lstStyle/>
          <a:p>
            <a:r>
              <a:rPr lang="en-US" err="1">
                <a:latin typeface="Shape Sans" panose="00000500000000000000" pitchFamily="50" charset="0"/>
              </a:rPr>
              <a:t>Täby</a:t>
            </a:r>
            <a:r>
              <a:rPr lang="en-US">
                <a:latin typeface="Shape Sans" panose="00000500000000000000" pitchFamily="50" charset="0"/>
              </a:rPr>
              <a:t> Park Stockholm Sverige</a:t>
            </a:r>
          </a:p>
        </p:txBody>
      </p:sp>
      <p:pic>
        <p:nvPicPr>
          <p:cNvPr id="22" name="Picture Placeholder 21">
            <a:extLst>
              <a:ext uri="{FF2B5EF4-FFF2-40B4-BE49-F238E27FC236}">
                <a16:creationId xmlns:a16="http://schemas.microsoft.com/office/drawing/2014/main" id="{A6ED435A-16EF-CA8B-D58A-A7644D94E28C}"/>
              </a:ext>
            </a:extLst>
          </p:cNvPr>
          <p:cNvPicPr>
            <a:picLocks noGrp="1" noChangeAspect="1"/>
          </p:cNvPicPr>
          <p:nvPr>
            <p:ph type="pic" sz="quarter" idx="18"/>
          </p:nvPr>
        </p:nvPicPr>
        <p:blipFill>
          <a:blip r:embed="rId6"/>
          <a:srcRect l="30270" r="30270"/>
          <a:stretch>
            <a:fillRect/>
          </a:stretch>
        </p:blipFill>
        <p:spPr/>
      </p:pic>
      <p:pic>
        <p:nvPicPr>
          <p:cNvPr id="5" name="Bilde 4">
            <a:extLst>
              <a:ext uri="{FF2B5EF4-FFF2-40B4-BE49-F238E27FC236}">
                <a16:creationId xmlns:a16="http://schemas.microsoft.com/office/drawing/2014/main" id="{C696F3C2-BD7C-8F80-F05E-D21017AFD93A}"/>
              </a:ext>
            </a:extLst>
          </p:cNvPr>
          <p:cNvPicPr>
            <a:picLocks noChangeAspect="1"/>
          </p:cNvPicPr>
          <p:nvPr/>
        </p:nvPicPr>
        <p:blipFill>
          <a:blip r:embed="rId7"/>
          <a:stretch>
            <a:fillRect/>
          </a:stretch>
        </p:blipFill>
        <p:spPr>
          <a:xfrm>
            <a:off x="873507" y="785761"/>
            <a:ext cx="6380986" cy="5286477"/>
          </a:xfrm>
          <a:prstGeom prst="rect">
            <a:avLst/>
          </a:prstGeom>
        </p:spPr>
      </p:pic>
    </p:spTree>
    <p:extLst>
      <p:ext uri="{BB962C8B-B14F-4D97-AF65-F5344CB8AC3E}">
        <p14:creationId xmlns:p14="http://schemas.microsoft.com/office/powerpoint/2010/main" val="23686378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02E0B698-C782-44DE-9EC0-83665C2D35E8}"/>
              </a:ext>
            </a:extLst>
          </p:cNvPr>
          <p:cNvSpPr>
            <a:spLocks noGrp="1"/>
          </p:cNvSpPr>
          <p:nvPr>
            <p:ph type="body" sz="quarter" idx="14"/>
          </p:nvPr>
        </p:nvSpPr>
        <p:spPr>
          <a:xfrm>
            <a:off x="849572" y="367712"/>
            <a:ext cx="8229112" cy="1365942"/>
          </a:xfrm>
        </p:spPr>
        <p:txBody>
          <a:bodyPr/>
          <a:lstStyle/>
          <a:p>
            <a:r>
              <a:rPr lang="nb-NO" sz="3200" dirty="0">
                <a:solidFill>
                  <a:schemeClr val="accent1"/>
                </a:solidFill>
                <a:latin typeface="Shape Sans" panose="00000500000000000000" pitchFamily="2" charset="0"/>
              </a:rPr>
              <a:t>Skanska Norges klimafotavtrykk i 2024</a:t>
            </a:r>
          </a:p>
        </p:txBody>
      </p:sp>
      <p:cxnSp>
        <p:nvCxnSpPr>
          <p:cNvPr id="9" name="Rett linje 8">
            <a:extLst>
              <a:ext uri="{FF2B5EF4-FFF2-40B4-BE49-F238E27FC236}">
                <a16:creationId xmlns:a16="http://schemas.microsoft.com/office/drawing/2014/main" id="{55857879-B91B-43F1-AB88-36694AF10DCF}"/>
              </a:ext>
            </a:extLst>
          </p:cNvPr>
          <p:cNvCxnSpPr/>
          <p:nvPr/>
        </p:nvCxnSpPr>
        <p:spPr>
          <a:xfrm>
            <a:off x="6456040" y="1699201"/>
            <a:ext cx="0" cy="4106063"/>
          </a:xfrm>
          <a:prstGeom prst="line">
            <a:avLst/>
          </a:prstGeom>
          <a:ln w="4445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Rektangel 9">
            <a:extLst>
              <a:ext uri="{FF2B5EF4-FFF2-40B4-BE49-F238E27FC236}">
                <a16:creationId xmlns:a16="http://schemas.microsoft.com/office/drawing/2014/main" id="{ADA5F98B-EBC8-4307-9BED-BF88B09A0E1F}"/>
              </a:ext>
            </a:extLst>
          </p:cNvPr>
          <p:cNvSpPr/>
          <p:nvPr/>
        </p:nvSpPr>
        <p:spPr>
          <a:xfrm>
            <a:off x="1567442" y="4317984"/>
            <a:ext cx="292833" cy="28803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Rektangel 10">
            <a:extLst>
              <a:ext uri="{FF2B5EF4-FFF2-40B4-BE49-F238E27FC236}">
                <a16:creationId xmlns:a16="http://schemas.microsoft.com/office/drawing/2014/main" id="{1F0D6706-B56B-4CDE-8DEB-A1F77C24FBE0}"/>
              </a:ext>
            </a:extLst>
          </p:cNvPr>
          <p:cNvSpPr/>
          <p:nvPr/>
        </p:nvSpPr>
        <p:spPr>
          <a:xfrm>
            <a:off x="1567442" y="1946626"/>
            <a:ext cx="292833" cy="2880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Rektangel 11">
            <a:extLst>
              <a:ext uri="{FF2B5EF4-FFF2-40B4-BE49-F238E27FC236}">
                <a16:creationId xmlns:a16="http://schemas.microsoft.com/office/drawing/2014/main" id="{40AFCACD-D001-4834-A379-0923C54A3C6B}"/>
              </a:ext>
            </a:extLst>
          </p:cNvPr>
          <p:cNvSpPr/>
          <p:nvPr/>
        </p:nvSpPr>
        <p:spPr>
          <a:xfrm>
            <a:off x="1567442" y="3132305"/>
            <a:ext cx="292833" cy="2880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kstSylinder 12">
            <a:extLst>
              <a:ext uri="{FF2B5EF4-FFF2-40B4-BE49-F238E27FC236}">
                <a16:creationId xmlns:a16="http://schemas.microsoft.com/office/drawing/2014/main" id="{F886D085-D098-48BA-A872-AE114A388A1C}"/>
              </a:ext>
            </a:extLst>
          </p:cNvPr>
          <p:cNvSpPr txBox="1"/>
          <p:nvPr/>
        </p:nvSpPr>
        <p:spPr>
          <a:xfrm>
            <a:off x="2063552" y="1888341"/>
            <a:ext cx="3672407" cy="400110"/>
          </a:xfrm>
          <a:prstGeom prst="rect">
            <a:avLst/>
          </a:prstGeom>
          <a:noFill/>
        </p:spPr>
        <p:txBody>
          <a:bodyPr wrap="square" lIns="46800" rIns="468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schemeClr val="tx2"/>
                </a:solidFill>
                <a:effectLst/>
                <a:uLnTx/>
                <a:uFillTx/>
                <a:latin typeface="Shape Sans" panose="00000500000000000000" pitchFamily="2" charset="0"/>
              </a:rPr>
              <a:t>Scope 1 (drivstoff og brensel) </a:t>
            </a:r>
          </a:p>
        </p:txBody>
      </p:sp>
      <p:sp>
        <p:nvSpPr>
          <p:cNvPr id="14" name="TekstSylinder 13">
            <a:extLst>
              <a:ext uri="{FF2B5EF4-FFF2-40B4-BE49-F238E27FC236}">
                <a16:creationId xmlns:a16="http://schemas.microsoft.com/office/drawing/2014/main" id="{4521FE46-3EA2-46FE-8474-172D0F6CA4CB}"/>
              </a:ext>
            </a:extLst>
          </p:cNvPr>
          <p:cNvSpPr txBox="1"/>
          <p:nvPr/>
        </p:nvSpPr>
        <p:spPr>
          <a:xfrm>
            <a:off x="2063551" y="2975663"/>
            <a:ext cx="3672407" cy="707886"/>
          </a:xfrm>
          <a:prstGeom prst="rect">
            <a:avLst/>
          </a:prstGeom>
          <a:noFill/>
        </p:spPr>
        <p:txBody>
          <a:bodyPr wrap="square" lIns="46800" rIns="468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schemeClr val="tx2"/>
                </a:solidFill>
                <a:effectLst/>
                <a:uLnTx/>
                <a:uFillTx/>
                <a:latin typeface="Shape Sans" panose="00000500000000000000" pitchFamily="2" charset="0"/>
              </a:rPr>
              <a:t>Scope 2 (energibruk i egne aktiviteter og bygg) </a:t>
            </a:r>
          </a:p>
        </p:txBody>
      </p:sp>
      <p:sp>
        <p:nvSpPr>
          <p:cNvPr id="15" name="TekstSylinder 14">
            <a:extLst>
              <a:ext uri="{FF2B5EF4-FFF2-40B4-BE49-F238E27FC236}">
                <a16:creationId xmlns:a16="http://schemas.microsoft.com/office/drawing/2014/main" id="{429E6485-4385-4F2F-9C60-1D8B0CFBDC0A}"/>
              </a:ext>
            </a:extLst>
          </p:cNvPr>
          <p:cNvSpPr txBox="1"/>
          <p:nvPr/>
        </p:nvSpPr>
        <p:spPr>
          <a:xfrm>
            <a:off x="2063550" y="4261945"/>
            <a:ext cx="3672407" cy="400110"/>
          </a:xfrm>
          <a:prstGeom prst="rect">
            <a:avLst/>
          </a:prstGeom>
          <a:noFill/>
        </p:spPr>
        <p:txBody>
          <a:bodyPr wrap="square" lIns="46800" rIns="468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schemeClr val="tx2"/>
                </a:solidFill>
                <a:effectLst/>
                <a:uLnTx/>
                <a:uFillTx/>
                <a:latin typeface="Shape Sans" panose="00000500000000000000" pitchFamily="2" charset="0"/>
              </a:rPr>
              <a:t>Scope 3 (Materialer) </a:t>
            </a:r>
          </a:p>
        </p:txBody>
      </p:sp>
      <p:graphicFrame>
        <p:nvGraphicFramePr>
          <p:cNvPr id="7" name="Diagram 6">
            <a:extLst>
              <a:ext uri="{FF2B5EF4-FFF2-40B4-BE49-F238E27FC236}">
                <a16:creationId xmlns:a16="http://schemas.microsoft.com/office/drawing/2014/main" id="{DC3766F5-B82D-01A2-BB79-EB2C9192CEBF}"/>
              </a:ext>
            </a:extLst>
          </p:cNvPr>
          <p:cNvGraphicFramePr>
            <a:graphicFrameLocks/>
          </p:cNvGraphicFramePr>
          <p:nvPr/>
        </p:nvGraphicFramePr>
        <p:xfrm>
          <a:off x="9273531" y="1000343"/>
          <a:ext cx="4702720" cy="3721763"/>
        </p:xfrm>
        <a:graphic>
          <a:graphicData uri="http://schemas.openxmlformats.org/drawingml/2006/chart">
            <c:chart xmlns:c="http://schemas.openxmlformats.org/drawingml/2006/chart" xmlns:r="http://schemas.openxmlformats.org/officeDocument/2006/relationships" r:id="rId3"/>
          </a:graphicData>
        </a:graphic>
      </p:graphicFrame>
      <p:sp>
        <p:nvSpPr>
          <p:cNvPr id="8" name="TekstSylinder 7">
            <a:extLst>
              <a:ext uri="{FF2B5EF4-FFF2-40B4-BE49-F238E27FC236}">
                <a16:creationId xmlns:a16="http://schemas.microsoft.com/office/drawing/2014/main" id="{1B51B933-7834-7655-27FC-93CF08600418}"/>
              </a:ext>
            </a:extLst>
          </p:cNvPr>
          <p:cNvSpPr txBox="1"/>
          <p:nvPr/>
        </p:nvSpPr>
        <p:spPr>
          <a:xfrm>
            <a:off x="849572" y="5633545"/>
            <a:ext cx="4468662" cy="246221"/>
          </a:xfrm>
          <a:prstGeom prst="rect">
            <a:avLst/>
          </a:prstGeom>
          <a:noFill/>
        </p:spPr>
        <p:txBody>
          <a:bodyPr wrap="square" lIns="0" tIns="0" rIns="0" bIns="0" rtlCol="0">
            <a:spAutoFit/>
          </a:bodyPr>
          <a:lstStyle/>
          <a:p>
            <a:pPr algn="l"/>
            <a:r>
              <a:rPr lang="nb-NO" sz="1600" i="1" spc="40" dirty="0">
                <a:solidFill>
                  <a:schemeClr val="accent1"/>
                </a:solidFill>
                <a:latin typeface="Shape Sans" panose="00000500000000000000" pitchFamily="2" charset="0"/>
              </a:rPr>
              <a:t>Oversikten inkluderer ikke arealinngrep</a:t>
            </a:r>
          </a:p>
        </p:txBody>
      </p:sp>
      <p:graphicFrame>
        <p:nvGraphicFramePr>
          <p:cNvPr id="4" name="Diagram 3">
            <a:extLst>
              <a:ext uri="{FF2B5EF4-FFF2-40B4-BE49-F238E27FC236}">
                <a16:creationId xmlns:a16="http://schemas.microsoft.com/office/drawing/2014/main" id="{74AE92DB-3C52-8DA4-039A-CFE3A8893FE3}"/>
              </a:ext>
            </a:extLst>
          </p:cNvPr>
          <p:cNvGraphicFramePr>
            <a:graphicFrameLocks/>
          </p:cNvGraphicFramePr>
          <p:nvPr/>
        </p:nvGraphicFramePr>
        <p:xfrm>
          <a:off x="6537428" y="1772533"/>
          <a:ext cx="5654571" cy="386101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1280777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Bilde 27">
            <a:extLst>
              <a:ext uri="{FF2B5EF4-FFF2-40B4-BE49-F238E27FC236}">
                <a16:creationId xmlns:a16="http://schemas.microsoft.com/office/drawing/2014/main" id="{AB1D95C8-72A0-4D25-96F2-B0B8906CA51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9089" y="1745153"/>
            <a:ext cx="1070338" cy="1069143"/>
          </a:xfrm>
          <a:prstGeom prst="rect">
            <a:avLst/>
          </a:prstGeom>
        </p:spPr>
      </p:pic>
      <p:pic>
        <p:nvPicPr>
          <p:cNvPr id="30" name="Bilde 29">
            <a:extLst>
              <a:ext uri="{FF2B5EF4-FFF2-40B4-BE49-F238E27FC236}">
                <a16:creationId xmlns:a16="http://schemas.microsoft.com/office/drawing/2014/main" id="{D855CAEF-6D56-4D18-8834-883B0D1980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02191" y="1688234"/>
            <a:ext cx="1070337" cy="1070337"/>
          </a:xfrm>
          <a:prstGeom prst="rect">
            <a:avLst/>
          </a:prstGeom>
        </p:spPr>
      </p:pic>
      <p:pic>
        <p:nvPicPr>
          <p:cNvPr id="32" name="Bilde 31">
            <a:extLst>
              <a:ext uri="{FF2B5EF4-FFF2-40B4-BE49-F238E27FC236}">
                <a16:creationId xmlns:a16="http://schemas.microsoft.com/office/drawing/2014/main" id="{CEFEFF01-58B7-4A0C-A925-E801E458A1C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39359" y="4242327"/>
            <a:ext cx="1070337" cy="1070337"/>
          </a:xfrm>
          <a:prstGeom prst="rect">
            <a:avLst/>
          </a:prstGeom>
        </p:spPr>
      </p:pic>
      <p:pic>
        <p:nvPicPr>
          <p:cNvPr id="34" name="Bilde 33">
            <a:extLst>
              <a:ext uri="{FF2B5EF4-FFF2-40B4-BE49-F238E27FC236}">
                <a16:creationId xmlns:a16="http://schemas.microsoft.com/office/drawing/2014/main" id="{AB7C884E-4167-4017-BEC3-E00DB3EB5B1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24242" y="1386525"/>
            <a:ext cx="912356" cy="1337922"/>
          </a:xfrm>
          <a:prstGeom prst="rect">
            <a:avLst/>
          </a:prstGeom>
        </p:spPr>
      </p:pic>
      <p:pic>
        <p:nvPicPr>
          <p:cNvPr id="36" name="Bilde 35">
            <a:extLst>
              <a:ext uri="{FF2B5EF4-FFF2-40B4-BE49-F238E27FC236}">
                <a16:creationId xmlns:a16="http://schemas.microsoft.com/office/drawing/2014/main" id="{62FD638B-3FD4-4ED5-80AF-618AB69CB10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272574" y="1707777"/>
            <a:ext cx="1070337" cy="1065559"/>
          </a:xfrm>
          <a:prstGeom prst="rect">
            <a:avLst/>
          </a:prstGeom>
        </p:spPr>
      </p:pic>
      <p:pic>
        <p:nvPicPr>
          <p:cNvPr id="38" name="Bilde 37">
            <a:extLst>
              <a:ext uri="{FF2B5EF4-FFF2-40B4-BE49-F238E27FC236}">
                <a16:creationId xmlns:a16="http://schemas.microsoft.com/office/drawing/2014/main" id="{E7B71683-BBFA-47B0-9B9F-B69E47E1D5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49089" y="4256567"/>
            <a:ext cx="1070337" cy="1070337"/>
          </a:xfrm>
          <a:prstGeom prst="rect">
            <a:avLst/>
          </a:prstGeom>
        </p:spPr>
      </p:pic>
      <p:pic>
        <p:nvPicPr>
          <p:cNvPr id="40" name="Bilde 39">
            <a:extLst>
              <a:ext uri="{FF2B5EF4-FFF2-40B4-BE49-F238E27FC236}">
                <a16:creationId xmlns:a16="http://schemas.microsoft.com/office/drawing/2014/main" id="{5B72FED7-0A01-46B8-9963-491F683C347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01198" y="4324844"/>
            <a:ext cx="1070338" cy="987820"/>
          </a:xfrm>
          <a:prstGeom prst="rect">
            <a:avLst/>
          </a:prstGeom>
        </p:spPr>
      </p:pic>
      <p:pic>
        <p:nvPicPr>
          <p:cNvPr id="42" name="Bilde 41">
            <a:extLst>
              <a:ext uri="{FF2B5EF4-FFF2-40B4-BE49-F238E27FC236}">
                <a16:creationId xmlns:a16="http://schemas.microsoft.com/office/drawing/2014/main" id="{50DF9F7B-7B66-40E1-B740-5572A48689C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60650" y="2893831"/>
            <a:ext cx="1265300" cy="1070337"/>
          </a:xfrm>
          <a:prstGeom prst="rect">
            <a:avLst/>
          </a:prstGeom>
        </p:spPr>
      </p:pic>
      <p:pic>
        <p:nvPicPr>
          <p:cNvPr id="44" name="Bilde 43">
            <a:extLst>
              <a:ext uri="{FF2B5EF4-FFF2-40B4-BE49-F238E27FC236}">
                <a16:creationId xmlns:a16="http://schemas.microsoft.com/office/drawing/2014/main" id="{37942DB8-25BA-4B1B-9659-343E9CDA61E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824242" y="4242328"/>
            <a:ext cx="1218392" cy="1070337"/>
          </a:xfrm>
          <a:prstGeom prst="rect">
            <a:avLst/>
          </a:prstGeom>
        </p:spPr>
      </p:pic>
      <p:sp>
        <p:nvSpPr>
          <p:cNvPr id="47" name="TekstSylinder 46">
            <a:extLst>
              <a:ext uri="{FF2B5EF4-FFF2-40B4-BE49-F238E27FC236}">
                <a16:creationId xmlns:a16="http://schemas.microsoft.com/office/drawing/2014/main" id="{985FB0E4-A161-4758-A48E-A2CDBB2D5B74}"/>
              </a:ext>
            </a:extLst>
          </p:cNvPr>
          <p:cNvSpPr txBox="1"/>
          <p:nvPr/>
        </p:nvSpPr>
        <p:spPr>
          <a:xfrm>
            <a:off x="1285258" y="5897463"/>
            <a:ext cx="3216084"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a:ln>
                  <a:noFill/>
                </a:ln>
                <a:solidFill>
                  <a:srgbClr val="143275"/>
                </a:solidFill>
                <a:effectLst/>
                <a:uLnTx/>
                <a:uFillTx/>
                <a:latin typeface="Shape Sans" panose="00000500000000000000" pitchFamily="50" charset="0"/>
                <a:ea typeface="+mn-ea"/>
                <a:cs typeface="+mn-cs"/>
              </a:rPr>
              <a:t>Våre fokusområder</a:t>
            </a:r>
          </a:p>
        </p:txBody>
      </p:sp>
      <p:sp>
        <p:nvSpPr>
          <p:cNvPr id="48" name="TekstSylinder 47">
            <a:extLst>
              <a:ext uri="{FF2B5EF4-FFF2-40B4-BE49-F238E27FC236}">
                <a16:creationId xmlns:a16="http://schemas.microsoft.com/office/drawing/2014/main" id="{D67CC116-728B-49AB-BE80-8986207ECC87}"/>
              </a:ext>
            </a:extLst>
          </p:cNvPr>
          <p:cNvSpPr txBox="1"/>
          <p:nvPr/>
        </p:nvSpPr>
        <p:spPr>
          <a:xfrm>
            <a:off x="7983952" y="5897462"/>
            <a:ext cx="3216084"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a:ln>
                  <a:noFill/>
                </a:ln>
                <a:solidFill>
                  <a:srgbClr val="143275"/>
                </a:solidFill>
                <a:effectLst/>
                <a:uLnTx/>
                <a:uFillTx/>
                <a:latin typeface="Shape Sans" panose="00000500000000000000" pitchFamily="50" charset="0"/>
                <a:ea typeface="+mn-ea"/>
                <a:cs typeface="+mn-cs"/>
              </a:rPr>
              <a:t>Våre muliggjørere</a:t>
            </a:r>
          </a:p>
        </p:txBody>
      </p:sp>
      <p:sp>
        <p:nvSpPr>
          <p:cNvPr id="49" name="TekstSylinder 48">
            <a:extLst>
              <a:ext uri="{FF2B5EF4-FFF2-40B4-BE49-F238E27FC236}">
                <a16:creationId xmlns:a16="http://schemas.microsoft.com/office/drawing/2014/main" id="{A0DAAD67-9329-4C05-A47A-8EF679153389}"/>
              </a:ext>
            </a:extLst>
          </p:cNvPr>
          <p:cNvSpPr txBox="1"/>
          <p:nvPr/>
        </p:nvSpPr>
        <p:spPr>
          <a:xfrm>
            <a:off x="-223785" y="2893831"/>
            <a:ext cx="321608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43275"/>
                </a:solidFill>
                <a:effectLst/>
                <a:uLnTx/>
                <a:uFillTx/>
                <a:latin typeface="Shape Sans" panose="00000500000000000000" pitchFamily="50" charset="0"/>
                <a:ea typeface="+mn-ea"/>
                <a:cs typeface="+mn-cs"/>
              </a:rPr>
              <a:t>Arealbruksendringer</a:t>
            </a:r>
          </a:p>
        </p:txBody>
      </p:sp>
      <p:sp>
        <p:nvSpPr>
          <p:cNvPr id="50" name="TekstSylinder 49">
            <a:extLst>
              <a:ext uri="{FF2B5EF4-FFF2-40B4-BE49-F238E27FC236}">
                <a16:creationId xmlns:a16="http://schemas.microsoft.com/office/drawing/2014/main" id="{3CF3E6BA-E738-4495-ADEC-3E819E9BD046}"/>
              </a:ext>
            </a:extLst>
          </p:cNvPr>
          <p:cNvSpPr txBox="1"/>
          <p:nvPr/>
        </p:nvSpPr>
        <p:spPr>
          <a:xfrm>
            <a:off x="2794301" y="2893831"/>
            <a:ext cx="321608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43275"/>
                </a:solidFill>
                <a:effectLst/>
                <a:uLnTx/>
                <a:uFillTx/>
                <a:latin typeface="Shape Sans" panose="00000500000000000000" pitchFamily="50" charset="0"/>
                <a:ea typeface="+mn-ea"/>
                <a:cs typeface="+mn-cs"/>
              </a:rPr>
              <a:t>Energi</a:t>
            </a:r>
          </a:p>
        </p:txBody>
      </p:sp>
      <p:sp>
        <p:nvSpPr>
          <p:cNvPr id="51" name="TekstSylinder 50">
            <a:extLst>
              <a:ext uri="{FF2B5EF4-FFF2-40B4-BE49-F238E27FC236}">
                <a16:creationId xmlns:a16="http://schemas.microsoft.com/office/drawing/2014/main" id="{1E37842D-4B35-422E-8906-F025E0D1B70B}"/>
              </a:ext>
            </a:extLst>
          </p:cNvPr>
          <p:cNvSpPr txBox="1"/>
          <p:nvPr/>
        </p:nvSpPr>
        <p:spPr>
          <a:xfrm>
            <a:off x="1220283" y="4041123"/>
            <a:ext cx="321608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43275"/>
                </a:solidFill>
                <a:effectLst/>
                <a:uLnTx/>
                <a:uFillTx/>
                <a:latin typeface="Shape Sans" panose="00000500000000000000" pitchFamily="50" charset="0"/>
                <a:ea typeface="+mn-ea"/>
                <a:cs typeface="+mn-cs"/>
              </a:rPr>
              <a:t>Sirkulær økonomi</a:t>
            </a:r>
          </a:p>
        </p:txBody>
      </p:sp>
      <p:sp>
        <p:nvSpPr>
          <p:cNvPr id="52" name="TekstSylinder 51">
            <a:extLst>
              <a:ext uri="{FF2B5EF4-FFF2-40B4-BE49-F238E27FC236}">
                <a16:creationId xmlns:a16="http://schemas.microsoft.com/office/drawing/2014/main" id="{6189F405-5EC0-4387-AE5B-592F1D68A878}"/>
              </a:ext>
            </a:extLst>
          </p:cNvPr>
          <p:cNvSpPr txBox="1"/>
          <p:nvPr/>
        </p:nvSpPr>
        <p:spPr>
          <a:xfrm>
            <a:off x="-99960" y="5438025"/>
            <a:ext cx="321608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43275"/>
                </a:solidFill>
                <a:effectLst/>
                <a:uLnTx/>
                <a:uFillTx/>
                <a:latin typeface="Shape Sans" panose="00000500000000000000" pitchFamily="50" charset="0"/>
                <a:ea typeface="+mn-ea"/>
                <a:cs typeface="+mn-cs"/>
              </a:rPr>
              <a:t>Maskiner og transport</a:t>
            </a:r>
          </a:p>
        </p:txBody>
      </p:sp>
      <p:sp>
        <p:nvSpPr>
          <p:cNvPr id="53" name="TekstSylinder 52">
            <a:extLst>
              <a:ext uri="{FF2B5EF4-FFF2-40B4-BE49-F238E27FC236}">
                <a16:creationId xmlns:a16="http://schemas.microsoft.com/office/drawing/2014/main" id="{239243D2-5361-4F6F-BE76-AB687792DBFD}"/>
              </a:ext>
            </a:extLst>
          </p:cNvPr>
          <p:cNvSpPr txBox="1"/>
          <p:nvPr/>
        </p:nvSpPr>
        <p:spPr>
          <a:xfrm>
            <a:off x="2794301" y="5448937"/>
            <a:ext cx="321608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43275"/>
                </a:solidFill>
                <a:effectLst/>
                <a:uLnTx/>
                <a:uFillTx/>
                <a:latin typeface="Shape Sans" panose="00000500000000000000" pitchFamily="50" charset="0"/>
                <a:ea typeface="+mn-ea"/>
                <a:cs typeface="+mn-cs"/>
              </a:rPr>
              <a:t>Materialressurser</a:t>
            </a:r>
          </a:p>
        </p:txBody>
      </p:sp>
      <p:sp>
        <p:nvSpPr>
          <p:cNvPr id="54" name="TekstSylinder 53">
            <a:extLst>
              <a:ext uri="{FF2B5EF4-FFF2-40B4-BE49-F238E27FC236}">
                <a16:creationId xmlns:a16="http://schemas.microsoft.com/office/drawing/2014/main" id="{4A40F11B-4426-4111-A9FF-980952D6EDA2}"/>
              </a:ext>
            </a:extLst>
          </p:cNvPr>
          <p:cNvSpPr txBox="1"/>
          <p:nvPr/>
        </p:nvSpPr>
        <p:spPr>
          <a:xfrm>
            <a:off x="6672378" y="2909123"/>
            <a:ext cx="321608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43275"/>
                </a:solidFill>
                <a:effectLst/>
                <a:uLnTx/>
                <a:uFillTx/>
                <a:latin typeface="Shape Sans" panose="00000500000000000000" pitchFamily="50" charset="0"/>
                <a:ea typeface="+mn-ea"/>
                <a:cs typeface="+mn-cs"/>
              </a:rPr>
              <a:t>Kompetanse og FoU</a:t>
            </a:r>
          </a:p>
        </p:txBody>
      </p:sp>
      <p:sp>
        <p:nvSpPr>
          <p:cNvPr id="55" name="TekstSylinder 54">
            <a:extLst>
              <a:ext uri="{FF2B5EF4-FFF2-40B4-BE49-F238E27FC236}">
                <a16:creationId xmlns:a16="http://schemas.microsoft.com/office/drawing/2014/main" id="{B6522762-57D1-4EE4-BC86-6C52EF9F7BD6}"/>
              </a:ext>
            </a:extLst>
          </p:cNvPr>
          <p:cNvSpPr txBox="1"/>
          <p:nvPr/>
        </p:nvSpPr>
        <p:spPr>
          <a:xfrm>
            <a:off x="9042634" y="2910512"/>
            <a:ext cx="3216084"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43275"/>
                </a:solidFill>
                <a:effectLst/>
                <a:uLnTx/>
                <a:uFillTx/>
                <a:latin typeface="Shape Sans" panose="00000500000000000000" pitchFamily="50" charset="0"/>
                <a:ea typeface="+mn-ea"/>
                <a:cs typeface="+mn-cs"/>
              </a:rPr>
              <a:t>Måling, styring o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43275"/>
                </a:solidFill>
                <a:effectLst/>
                <a:uLnTx/>
                <a:uFillTx/>
                <a:latin typeface="Shape Sans" panose="00000500000000000000" pitchFamily="50" charset="0"/>
                <a:ea typeface="+mn-ea"/>
                <a:cs typeface="+mn-cs"/>
              </a:rPr>
              <a:t> dokumentasjon</a:t>
            </a:r>
          </a:p>
        </p:txBody>
      </p:sp>
      <p:sp>
        <p:nvSpPr>
          <p:cNvPr id="56" name="TekstSylinder 55">
            <a:extLst>
              <a:ext uri="{FF2B5EF4-FFF2-40B4-BE49-F238E27FC236}">
                <a16:creationId xmlns:a16="http://schemas.microsoft.com/office/drawing/2014/main" id="{83FB0086-2FD1-4A43-AD03-4429FB9D3B55}"/>
              </a:ext>
            </a:extLst>
          </p:cNvPr>
          <p:cNvSpPr txBox="1"/>
          <p:nvPr/>
        </p:nvSpPr>
        <p:spPr>
          <a:xfrm>
            <a:off x="6825396" y="5497341"/>
            <a:ext cx="321608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43275"/>
                </a:solidFill>
                <a:effectLst/>
                <a:uLnTx/>
                <a:uFillTx/>
                <a:latin typeface="Shape Sans" panose="00000500000000000000" pitchFamily="50" charset="0"/>
                <a:ea typeface="+mn-ea"/>
                <a:cs typeface="+mn-cs"/>
              </a:rPr>
              <a:t>Strategiske partnerskap</a:t>
            </a:r>
          </a:p>
        </p:txBody>
      </p:sp>
      <p:sp>
        <p:nvSpPr>
          <p:cNvPr id="57" name="TekstSylinder 56">
            <a:extLst>
              <a:ext uri="{FF2B5EF4-FFF2-40B4-BE49-F238E27FC236}">
                <a16:creationId xmlns:a16="http://schemas.microsoft.com/office/drawing/2014/main" id="{6009AB5B-D865-4B0A-8A98-1791ABAE27CF}"/>
              </a:ext>
            </a:extLst>
          </p:cNvPr>
          <p:cNvSpPr txBox="1"/>
          <p:nvPr/>
        </p:nvSpPr>
        <p:spPr>
          <a:xfrm>
            <a:off x="9266485" y="5497341"/>
            <a:ext cx="321608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43275"/>
                </a:solidFill>
                <a:effectLst/>
                <a:uLnTx/>
                <a:uFillTx/>
                <a:latin typeface="Shape Sans" panose="00000500000000000000" pitchFamily="50" charset="0"/>
                <a:ea typeface="+mn-ea"/>
                <a:cs typeface="+mn-cs"/>
              </a:rPr>
              <a:t>Kommunikasjon</a:t>
            </a:r>
          </a:p>
        </p:txBody>
      </p:sp>
      <p:sp>
        <p:nvSpPr>
          <p:cNvPr id="60" name="TekstSylinder 59">
            <a:extLst>
              <a:ext uri="{FF2B5EF4-FFF2-40B4-BE49-F238E27FC236}">
                <a16:creationId xmlns:a16="http://schemas.microsoft.com/office/drawing/2014/main" id="{364447AB-C50D-4D89-9AF6-7443D1DF42BB}"/>
              </a:ext>
            </a:extLst>
          </p:cNvPr>
          <p:cNvSpPr txBox="1"/>
          <p:nvPr/>
        </p:nvSpPr>
        <p:spPr>
          <a:xfrm>
            <a:off x="522535" y="159341"/>
            <a:ext cx="10955090" cy="1077218"/>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srgbClr val="143275"/>
                </a:solidFill>
                <a:effectLst/>
                <a:uLnTx/>
                <a:uFillTx/>
                <a:latin typeface="Shape Sans" panose="00000500000000000000" pitchFamily="50" charset="0"/>
                <a:ea typeface="+mn-ea"/>
                <a:cs typeface="+mn-cs"/>
              </a:rPr>
              <a:t>Klimaveikartet viser hvordan vi skal jobbe og hva vi skal satse på for å nå målene våre</a:t>
            </a:r>
          </a:p>
        </p:txBody>
      </p:sp>
      <p:pic>
        <p:nvPicPr>
          <p:cNvPr id="62" name="Bilde 61">
            <a:extLst>
              <a:ext uri="{FF2B5EF4-FFF2-40B4-BE49-F238E27FC236}">
                <a16:creationId xmlns:a16="http://schemas.microsoft.com/office/drawing/2014/main" id="{63092706-801C-4487-92CE-74DB8B47916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291412" y="2521537"/>
            <a:ext cx="1985759" cy="3529813"/>
          </a:xfrm>
          <a:prstGeom prst="rect">
            <a:avLst/>
          </a:prstGeom>
        </p:spPr>
      </p:pic>
    </p:spTree>
    <p:extLst>
      <p:ext uri="{BB962C8B-B14F-4D97-AF65-F5344CB8AC3E}">
        <p14:creationId xmlns:p14="http://schemas.microsoft.com/office/powerpoint/2010/main" val="305396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lassholder for bilde 7">
            <a:extLst>
              <a:ext uri="{FF2B5EF4-FFF2-40B4-BE49-F238E27FC236}">
                <a16:creationId xmlns:a16="http://schemas.microsoft.com/office/drawing/2014/main" id="{3F36177E-80E5-9C6C-AC6A-C4E31B6AB804}"/>
              </a:ext>
            </a:extLst>
          </p:cNvPr>
          <p:cNvPicPr>
            <a:picLocks noGrp="1" noChangeAspect="1"/>
          </p:cNvPicPr>
          <p:nvPr>
            <p:ph type="pic" sz="quarter" idx="18"/>
          </p:nvPr>
        </p:nvPicPr>
        <p:blipFill>
          <a:blip r:embed="rId2">
            <a:extLst>
              <a:ext uri="{28A0092B-C50C-407E-A947-70E740481C1C}">
                <a14:useLocalDpi xmlns:a14="http://schemas.microsoft.com/office/drawing/2010/main" val="0"/>
              </a:ext>
            </a:extLst>
          </a:blip>
          <a:srcRect l="13057" r="47639"/>
          <a:stretch>
            <a:fillRect/>
          </a:stretch>
        </p:blipFill>
        <p:spPr>
          <a:xfrm>
            <a:off x="8142000" y="-1"/>
            <a:ext cx="4050000" cy="6868800"/>
          </a:xfrm>
        </p:spPr>
      </p:pic>
      <p:sp>
        <p:nvSpPr>
          <p:cNvPr id="3" name="Tittel 2">
            <a:extLst>
              <a:ext uri="{FF2B5EF4-FFF2-40B4-BE49-F238E27FC236}">
                <a16:creationId xmlns:a16="http://schemas.microsoft.com/office/drawing/2014/main" id="{B0D8A3D6-A235-21BA-4559-3801E8FC2571}"/>
              </a:ext>
            </a:extLst>
          </p:cNvPr>
          <p:cNvSpPr>
            <a:spLocks noGrp="1"/>
          </p:cNvSpPr>
          <p:nvPr>
            <p:ph type="title"/>
          </p:nvPr>
        </p:nvSpPr>
        <p:spPr>
          <a:xfrm>
            <a:off x="576000" y="189614"/>
            <a:ext cx="7253550" cy="860400"/>
          </a:xfrm>
        </p:spPr>
        <p:txBody>
          <a:bodyPr/>
          <a:lstStyle/>
          <a:p>
            <a:r>
              <a:rPr lang="nb-NO" sz="3200" dirty="0">
                <a:latin typeface="Shape Sans Display" panose="00000900000000000000" pitchFamily="50" charset="0"/>
              </a:rPr>
              <a:t>Sammen med partnere og lokalsamfunn utvikler vi klimasmarte løsninger for en mer bærekraftig fremtid</a:t>
            </a:r>
            <a:br>
              <a:rPr lang="nb-NO" dirty="0">
                <a:latin typeface="Shape Sans Display" panose="00000900000000000000" pitchFamily="50" charset="0"/>
              </a:rPr>
            </a:br>
            <a:endParaRPr lang="nb-NO" dirty="0"/>
          </a:p>
        </p:txBody>
      </p:sp>
      <p:sp>
        <p:nvSpPr>
          <p:cNvPr id="4" name="Plassholder for tekst 3">
            <a:extLst>
              <a:ext uri="{FF2B5EF4-FFF2-40B4-BE49-F238E27FC236}">
                <a16:creationId xmlns:a16="http://schemas.microsoft.com/office/drawing/2014/main" id="{D739FE67-5C8A-D313-D185-A1467D56026A}"/>
              </a:ext>
            </a:extLst>
          </p:cNvPr>
          <p:cNvSpPr>
            <a:spLocks noGrp="1"/>
          </p:cNvSpPr>
          <p:nvPr>
            <p:ph type="body" sz="quarter" idx="22"/>
          </p:nvPr>
        </p:nvSpPr>
        <p:spPr>
          <a:xfrm>
            <a:off x="576000" y="1566142"/>
            <a:ext cx="7448327" cy="3600450"/>
          </a:xfrm>
        </p:spPr>
        <p:txBody>
          <a:bodyPr/>
          <a:lstStyle/>
          <a:p>
            <a:r>
              <a:rPr lang="nb-NO" sz="1700" dirty="0">
                <a:solidFill>
                  <a:srgbClr val="293E6B"/>
                </a:solidFill>
                <a:latin typeface="+mj-lt"/>
              </a:rPr>
              <a:t>Vi har en solid portefølje av miljøsertifiserte bygg- og anleggsprosjekter.</a:t>
            </a:r>
          </a:p>
          <a:p>
            <a:r>
              <a:rPr lang="nb-NO" sz="1700" spc="0" dirty="0">
                <a:solidFill>
                  <a:srgbClr val="293E6B"/>
                </a:solidFill>
                <a:latin typeface="+mj-lt"/>
              </a:rPr>
              <a:t>Vi har realisert flere Powerhouse-prosjekter, utviklet flere plusshus, passivhus og lavenergibygg. </a:t>
            </a:r>
          </a:p>
          <a:p>
            <a:r>
              <a:rPr lang="nb-NO" sz="1700" spc="0" dirty="0">
                <a:solidFill>
                  <a:srgbClr val="293E6B"/>
                </a:solidFill>
                <a:latin typeface="+mj-lt"/>
              </a:rPr>
              <a:t>Vi har introdusert en rekke nye energieffektive løsninger, og i 2023 lanserte vi rapporten "Energisparepotensialet i bygg fram mot 2030 og 2050" i samarbeid med Sintef. </a:t>
            </a:r>
          </a:p>
          <a:p>
            <a:r>
              <a:rPr lang="nb-NO" sz="1700" spc="0" dirty="0">
                <a:solidFill>
                  <a:srgbClr val="293E6B"/>
                </a:solidFill>
                <a:latin typeface="+mj-lt"/>
              </a:rPr>
              <a:t>Vi bygget Lia barnehage som en av Oslos første fossilfrie prosjekt og gjennomfører nå flere utslippsfrie prosjekter.  </a:t>
            </a:r>
          </a:p>
          <a:p>
            <a:r>
              <a:rPr lang="nb-NO" sz="1700" spc="0" dirty="0">
                <a:solidFill>
                  <a:srgbClr val="293E6B"/>
                </a:solidFill>
                <a:latin typeface="+mj-lt"/>
              </a:rPr>
              <a:t>Vi har en solid FoU-portefølje innen klima og miljø.</a:t>
            </a:r>
          </a:p>
          <a:p>
            <a:r>
              <a:rPr lang="nb-NO" sz="1700" spc="0" dirty="0">
                <a:solidFill>
                  <a:srgbClr val="293E6B"/>
                </a:solidFill>
                <a:latin typeface="+mj-lt"/>
              </a:rPr>
              <a:t>Vi deltar i bransjearbeid og standardisering for økt bærekraft</a:t>
            </a:r>
          </a:p>
          <a:p>
            <a:r>
              <a:rPr lang="nb-NO" sz="1700" spc="0" dirty="0">
                <a:solidFill>
                  <a:srgbClr val="293E6B"/>
                </a:solidFill>
                <a:latin typeface="+mj-lt"/>
              </a:rPr>
              <a:t>Vi har jobbet godt med alle fokusområdene i klimaveikartet. Gjennom etablering av samarbeid og intensjonsavtaler sikrer vi tilgangen på klimavennlige materialressurser. </a:t>
            </a:r>
          </a:p>
          <a:p>
            <a:pPr marL="0" indent="0">
              <a:buNone/>
            </a:pPr>
            <a:endParaRPr lang="nb-NO" spc="0" dirty="0">
              <a:solidFill>
                <a:srgbClr val="293E6B"/>
              </a:solidFill>
              <a:latin typeface="Shape Sans" panose="00000500000000000000" pitchFamily="50" charset="0"/>
            </a:endParaRPr>
          </a:p>
          <a:p>
            <a:endParaRPr lang="nb-NO" spc="0" dirty="0">
              <a:solidFill>
                <a:srgbClr val="293E6B"/>
              </a:solidFill>
              <a:latin typeface="Shape Sans" panose="00000500000000000000" pitchFamily="50" charset="0"/>
            </a:endParaRPr>
          </a:p>
          <a:p>
            <a:endParaRPr lang="nb-NO" spc="0" dirty="0">
              <a:solidFill>
                <a:srgbClr val="293E6B"/>
              </a:solidFill>
              <a:latin typeface="Shape Sans" panose="00000500000000000000" pitchFamily="50" charset="0"/>
            </a:endParaRPr>
          </a:p>
          <a:p>
            <a:endParaRPr lang="nb-NO" spc="0" dirty="0">
              <a:solidFill>
                <a:srgbClr val="293E6B"/>
              </a:solidFill>
              <a:latin typeface="Shape Sans" panose="00000500000000000000" pitchFamily="50" charset="0"/>
            </a:endParaRPr>
          </a:p>
          <a:p>
            <a:endParaRPr lang="nb-NO" spc="0" dirty="0">
              <a:solidFill>
                <a:srgbClr val="293E6B"/>
              </a:solidFill>
              <a:latin typeface="Shape Sans" panose="00000500000000000000" pitchFamily="50" charset="0"/>
            </a:endParaRPr>
          </a:p>
          <a:p>
            <a:endParaRPr lang="en-US" dirty="0"/>
          </a:p>
          <a:p>
            <a:endParaRPr lang="nb-NO" dirty="0"/>
          </a:p>
        </p:txBody>
      </p:sp>
      <p:sp>
        <p:nvSpPr>
          <p:cNvPr id="5" name="Plassholder for tekst 4">
            <a:extLst>
              <a:ext uri="{FF2B5EF4-FFF2-40B4-BE49-F238E27FC236}">
                <a16:creationId xmlns:a16="http://schemas.microsoft.com/office/drawing/2014/main" id="{DD25D898-E28B-8AB9-AE93-A56731686891}"/>
              </a:ext>
            </a:extLst>
          </p:cNvPr>
          <p:cNvSpPr>
            <a:spLocks noGrp="1"/>
          </p:cNvSpPr>
          <p:nvPr>
            <p:ph type="body" sz="quarter" idx="24"/>
          </p:nvPr>
        </p:nvSpPr>
        <p:spPr/>
        <p:txBody>
          <a:bodyPr/>
          <a:lstStyle/>
          <a:p>
            <a:endParaRPr lang="nb-NO"/>
          </a:p>
        </p:txBody>
      </p:sp>
    </p:spTree>
    <p:extLst>
      <p:ext uri="{BB962C8B-B14F-4D97-AF65-F5344CB8AC3E}">
        <p14:creationId xmlns:p14="http://schemas.microsoft.com/office/powerpoint/2010/main" val="34753596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lassholder for bilde 6">
            <a:extLst>
              <a:ext uri="{FF2B5EF4-FFF2-40B4-BE49-F238E27FC236}">
                <a16:creationId xmlns:a16="http://schemas.microsoft.com/office/drawing/2014/main" id="{B264981A-94DD-E5AA-8820-83BA85831570}"/>
              </a:ext>
            </a:extLst>
          </p:cNvPr>
          <p:cNvPicPr>
            <a:picLocks noGrp="1" noChangeAspect="1"/>
          </p:cNvPicPr>
          <p:nvPr>
            <p:ph type="pic" sz="quarter" idx="17"/>
          </p:nvPr>
        </p:nvPicPr>
        <p:blipFill rotWithShape="1">
          <a:blip r:embed="rId3">
            <a:extLst>
              <a:ext uri="{28A0092B-C50C-407E-A947-70E740481C1C}">
                <a14:useLocalDpi xmlns:a14="http://schemas.microsoft.com/office/drawing/2010/main" val="0"/>
              </a:ext>
            </a:extLst>
          </a:blip>
          <a:srcRect l="19907" t="185" r="30196" b="-185"/>
          <a:stretch/>
        </p:blipFill>
        <p:spPr>
          <a:xfrm>
            <a:off x="6096000" y="0"/>
            <a:ext cx="6096000" cy="6870700"/>
          </a:xfrm>
        </p:spPr>
      </p:pic>
      <p:sp>
        <p:nvSpPr>
          <p:cNvPr id="3" name="Tittel 2">
            <a:extLst>
              <a:ext uri="{FF2B5EF4-FFF2-40B4-BE49-F238E27FC236}">
                <a16:creationId xmlns:a16="http://schemas.microsoft.com/office/drawing/2014/main" id="{7C37BDB9-73B4-FA17-444F-6C053BC06E2B}"/>
              </a:ext>
            </a:extLst>
          </p:cNvPr>
          <p:cNvSpPr>
            <a:spLocks noGrp="1"/>
          </p:cNvSpPr>
          <p:nvPr>
            <p:ph type="title"/>
          </p:nvPr>
        </p:nvSpPr>
        <p:spPr>
          <a:xfrm>
            <a:off x="540280" y="1078497"/>
            <a:ext cx="5520000" cy="1008135"/>
          </a:xfrm>
        </p:spPr>
        <p:txBody>
          <a:bodyPr/>
          <a:lstStyle/>
          <a:p>
            <a:r>
              <a:rPr lang="nb-NO" dirty="0"/>
              <a:t>Utslippsfri byggeplass på Garnes ungdomsskole</a:t>
            </a:r>
            <a:br>
              <a:rPr lang="nb-NO" dirty="0"/>
            </a:br>
            <a:endParaRPr lang="nb-NO" dirty="0"/>
          </a:p>
        </p:txBody>
      </p:sp>
      <p:sp>
        <p:nvSpPr>
          <p:cNvPr id="5" name="Plassholder for tekst 4">
            <a:extLst>
              <a:ext uri="{FF2B5EF4-FFF2-40B4-BE49-F238E27FC236}">
                <a16:creationId xmlns:a16="http://schemas.microsoft.com/office/drawing/2014/main" id="{D173AC15-3A55-07CC-2607-647A973B6D8D}"/>
              </a:ext>
            </a:extLst>
          </p:cNvPr>
          <p:cNvSpPr>
            <a:spLocks noGrp="1"/>
          </p:cNvSpPr>
          <p:nvPr>
            <p:ph type="body" sz="quarter" idx="18"/>
          </p:nvPr>
        </p:nvSpPr>
        <p:spPr/>
        <p:txBody>
          <a:bodyPr/>
          <a:lstStyle/>
          <a:p>
            <a:endParaRPr lang="nb-NO"/>
          </a:p>
        </p:txBody>
      </p:sp>
      <p:pic>
        <p:nvPicPr>
          <p:cNvPr id="9" name="Bilde 8">
            <a:extLst>
              <a:ext uri="{FF2B5EF4-FFF2-40B4-BE49-F238E27FC236}">
                <a16:creationId xmlns:a16="http://schemas.microsoft.com/office/drawing/2014/main" id="{A4D1C44D-AD62-10D8-5EC3-EA40877A9D0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0279" y="2086632"/>
            <a:ext cx="3838428" cy="3838428"/>
          </a:xfrm>
          <a:prstGeom prst="rect">
            <a:avLst/>
          </a:prstGeom>
        </p:spPr>
      </p:pic>
    </p:spTree>
    <p:extLst>
      <p:ext uri="{BB962C8B-B14F-4D97-AF65-F5344CB8AC3E}">
        <p14:creationId xmlns:p14="http://schemas.microsoft.com/office/powerpoint/2010/main" val="763459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7C37BDB9-73B4-FA17-444F-6C053BC06E2B}"/>
              </a:ext>
            </a:extLst>
          </p:cNvPr>
          <p:cNvSpPr>
            <a:spLocks noGrp="1"/>
          </p:cNvSpPr>
          <p:nvPr>
            <p:ph type="title"/>
          </p:nvPr>
        </p:nvSpPr>
        <p:spPr>
          <a:xfrm>
            <a:off x="539488" y="549825"/>
            <a:ext cx="5520000" cy="1008135"/>
          </a:xfrm>
        </p:spPr>
        <p:txBody>
          <a:bodyPr/>
          <a:lstStyle/>
          <a:p>
            <a:r>
              <a:rPr lang="nb-NO" dirty="0"/>
              <a:t>Vi elektrifiserer arbeidsoperasjonene våre</a:t>
            </a:r>
          </a:p>
        </p:txBody>
      </p:sp>
      <p:sp>
        <p:nvSpPr>
          <p:cNvPr id="5" name="Plassholder for tekst 4">
            <a:extLst>
              <a:ext uri="{FF2B5EF4-FFF2-40B4-BE49-F238E27FC236}">
                <a16:creationId xmlns:a16="http://schemas.microsoft.com/office/drawing/2014/main" id="{D173AC15-3A55-07CC-2607-647A973B6D8D}"/>
              </a:ext>
            </a:extLst>
          </p:cNvPr>
          <p:cNvSpPr>
            <a:spLocks noGrp="1"/>
          </p:cNvSpPr>
          <p:nvPr>
            <p:ph type="body" sz="quarter" idx="18"/>
          </p:nvPr>
        </p:nvSpPr>
        <p:spPr/>
        <p:txBody>
          <a:bodyPr/>
          <a:lstStyle/>
          <a:p>
            <a:endParaRPr lang="nb-NO"/>
          </a:p>
        </p:txBody>
      </p:sp>
      <p:pic>
        <p:nvPicPr>
          <p:cNvPr id="11" name="Bilde 10">
            <a:extLst>
              <a:ext uri="{FF2B5EF4-FFF2-40B4-BE49-F238E27FC236}">
                <a16:creationId xmlns:a16="http://schemas.microsoft.com/office/drawing/2014/main" id="{D1CBA6D9-AE3D-D5F1-BF52-84AB3178C1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9488" y="2160000"/>
            <a:ext cx="3861062" cy="3861062"/>
          </a:xfrm>
          <a:prstGeom prst="rect">
            <a:avLst/>
          </a:prstGeom>
        </p:spPr>
      </p:pic>
      <p:sp>
        <p:nvSpPr>
          <p:cNvPr id="4" name="Picture Placeholder 3">
            <a:extLst>
              <a:ext uri="{FF2B5EF4-FFF2-40B4-BE49-F238E27FC236}">
                <a16:creationId xmlns:a16="http://schemas.microsoft.com/office/drawing/2014/main" id="{B3CD55D8-39A2-1126-39DA-99E52F0EEFC2}"/>
              </a:ext>
            </a:extLst>
          </p:cNvPr>
          <p:cNvSpPr>
            <a:spLocks noGrp="1"/>
          </p:cNvSpPr>
          <p:nvPr>
            <p:ph type="pic" sz="quarter" idx="17"/>
          </p:nvPr>
        </p:nvSpPr>
        <p:spPr/>
        <p:txBody>
          <a:bodyPr/>
          <a:lstStyle/>
          <a:p>
            <a:endParaRPr lang="nb-NO"/>
          </a:p>
        </p:txBody>
      </p:sp>
      <p:pic>
        <p:nvPicPr>
          <p:cNvPr id="6" name="Picture Placeholder 15">
            <a:extLst>
              <a:ext uri="{FF2B5EF4-FFF2-40B4-BE49-F238E27FC236}">
                <a16:creationId xmlns:a16="http://schemas.microsoft.com/office/drawing/2014/main" id="{275E6305-ABFC-E276-6CC0-DB299720F017}"/>
              </a:ext>
            </a:extLst>
          </p:cNvPr>
          <p:cNvPicPr>
            <a:picLocks noChangeAspect="1"/>
          </p:cNvPicPr>
          <p:nvPr/>
        </p:nvPicPr>
        <p:blipFill>
          <a:blip r:embed="rId4">
            <a:extLst>
              <a:ext uri="{28A0092B-C50C-407E-A947-70E740481C1C}">
                <a14:useLocalDpi xmlns:a14="http://schemas.microsoft.com/office/drawing/2010/main" val="0"/>
              </a:ext>
            </a:extLst>
          </a:blip>
          <a:srcRect t="7813" b="7813"/>
          <a:stretch>
            <a:fillRect/>
          </a:stretch>
        </p:blipFill>
        <p:spPr>
          <a:xfrm>
            <a:off x="6102124" y="3429002"/>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p:spPr>
      </p:pic>
      <p:pic>
        <p:nvPicPr>
          <p:cNvPr id="7" name="Picture Placeholder 13">
            <a:extLst>
              <a:ext uri="{FF2B5EF4-FFF2-40B4-BE49-F238E27FC236}">
                <a16:creationId xmlns:a16="http://schemas.microsoft.com/office/drawing/2014/main" id="{993FC142-3199-2F96-E7E2-BD5EA27DA140}"/>
              </a:ext>
            </a:extLst>
          </p:cNvPr>
          <p:cNvPicPr>
            <a:picLocks noChangeAspect="1"/>
          </p:cNvPicPr>
          <p:nvPr/>
        </p:nvPicPr>
        <p:blipFill>
          <a:blip r:embed="rId5">
            <a:extLst>
              <a:ext uri="{28A0092B-C50C-407E-A947-70E740481C1C}">
                <a14:useLocalDpi xmlns:a14="http://schemas.microsoft.com/office/drawing/2010/main" val="0"/>
              </a:ext>
            </a:extLst>
          </a:blip>
          <a:srcRect t="7813" b="7813"/>
          <a:stretch>
            <a:fillRect/>
          </a:stretch>
        </p:blipFill>
        <p:spPr>
          <a:xfrm>
            <a:off x="6102124"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p:spPr>
      </p:pic>
    </p:spTree>
    <p:extLst>
      <p:ext uri="{BB962C8B-B14F-4D97-AF65-F5344CB8AC3E}">
        <p14:creationId xmlns:p14="http://schemas.microsoft.com/office/powerpoint/2010/main" val="1875373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7C37BDB9-73B4-FA17-444F-6C053BC06E2B}"/>
              </a:ext>
            </a:extLst>
          </p:cNvPr>
          <p:cNvSpPr>
            <a:spLocks noGrp="1"/>
          </p:cNvSpPr>
          <p:nvPr>
            <p:ph type="title"/>
          </p:nvPr>
        </p:nvSpPr>
        <p:spPr>
          <a:xfrm>
            <a:off x="539488" y="549825"/>
            <a:ext cx="5520000" cy="1008135"/>
          </a:xfrm>
        </p:spPr>
        <p:txBody>
          <a:bodyPr/>
          <a:lstStyle/>
          <a:p>
            <a:r>
              <a:rPr lang="nb-NO" dirty="0"/>
              <a:t>Vi reduserer transportbehov</a:t>
            </a:r>
          </a:p>
        </p:txBody>
      </p:sp>
      <p:sp>
        <p:nvSpPr>
          <p:cNvPr id="5" name="Plassholder for tekst 4">
            <a:extLst>
              <a:ext uri="{FF2B5EF4-FFF2-40B4-BE49-F238E27FC236}">
                <a16:creationId xmlns:a16="http://schemas.microsoft.com/office/drawing/2014/main" id="{D173AC15-3A55-07CC-2607-647A973B6D8D}"/>
              </a:ext>
            </a:extLst>
          </p:cNvPr>
          <p:cNvSpPr>
            <a:spLocks noGrp="1"/>
          </p:cNvSpPr>
          <p:nvPr>
            <p:ph type="body" sz="quarter" idx="18"/>
          </p:nvPr>
        </p:nvSpPr>
        <p:spPr/>
        <p:txBody>
          <a:bodyPr/>
          <a:lstStyle/>
          <a:p>
            <a:endParaRPr lang="nb-NO"/>
          </a:p>
        </p:txBody>
      </p:sp>
      <p:pic>
        <p:nvPicPr>
          <p:cNvPr id="11" name="Bilde 10">
            <a:extLst>
              <a:ext uri="{FF2B5EF4-FFF2-40B4-BE49-F238E27FC236}">
                <a16:creationId xmlns:a16="http://schemas.microsoft.com/office/drawing/2014/main" id="{D1CBA6D9-AE3D-D5F1-BF52-84AB3178C1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9488" y="2160000"/>
            <a:ext cx="3861062" cy="3861062"/>
          </a:xfrm>
          <a:prstGeom prst="rect">
            <a:avLst/>
          </a:prstGeom>
        </p:spPr>
      </p:pic>
      <p:sp>
        <p:nvSpPr>
          <p:cNvPr id="4" name="Picture Placeholder 3">
            <a:extLst>
              <a:ext uri="{FF2B5EF4-FFF2-40B4-BE49-F238E27FC236}">
                <a16:creationId xmlns:a16="http://schemas.microsoft.com/office/drawing/2014/main" id="{B3CD55D8-39A2-1126-39DA-99E52F0EEFC2}"/>
              </a:ext>
            </a:extLst>
          </p:cNvPr>
          <p:cNvSpPr>
            <a:spLocks noGrp="1"/>
          </p:cNvSpPr>
          <p:nvPr>
            <p:ph type="pic" sz="quarter" idx="17"/>
          </p:nvPr>
        </p:nvSpPr>
        <p:spPr/>
        <p:txBody>
          <a:bodyPr/>
          <a:lstStyle/>
          <a:p>
            <a:endParaRPr lang="nb-NO"/>
          </a:p>
        </p:txBody>
      </p:sp>
      <p:pic>
        <p:nvPicPr>
          <p:cNvPr id="2" name="Picture Placeholder 12">
            <a:extLst>
              <a:ext uri="{FF2B5EF4-FFF2-40B4-BE49-F238E27FC236}">
                <a16:creationId xmlns:a16="http://schemas.microsoft.com/office/drawing/2014/main" id="{2ACA2A74-E899-AEC9-8ECB-3F87B7A9469F}"/>
              </a:ext>
            </a:extLst>
          </p:cNvPr>
          <p:cNvPicPr>
            <a:picLocks noChangeAspect="1"/>
          </p:cNvPicPr>
          <p:nvPr/>
        </p:nvPicPr>
        <p:blipFill>
          <a:blip r:embed="rId4">
            <a:extLst>
              <a:ext uri="{28A0092B-C50C-407E-A947-70E740481C1C}">
                <a14:useLocalDpi xmlns:a14="http://schemas.microsoft.com/office/drawing/2010/main" val="0"/>
              </a:ext>
            </a:extLst>
          </a:blip>
          <a:srcRect t="15" b="15"/>
          <a:stretch>
            <a:fillRect/>
          </a:stretch>
        </p:blipFill>
        <p:spPr>
          <a:xfrm>
            <a:off x="6102350" y="3432728"/>
            <a:ext cx="6096000" cy="3429000"/>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p:spPr>
      </p:pic>
      <p:pic>
        <p:nvPicPr>
          <p:cNvPr id="8" name="Picture Placeholder 17">
            <a:extLst>
              <a:ext uri="{FF2B5EF4-FFF2-40B4-BE49-F238E27FC236}">
                <a16:creationId xmlns:a16="http://schemas.microsoft.com/office/drawing/2014/main" id="{488B3C54-B322-906F-3FF4-93A58D366677}"/>
              </a:ext>
            </a:extLst>
          </p:cNvPr>
          <p:cNvPicPr>
            <a:picLocks noChangeAspect="1"/>
          </p:cNvPicPr>
          <p:nvPr/>
        </p:nvPicPr>
        <p:blipFill>
          <a:blip r:embed="rId5">
            <a:extLst>
              <a:ext uri="{28A0092B-C50C-407E-A947-70E740481C1C}">
                <a14:useLocalDpi xmlns:a14="http://schemas.microsoft.com/office/drawing/2010/main" val="0"/>
              </a:ext>
            </a:extLst>
          </a:blip>
          <a:srcRect t="12500" b="12500"/>
          <a:stretch>
            <a:fillRect/>
          </a:stretch>
        </p:blipFill>
        <p:spPr>
          <a:xfrm>
            <a:off x="6102124" y="3731"/>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p:spPr>
      </p:pic>
    </p:spTree>
    <p:extLst>
      <p:ext uri="{BB962C8B-B14F-4D97-AF65-F5344CB8AC3E}">
        <p14:creationId xmlns:p14="http://schemas.microsoft.com/office/powerpoint/2010/main" val="634187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kanska Gray 2023 (Presentation)">
  <a:themeElements>
    <a:clrScheme name="Skanska 1">
      <a:dk1>
        <a:srgbClr val="000000"/>
      </a:dk1>
      <a:lt1>
        <a:srgbClr val="FFFFFF"/>
      </a:lt1>
      <a:dk2>
        <a:srgbClr val="143275"/>
      </a:dk2>
      <a:lt2>
        <a:srgbClr val="ECECEC"/>
      </a:lt2>
      <a:accent1>
        <a:srgbClr val="143275"/>
      </a:accent1>
      <a:accent2>
        <a:srgbClr val="596891"/>
      </a:accent2>
      <a:accent3>
        <a:srgbClr val="3ECE7B"/>
      </a:accent3>
      <a:accent4>
        <a:srgbClr val="9199B6"/>
      </a:accent4>
      <a:accent5>
        <a:srgbClr val="C7CCDA"/>
      </a:accent5>
      <a:accent6>
        <a:srgbClr val="FFFFFF"/>
      </a:accent6>
      <a:hlink>
        <a:srgbClr val="143275"/>
      </a:hlink>
      <a:folHlink>
        <a:srgbClr val="143275"/>
      </a:folHlink>
    </a:clrScheme>
    <a:fontScheme name="Skanska Shape Sans">
      <a:majorFont>
        <a:latin typeface="Shape Sans Display"/>
        <a:ea typeface=""/>
        <a:cs typeface=""/>
      </a:majorFont>
      <a:minorFont>
        <a:latin typeface="Shap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smtClean="0">
            <a:solidFill>
              <a:schemeClr val="accent1"/>
            </a:solidFill>
          </a:defRPr>
        </a:defPPr>
      </a:lstStyle>
    </a:txDef>
  </a:objectDefaults>
  <a:extraClrSchemeLst/>
  <a:custClrLst>
    <a:custClr name="Active Blue">
      <a:srgbClr val="2356E5"/>
    </a:custClr>
    <a:custClr name="Skanska Green">
      <a:srgbClr val="AEDDBC"/>
    </a:custClr>
    <a:custClr name="Active Yellow">
      <a:srgbClr val="FBED54"/>
    </a:custClr>
    <a:custClr name="Active Orange">
      <a:srgbClr val="F58713"/>
    </a:custClr>
    <a:custClr name="Active Red">
      <a:srgbClr val="EE2F53"/>
    </a:custClr>
    <a:custClr name="Purple">
      <a:srgbClr val="824A8E"/>
    </a:custClr>
    <a:custClr name="Pale Blue">
      <a:srgbClr val="3C589E"/>
    </a:custClr>
    <a:custClr name="Teal">
      <a:srgbClr val="4B9FA3"/>
    </a:custClr>
    <a:custClr name="Beige">
      <a:srgbClr val="DDD6C0"/>
    </a:custClr>
    <a:custClr name="Yellow">
      <a:srgbClr val="F4DD7D"/>
    </a:custClr>
    <a:custClr name="Orange">
      <a:srgbClr val="EDA977"/>
    </a:custClr>
    <a:custClr name="Red">
      <a:srgbClr val="AF3149"/>
    </a:custClr>
  </a:custClrLst>
  <a:extLst>
    <a:ext uri="{05A4C25C-085E-4340-85A3-A5531E510DB2}">
      <thm15:themeFamily xmlns:thm15="http://schemas.microsoft.com/office/thememl/2012/main" name="Presentasjon1" id="{6E0D8914-452E-41F8-9971-F9E54D9B59E4}" vid="{AE77F3EB-0F36-4673-9802-C7040B0FDDA7}"/>
    </a:ext>
  </a:extLst>
</a:theme>
</file>

<file path=ppt/theme/theme2.xml><?xml version="1.0" encoding="utf-8"?>
<a:theme xmlns:a="http://schemas.openxmlformats.org/drawingml/2006/main" name="Skanska White 2023 (Documentation)">
  <a:themeElements>
    <a:clrScheme name="Skanska 3">
      <a:dk1>
        <a:srgbClr val="000000"/>
      </a:dk1>
      <a:lt1>
        <a:srgbClr val="FFFFFF"/>
      </a:lt1>
      <a:dk2>
        <a:srgbClr val="143275"/>
      </a:dk2>
      <a:lt2>
        <a:srgbClr val="ECECEC"/>
      </a:lt2>
      <a:accent1>
        <a:srgbClr val="143275"/>
      </a:accent1>
      <a:accent2>
        <a:srgbClr val="596891"/>
      </a:accent2>
      <a:accent3>
        <a:srgbClr val="3ECE7B"/>
      </a:accent3>
      <a:accent4>
        <a:srgbClr val="9199B6"/>
      </a:accent4>
      <a:accent5>
        <a:srgbClr val="C7CCDA"/>
      </a:accent5>
      <a:accent6>
        <a:srgbClr val="ECECEC"/>
      </a:accent6>
      <a:hlink>
        <a:srgbClr val="143275"/>
      </a:hlink>
      <a:folHlink>
        <a:srgbClr val="143275"/>
      </a:folHlink>
    </a:clrScheme>
    <a:fontScheme name="Skanska Shape Sans">
      <a:majorFont>
        <a:latin typeface="Shape Sans Display"/>
        <a:ea typeface=""/>
        <a:cs typeface=""/>
      </a:majorFont>
      <a:minorFont>
        <a:latin typeface="Shap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spc="40" dirty="0" smtClean="0">
            <a:solidFill>
              <a:schemeClr val="tx2"/>
            </a:solidFill>
          </a:defRPr>
        </a:defPPr>
      </a:lstStyle>
    </a:txDef>
  </a:objectDefaults>
  <a:extraClrSchemeLst/>
  <a:custClrLst>
    <a:custClr name="Active Blue">
      <a:srgbClr val="2356E5"/>
    </a:custClr>
    <a:custClr name="Skanska Green">
      <a:srgbClr val="AEDDBC"/>
    </a:custClr>
    <a:custClr name="Active Yellow">
      <a:srgbClr val="FBED54"/>
    </a:custClr>
    <a:custClr name="Active Orange">
      <a:srgbClr val="F58713"/>
    </a:custClr>
    <a:custClr name="Active Red">
      <a:srgbClr val="EE2F53"/>
    </a:custClr>
    <a:custClr name="Purple">
      <a:srgbClr val="824A8E"/>
    </a:custClr>
    <a:custClr name="Pale Blue">
      <a:srgbClr val="3C589E"/>
    </a:custClr>
    <a:custClr name="Teal">
      <a:srgbClr val="4B9FA3"/>
    </a:custClr>
    <a:custClr name="Beige">
      <a:srgbClr val="DDD6C0"/>
    </a:custClr>
    <a:custClr name="Yellow">
      <a:srgbClr val="F4DD7D"/>
    </a:custClr>
    <a:custClr name="Orange">
      <a:srgbClr val="EDA977"/>
    </a:custClr>
    <a:custClr name="Red">
      <a:srgbClr val="AF3149"/>
    </a:custClr>
  </a:custClrLst>
  <a:extLst>
    <a:ext uri="{05A4C25C-085E-4340-85A3-A5531E510DB2}">
      <thm15:themeFamily xmlns:thm15="http://schemas.microsoft.com/office/thememl/2012/main" name="Presentasjon1" id="{6E0D8914-452E-41F8-9971-F9E54D9B59E4}" vid="{E85FF0E9-FCB4-4228-A3B6-C8B1A2DB0868}"/>
    </a:ext>
  </a:extLst>
</a:theme>
</file>

<file path=ppt/theme/theme3.xml><?xml version="1.0" encoding="utf-8"?>
<a:theme xmlns:a="http://schemas.openxmlformats.org/drawingml/2006/main" name="1_Skanska Gray (Presentation)">
  <a:themeElements>
    <a:clrScheme name="Skanska">
      <a:dk1>
        <a:srgbClr val="000000"/>
      </a:dk1>
      <a:lt1>
        <a:srgbClr val="FFFFFF"/>
      </a:lt1>
      <a:dk2>
        <a:srgbClr val="143275"/>
      </a:dk2>
      <a:lt2>
        <a:srgbClr val="ECECEC"/>
      </a:lt2>
      <a:accent1>
        <a:srgbClr val="143275"/>
      </a:accent1>
      <a:accent2>
        <a:srgbClr val="596891"/>
      </a:accent2>
      <a:accent3>
        <a:srgbClr val="3ECE7B"/>
      </a:accent3>
      <a:accent4>
        <a:srgbClr val="9199B6"/>
      </a:accent4>
      <a:accent5>
        <a:srgbClr val="C7CCDA"/>
      </a:accent5>
      <a:accent6>
        <a:srgbClr val="FFFFFF"/>
      </a:accent6>
      <a:hlink>
        <a:srgbClr val="FFFFFF"/>
      </a:hlink>
      <a:folHlink>
        <a:srgbClr val="FFFFFF"/>
      </a:folHlink>
    </a:clrScheme>
    <a:fontScheme name="Skansk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smtClean="0">
            <a:solidFill>
              <a:schemeClr val="accent1"/>
            </a:solidFill>
          </a:defRPr>
        </a:defPPr>
      </a:lstStyle>
    </a:txDef>
  </a:objectDefaults>
  <a:extraClrSchemeLst/>
  <a:custClrLst>
    <a:custClr name="Active Blue">
      <a:srgbClr val="2356E5"/>
    </a:custClr>
    <a:custClr name="Skanska Green">
      <a:srgbClr val="AEDDBC"/>
    </a:custClr>
    <a:custClr name="Active Yellow">
      <a:srgbClr val="FBED54"/>
    </a:custClr>
    <a:custClr name="Active Orange">
      <a:srgbClr val="F58713"/>
    </a:custClr>
    <a:custClr name="Active Red">
      <a:srgbClr val="EE2F53"/>
    </a:custClr>
    <a:custClr name="Purple">
      <a:srgbClr val="824A8E"/>
    </a:custClr>
    <a:custClr name="Pale Blue">
      <a:srgbClr val="3C589E"/>
    </a:custClr>
    <a:custClr name="Teal">
      <a:srgbClr val="4B9FA3"/>
    </a:custClr>
    <a:custClr name="Beige">
      <a:srgbClr val="DDD6C0"/>
    </a:custClr>
    <a:custClr name="Yellow">
      <a:srgbClr val="F4DD7D"/>
    </a:custClr>
    <a:custClr name="Orange">
      <a:srgbClr val="EDA977"/>
    </a:custClr>
    <a:custClr name="Red">
      <a:srgbClr val="AF3149"/>
    </a:custClr>
  </a:custClrLst>
  <a:extLst>
    <a:ext uri="{05A4C25C-085E-4340-85A3-A5531E510DB2}">
      <thm15:themeFamily xmlns:thm15="http://schemas.microsoft.com/office/thememl/2012/main" name="Skanska PPT Inspiration 2021" id="{D16C9123-8534-A94D-A004-47C9554BE3B6}" vid="{99EB6AA1-5097-D542-8E50-38BDF9225566}"/>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7">
    <a:dk1>
      <a:srgbClr val="000000"/>
    </a:dk1>
    <a:lt1>
      <a:srgbClr val="FFFFFF"/>
    </a:lt1>
    <a:dk2>
      <a:srgbClr val="143275"/>
    </a:dk2>
    <a:lt2>
      <a:srgbClr val="ECECEC"/>
    </a:lt2>
    <a:accent1>
      <a:srgbClr val="143275"/>
    </a:accent1>
    <a:accent2>
      <a:srgbClr val="596891"/>
    </a:accent2>
    <a:accent3>
      <a:srgbClr val="3ECE7B"/>
    </a:accent3>
    <a:accent4>
      <a:srgbClr val="9199B6"/>
    </a:accent4>
    <a:accent5>
      <a:srgbClr val="C7CCDA"/>
    </a:accent5>
    <a:accent6>
      <a:srgbClr val="EBEBEB"/>
    </a:accent6>
    <a:hlink>
      <a:srgbClr val="143275"/>
    </a:hlink>
    <a:folHlink>
      <a:srgbClr val="143275"/>
    </a:folHlink>
  </a:clrScheme>
  <a:fontScheme name="Skansk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Skanska 1">
    <a:dk1>
      <a:srgbClr val="000000"/>
    </a:dk1>
    <a:lt1>
      <a:srgbClr val="FFFFFF"/>
    </a:lt1>
    <a:dk2>
      <a:srgbClr val="143275"/>
    </a:dk2>
    <a:lt2>
      <a:srgbClr val="ECECEC"/>
    </a:lt2>
    <a:accent1>
      <a:srgbClr val="143275"/>
    </a:accent1>
    <a:accent2>
      <a:srgbClr val="596891"/>
    </a:accent2>
    <a:accent3>
      <a:srgbClr val="3ECE7B"/>
    </a:accent3>
    <a:accent4>
      <a:srgbClr val="9199B6"/>
    </a:accent4>
    <a:accent5>
      <a:srgbClr val="C7CCDA"/>
    </a:accent5>
    <a:accent6>
      <a:srgbClr val="FFFFFF"/>
    </a:accent6>
    <a:hlink>
      <a:srgbClr val="143275"/>
    </a:hlink>
    <a:folHlink>
      <a:srgbClr val="143275"/>
    </a:folHlink>
  </a:clrScheme>
</a:themeOverride>
</file>

<file path=ppt/theme/themeOverride4.xml><?xml version="1.0" encoding="utf-8"?>
<a:themeOverride xmlns:a="http://schemas.openxmlformats.org/drawingml/2006/main">
  <a:clrScheme name="Skanska 1">
    <a:dk1>
      <a:srgbClr val="000000"/>
    </a:dk1>
    <a:lt1>
      <a:srgbClr val="FFFFFF"/>
    </a:lt1>
    <a:dk2>
      <a:srgbClr val="143275"/>
    </a:dk2>
    <a:lt2>
      <a:srgbClr val="ECECEC"/>
    </a:lt2>
    <a:accent1>
      <a:srgbClr val="143275"/>
    </a:accent1>
    <a:accent2>
      <a:srgbClr val="596891"/>
    </a:accent2>
    <a:accent3>
      <a:srgbClr val="3ECE7B"/>
    </a:accent3>
    <a:accent4>
      <a:srgbClr val="9199B6"/>
    </a:accent4>
    <a:accent5>
      <a:srgbClr val="C7CCDA"/>
    </a:accent5>
    <a:accent6>
      <a:srgbClr val="FFFFFF"/>
    </a:accent6>
    <a:hlink>
      <a:srgbClr val="143275"/>
    </a:hlink>
    <a:folHlink>
      <a:srgbClr val="143275"/>
    </a:folHlink>
  </a:clrScheme>
</a:themeOverride>
</file>

<file path=ppt/theme/themeOverride5.xml><?xml version="1.0" encoding="utf-8"?>
<a:themeOverride xmlns:a="http://schemas.openxmlformats.org/drawingml/2006/main">
  <a:clrScheme name="Skanska 1">
    <a:dk1>
      <a:srgbClr val="000000"/>
    </a:dk1>
    <a:lt1>
      <a:srgbClr val="FFFFFF"/>
    </a:lt1>
    <a:dk2>
      <a:srgbClr val="143275"/>
    </a:dk2>
    <a:lt2>
      <a:srgbClr val="ECECEC"/>
    </a:lt2>
    <a:accent1>
      <a:srgbClr val="143275"/>
    </a:accent1>
    <a:accent2>
      <a:srgbClr val="596891"/>
    </a:accent2>
    <a:accent3>
      <a:srgbClr val="3ECE7B"/>
    </a:accent3>
    <a:accent4>
      <a:srgbClr val="9199B6"/>
    </a:accent4>
    <a:accent5>
      <a:srgbClr val="C7CCDA"/>
    </a:accent5>
    <a:accent6>
      <a:srgbClr val="FFFFFF"/>
    </a:accent6>
    <a:hlink>
      <a:srgbClr val="143275"/>
    </a:hlink>
    <a:folHlink>
      <a:srgbClr val="143275"/>
    </a:folHlink>
  </a:clrScheme>
</a:themeOverride>
</file>

<file path=ppt/theme/themeOverride6.xml><?xml version="1.0" encoding="utf-8"?>
<a:themeOverride xmlns:a="http://schemas.openxmlformats.org/drawingml/2006/main">
  <a:clrScheme name="Skanska 1">
    <a:dk1>
      <a:srgbClr val="000000"/>
    </a:dk1>
    <a:lt1>
      <a:srgbClr val="FFFFFF"/>
    </a:lt1>
    <a:dk2>
      <a:srgbClr val="143275"/>
    </a:dk2>
    <a:lt2>
      <a:srgbClr val="ECECEC"/>
    </a:lt2>
    <a:accent1>
      <a:srgbClr val="143275"/>
    </a:accent1>
    <a:accent2>
      <a:srgbClr val="596891"/>
    </a:accent2>
    <a:accent3>
      <a:srgbClr val="3ECE7B"/>
    </a:accent3>
    <a:accent4>
      <a:srgbClr val="9199B6"/>
    </a:accent4>
    <a:accent5>
      <a:srgbClr val="C7CCDA"/>
    </a:accent5>
    <a:accent6>
      <a:srgbClr val="FFFFFF"/>
    </a:accent6>
    <a:hlink>
      <a:srgbClr val="143275"/>
    </a:hlink>
    <a:folHlink>
      <a:srgbClr val="143275"/>
    </a:folHlink>
  </a:clrScheme>
</a:themeOverrid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1230" row="6">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625ED02-0650-4A57-A248-8E33D7E94FE9}">
  <we:reference id="fd624fb9-2cff-43d6-a4a7-5636de2a5b64" version="1.5.0.0" store="EXCatalog" storeType="EXCatalog"/>
  <we:alternateReferences>
    <we:reference id="WA200001766" version="1.5.0.0" store="en-US" storeType="OMEX"/>
  </we:alternateReferences>
  <we:properties>
    <we:property name="CantoAssets" value="&quot;[{\&quot;scheme\&quot;:\&quot;image\&quot;,\&quot;id\&quot;:\&quot;mdc5o0dhld7sbb84ag9mg33s70\&quot;,\&quot;tenant\&quot;:\&quot;skanska.canto.global\&quot;,\&quot;time\&quot;:\&quot;20220506160511000\&quot;,\&quot;name\&quot;:\&quot;Diversity_and_Inclusion_Week_Logo_CMYK.eps\&quot;,\&quot;addedby\&quot;:\&quot;test\&quot;},{\&quot;scheme\&quot;:\&quot;image\&quot;,\&quot;id\&quot;:\&quot;dinfpi4bdh197ftcae881pub5l\&quot;,\&quot;tenant\&quot;:\&quot;skanska.canto.global\&quot;,\&quot;time\&quot;:\&quot;20220506160541000\&quot;,\&quot;name\&quot;:\&quot;Diversity_and_Inclusion_Week_Logo_RGB.png\&quot;,\&quot;addedby\&quot;:\&quot;test\&quot;},{\&quot;scheme\&quot;:\&quot;image\&quot;,\&quot;id\&quot;:\&quot;rr97guruhl201cgl73trc8rl0i\&quot;,\&quot;tenant\&quot;:\&quot;skanska.canto.global\&quot;,\&quot;time\&quot;:\&quot;20230227134049000\&quot;,\&quot;name\&quot;:\&quot;Search_white-RGB.png\&quot;,\&quot;addedby\&quot;:\&quot;test\&quot;},{\&quot;scheme\&quot;:\&quot;image\&quot;,\&quot;id\&quot;:\&quot;ikn8o0jmsd4kv8784ls5jtit68\&quot;,\&quot;tenant\&quot;:\&quot;skanska.canto.global\&quot;,\&quot;time\&quot;:\&quot;20211221101921000\&quot;,\&quot;name\&quot;:\&quot;Collaboration.png\&quot;,\&quot;addedby\&quot;:\&quot;test\&quot;}]&quot;"/>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8BED05AF4CAE14F894E4E633CE821CE" ma:contentTypeVersion="12" ma:contentTypeDescription="Create a new document." ma:contentTypeScope="" ma:versionID="9c5afe8f8d53f9d83676b8c71a507068">
  <xsd:schema xmlns:xsd="http://www.w3.org/2001/XMLSchema" xmlns:xs="http://www.w3.org/2001/XMLSchema" xmlns:p="http://schemas.microsoft.com/office/2006/metadata/properties" xmlns:ns2="e32b5964-cbea-432d-81b4-f8e3813ffb80" xmlns:ns3="e5f890df-1773-4903-af90-43c53c32f761" targetNamespace="http://schemas.microsoft.com/office/2006/metadata/properties" ma:root="true" ma:fieldsID="7eb08a975f03961c66e4d4b1a71459d9" ns2:_="" ns3:_="">
    <xsd:import namespace="e32b5964-cbea-432d-81b4-f8e3813ffb80"/>
    <xsd:import namespace="e5f890df-1773-4903-af90-43c53c32f76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LengthInSeconds" minOccurs="0"/>
                <xsd:element ref="ns3:SharedWithUsers" minOccurs="0"/>
                <xsd:element ref="ns3:SharedWithDetails" minOccurs="0"/>
                <xsd:element ref="ns2:MediaServiceObjectDetectorVersion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32b5964-cbea-432d-81b4-f8e3813ffb8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Length (seconds)" ma:internalName="MediaLengthInSeconds" ma:readOnly="true">
      <xsd:simpleType>
        <xsd:restriction base="dms:Unknow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5f890df-1773-4903-af90-43c53c32f76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e5f890df-1773-4903-af90-43c53c32f761">
      <UserInfo>
        <DisplayName>Lekanger, Randi Andersen</DisplayName>
        <AccountId>23</AccountId>
        <AccountType/>
      </UserInfo>
      <UserInfo>
        <DisplayName>Harstad, Andreas Olaus</DisplayName>
        <AccountId>155</AccountId>
        <AccountType/>
      </UserInfo>
    </SharedWithUsers>
  </documentManagement>
</p:properties>
</file>

<file path=customXml/itemProps1.xml><?xml version="1.0" encoding="utf-8"?>
<ds:datastoreItem xmlns:ds="http://schemas.openxmlformats.org/officeDocument/2006/customXml" ds:itemID="{315A57FE-7894-4A26-ABEB-91220C47928A}">
  <ds:schemaRefs>
    <ds:schemaRef ds:uri="http://schemas.microsoft.com/sharepoint/v3/contenttype/forms"/>
  </ds:schemaRefs>
</ds:datastoreItem>
</file>

<file path=customXml/itemProps2.xml><?xml version="1.0" encoding="utf-8"?>
<ds:datastoreItem xmlns:ds="http://schemas.openxmlformats.org/officeDocument/2006/customXml" ds:itemID="{21832CB7-9E4F-4CAF-9FF1-6041DCD447D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32b5964-cbea-432d-81b4-f8e3813ffb80"/>
    <ds:schemaRef ds:uri="e5f890df-1773-4903-af90-43c53c32f76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2DA807E-FAD5-473C-BC6A-FF944CEF3412}">
  <ds:schemaRefs>
    <ds:schemaRef ds:uri="http://purl.org/dc/terms/"/>
    <ds:schemaRef ds:uri="http://www.w3.org/XML/1998/namespace"/>
    <ds:schemaRef ds:uri="e5f890df-1773-4903-af90-43c53c32f761"/>
    <ds:schemaRef ds:uri="http://purl.org/dc/elements/1.1/"/>
    <ds:schemaRef ds:uri="http://schemas.microsoft.com/office/2006/documentManagement/types"/>
    <ds:schemaRef ds:uri="e32b5964-cbea-432d-81b4-f8e3813ffb80"/>
    <ds:schemaRef ds:uri="http://purl.org/dc/dcmitype/"/>
    <ds:schemaRef ds:uri="http://schemas.microsoft.com/office/2006/metadata/properties"/>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Skanska Presentasjonsmal - 2023</Template>
  <TotalTime>436</TotalTime>
  <Words>1250</Words>
  <Application>Microsoft Office PowerPoint</Application>
  <PresentationFormat>Widescreen</PresentationFormat>
  <Paragraphs>132</Paragraphs>
  <Slides>22</Slides>
  <Notes>16</Notes>
  <HiddenSlides>0</HiddenSlides>
  <MMClips>0</MMClips>
  <ScaleCrop>false</ScaleCrop>
  <HeadingPairs>
    <vt:vector size="8" baseType="variant">
      <vt:variant>
        <vt:lpstr>Brukte skrifter</vt:lpstr>
      </vt:variant>
      <vt:variant>
        <vt:i4>5</vt:i4>
      </vt:variant>
      <vt:variant>
        <vt:lpstr>Tema</vt:lpstr>
      </vt:variant>
      <vt:variant>
        <vt:i4>3</vt:i4>
      </vt:variant>
      <vt:variant>
        <vt:lpstr>Innebygde OLE-servere</vt:lpstr>
      </vt:variant>
      <vt:variant>
        <vt:i4>1</vt:i4>
      </vt:variant>
      <vt:variant>
        <vt:lpstr>Lysbildetitler</vt:lpstr>
      </vt:variant>
      <vt:variant>
        <vt:i4>22</vt:i4>
      </vt:variant>
    </vt:vector>
  </HeadingPairs>
  <TitlesOfParts>
    <vt:vector size="31" baseType="lpstr">
      <vt:lpstr>Arial</vt:lpstr>
      <vt:lpstr>Calibri</vt:lpstr>
      <vt:lpstr>Shape Sans</vt:lpstr>
      <vt:lpstr>Shape Sans Display</vt:lpstr>
      <vt:lpstr>System Font Regular</vt:lpstr>
      <vt:lpstr>Skanska Gray 2023 (Presentation)</vt:lpstr>
      <vt:lpstr>Skanska White 2023 (Documentation)</vt:lpstr>
      <vt:lpstr>1_Skanska Gray (Presentation)</vt:lpstr>
      <vt:lpstr>think-cell Slide</vt:lpstr>
      <vt:lpstr>Vi skal være et foregangsselskap innen bærekraft og innovasjon</vt:lpstr>
      <vt:lpstr>PowerPoint-presentasjon</vt:lpstr>
      <vt:lpstr>PowerPoint-presentasjon</vt:lpstr>
      <vt:lpstr>PowerPoint-presentasjon</vt:lpstr>
      <vt:lpstr>PowerPoint-presentasjon</vt:lpstr>
      <vt:lpstr>Sammen med partnere og lokalsamfunn utvikler vi klimasmarte løsninger for en mer bærekraftig fremtid </vt:lpstr>
      <vt:lpstr>Utslippsfri byggeplass på Garnes ungdomsskole </vt:lpstr>
      <vt:lpstr>Vi elektrifiserer arbeidsoperasjonene våre</vt:lpstr>
      <vt:lpstr>Vi reduserer transportbehov</vt:lpstr>
      <vt:lpstr>Fra forskalingsplater på Nydalsbrua til sportsboder på Powerhouse Lade  </vt:lpstr>
      <vt:lpstr>Ombruk av hulldekker og brostein på Storbylegevakta  </vt:lpstr>
      <vt:lpstr>Vertikal Nydalen driftes uten behov for tilført energi til varme, kjøling og ventilasjon</vt:lpstr>
      <vt:lpstr>Powerhouse Bolig</vt:lpstr>
      <vt:lpstr>Nydalsbrua er bygd med lavkarbonbetong</vt:lpstr>
      <vt:lpstr>Første støp med CCS betong</vt:lpstr>
      <vt:lpstr>Optimalt uttak, håndtering og nyttiggjøring av ressurser</vt:lpstr>
      <vt:lpstr>På E10 Hålogalandsveien  prøver vi å redusere naturinngrepene våre </vt:lpstr>
      <vt:lpstr>Forskningsprosjektet SirkBygg</vt:lpstr>
      <vt:lpstr>Ha det gøy med oppgaven! </vt:lpstr>
      <vt:lpstr>Finaleoppgaven:</vt:lpstr>
      <vt:lpstr>PowerPoint-presentasjon</vt:lpstr>
      <vt:lpstr>PowerPoint-presentasj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Christopher Griffiths</dc:creator>
  <cp:lastModifiedBy>Griffiths, Christopher Philip</cp:lastModifiedBy>
  <cp:revision>6</cp:revision>
  <cp:lastPrinted>2023-10-18T13:40:40Z</cp:lastPrinted>
  <dcterms:created xsi:type="dcterms:W3CDTF">2024-01-05T09:14:12Z</dcterms:created>
  <dcterms:modified xsi:type="dcterms:W3CDTF">2025-11-07T11:3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379ec1e-7734-4071-a4b9-9f091c05fa90_Enabled">
    <vt:lpwstr>true</vt:lpwstr>
  </property>
  <property fmtid="{D5CDD505-2E9C-101B-9397-08002B2CF9AE}" pid="3" name="MSIP_Label_6379ec1e-7734-4071-a4b9-9f091c05fa90_SetDate">
    <vt:lpwstr>2021-12-06T07:54:12Z</vt:lpwstr>
  </property>
  <property fmtid="{D5CDD505-2E9C-101B-9397-08002B2CF9AE}" pid="4" name="MSIP_Label_6379ec1e-7734-4071-a4b9-9f091c05fa90_Method">
    <vt:lpwstr>Standard</vt:lpwstr>
  </property>
  <property fmtid="{D5CDD505-2E9C-101B-9397-08002B2CF9AE}" pid="5" name="MSIP_Label_6379ec1e-7734-4071-a4b9-9f091c05fa90_Name">
    <vt:lpwstr>General-No-Marking</vt:lpwstr>
  </property>
  <property fmtid="{D5CDD505-2E9C-101B-9397-08002B2CF9AE}" pid="6" name="MSIP_Label_6379ec1e-7734-4071-a4b9-9f091c05fa90_SiteId">
    <vt:lpwstr>33dab507-5210-4075-805b-f2717d8cfa74</vt:lpwstr>
  </property>
  <property fmtid="{D5CDD505-2E9C-101B-9397-08002B2CF9AE}" pid="7" name="MSIP_Label_6379ec1e-7734-4071-a4b9-9f091c05fa90_ActionId">
    <vt:lpwstr>ffeea1b0-5e4e-4655-9792-f5f4cd19fb97</vt:lpwstr>
  </property>
  <property fmtid="{D5CDD505-2E9C-101B-9397-08002B2CF9AE}" pid="8" name="MSIP_Label_6379ec1e-7734-4071-a4b9-9f091c05fa90_ContentBits">
    <vt:lpwstr>0</vt:lpwstr>
  </property>
  <property fmtid="{D5CDD505-2E9C-101B-9397-08002B2CF9AE}" pid="9" name="ContentTypeId">
    <vt:lpwstr>0x010100D8BED05AF4CAE14F894E4E633CE821CE</vt:lpwstr>
  </property>
</Properties>
</file>